
<file path=[Content_Types].xml><?xml version="1.0" encoding="utf-8"?>
<Types xmlns="http://schemas.openxmlformats.org/package/2006/content-types">
  <Default Extension="glb" ContentType="model/gltf.binary"/>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30.xml" ContentType="application/vnd.openxmlformats-officedocument.presentationml.slide+xml"/>
  <Override PartName="/ppt/slides/slide100.xml" ContentType="application/vnd.openxmlformats-officedocument.presentationml.slide+xml"/>
  <Override PartName="/ppt/slides/slide140.xml" ContentType="application/vnd.openxmlformats-officedocument.presentationml.slide+xml"/>
  <Override PartName="/ppt/slides/slide230.xml" ContentType="application/vnd.openxmlformats-officedocument.presentationml.slide+xml"/>
  <Override PartName="/ppt/slides/slide280.xml" ContentType="application/vnd.openxmlformats-officedocument.presentationml.slide+xml"/>
  <Override PartName="/ppt/slideLayouts/slideLayout180.xml" ContentType="application/vnd.openxmlformats-officedocument.presentationml.slideLayout+xml"/>
  <Override PartName="/ppt/tags/tag10.xml" ContentType="application/vnd.openxmlformats-officedocument.presentationml.tags+xml"/>
  <Override PartName="/ppt/notesSlides/notesSlide70.xml" ContentType="application/vnd.openxmlformats-officedocument.presentationml.notesSlide+xml"/>
  <Override PartName="/ppt/slideMasters/slideMaster20.xml" ContentType="application/vnd.openxmlformats-officedocument.presentationml.slideMaster+xml"/>
  <Override PartName="/ppt/notesMasters/notesMaster10.xml" ContentType="application/vnd.openxmlformats-officedocument.presentationml.notesMaster+xml"/>
  <Override PartName="/ppt/slideLayouts/slideLayout190.xml" ContentType="application/vnd.openxmlformats-officedocument.presentationml.slideLayout+xml"/>
  <Override PartName="/ppt/slideLayouts/slideLayout140.xml" ContentType="application/vnd.openxmlformats-officedocument.presentationml.slideLayout+xml"/>
  <Override PartName="/ppt/theme/theme20.xml" ContentType="application/vnd.openxmlformats-officedocument.theme+xml"/>
  <Override PartName="/ppt/slideLayouts/slideLayout130.xml" ContentType="application/vnd.openxmlformats-officedocument.presentationml.slideLayout+xml"/>
  <Override PartName="/ppt/slideLayouts/slideLayout120.xml" ContentType="application/vnd.openxmlformats-officedocument.presentationml.slideLayout+xml"/>
  <Override PartName="/ppt/slideLayouts/slideLayout170.xml" ContentType="application/vnd.openxmlformats-officedocument.presentationml.slideLayout+xml"/>
  <Override PartName="/ppt/slideLayouts/slideLayout220.xml" ContentType="application/vnd.openxmlformats-officedocument.presentationml.slideLayout+xml"/>
  <Override PartName="/ppt/slideLayouts/slideLayout160.xml" ContentType="application/vnd.openxmlformats-officedocument.presentationml.slideLayout+xml"/>
  <Override PartName="/ppt/slideLayouts/slideLayout210.xml" ContentType="application/vnd.openxmlformats-officedocument.presentationml.slideLayout+xml"/>
  <Override PartName="/ppt/slideLayouts/slideLayout150.xml" ContentType="application/vnd.openxmlformats-officedocument.presentationml.slideLayout+xml"/>
  <Override PartName="/ppt/slideLayouts/slideLayout200.xml" ContentType="application/vnd.openxmlformats-officedocument.presentationml.slideLayout+xml"/>
  <Override PartName="/ppt/theme/theme30.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5"/>
  </p:notesMasterIdLst>
  <p:sldIdLst>
    <p:sldId id="292" r:id="rId6"/>
    <p:sldId id="280" r:id="rId7"/>
    <p:sldId id="275" r:id="rId8"/>
    <p:sldId id="301" r:id="rId9"/>
    <p:sldId id="302" r:id="rId10"/>
    <p:sldId id="286" r:id="rId11"/>
    <p:sldId id="287" r:id="rId12"/>
    <p:sldId id="284" r:id="rId13"/>
    <p:sldId id="303" r:id="rId14"/>
    <p:sldId id="288" r:id="rId15"/>
    <p:sldId id="304" r:id="rId16"/>
    <p:sldId id="310" r:id="rId17"/>
    <p:sldId id="311" r:id="rId18"/>
    <p:sldId id="295" r:id="rId19"/>
    <p:sldId id="323" r:id="rId20"/>
    <p:sldId id="324" r:id="rId21"/>
    <p:sldId id="296" r:id="rId22"/>
    <p:sldId id="318" r:id="rId23"/>
    <p:sldId id="321" r:id="rId24"/>
    <p:sldId id="322" r:id="rId25"/>
    <p:sldId id="319" r:id="rId26"/>
    <p:sldId id="320" r:id="rId27"/>
    <p:sldId id="297" r:id="rId28"/>
    <p:sldId id="312" r:id="rId29"/>
    <p:sldId id="325" r:id="rId30"/>
    <p:sldId id="298" r:id="rId31"/>
    <p:sldId id="313" r:id="rId32"/>
    <p:sldId id="299" r:id="rId33"/>
    <p:sldId id="30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B875EA3A-0F3A-42D7-B6E2-7E1A05C2A3DA}">
          <p14:sldIdLst>
            <p14:sldId id="292"/>
            <p14:sldId id="280"/>
          </p14:sldIdLst>
        </p14:section>
        <p14:section name="Problem" id="{88495344-40FB-4841-99CC-E364E4B3FA60}">
          <p14:sldIdLst>
            <p14:sldId id="275"/>
            <p14:sldId id="301"/>
            <p14:sldId id="302"/>
          </p14:sldIdLst>
        </p14:section>
        <p14:section name="existing solutions" id="{B78F869A-DB52-4C0F-9771-93BD0B0C77E6}">
          <p14:sldIdLst>
            <p14:sldId id="286"/>
            <p14:sldId id="287"/>
          </p14:sldIdLst>
        </p14:section>
        <p14:section name="Mission" id="{B0161835-6204-4266-8552-F3667AA67871}">
          <p14:sldIdLst>
            <p14:sldId id="284"/>
            <p14:sldId id="303"/>
          </p14:sldIdLst>
        </p14:section>
        <p14:section name="Our solution" id="{8EDEC664-D3C4-4592-8786-C99AA6E5D5F4}">
          <p14:sldIdLst>
            <p14:sldId id="288"/>
            <p14:sldId id="304"/>
            <p14:sldId id="310"/>
            <p14:sldId id="311"/>
          </p14:sldIdLst>
        </p14:section>
        <p14:section name="Material" id="{5F9BCD4A-9433-48A8-B291-287BE2581A63}">
          <p14:sldIdLst>
            <p14:sldId id="295"/>
            <p14:sldId id="323"/>
            <p14:sldId id="324"/>
            <p14:sldId id="296"/>
            <p14:sldId id="318"/>
            <p14:sldId id="321"/>
            <p14:sldId id="322"/>
            <p14:sldId id="319"/>
            <p14:sldId id="320"/>
          </p14:sldIdLst>
        </p14:section>
        <p14:section name="Fasterner" id="{DAF8DABC-592A-4901-A0AC-5CDA09D8F45E}">
          <p14:sldIdLst>
            <p14:sldId id="297"/>
            <p14:sldId id="312"/>
            <p14:sldId id="325"/>
            <p14:sldId id="298"/>
            <p14:sldId id="313"/>
          </p14:sldIdLst>
        </p14:section>
        <p14:section name="Team" id="{98810976-D7DB-4275-9710-9A2889E2A734}">
          <p14:sldIdLst>
            <p14:sldId id="299"/>
            <p14:sldId id="30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33D"/>
    <a:srgbClr val="00FFB3"/>
    <a:srgbClr val="BDCDC8"/>
    <a:srgbClr val="F8F0E5"/>
    <a:srgbClr val="C3D1CA"/>
    <a:srgbClr val="C2D0C9"/>
    <a:srgbClr val="CFD6D0"/>
    <a:srgbClr val="C2D0C8"/>
    <a:srgbClr val="B2C5F4"/>
    <a:srgbClr val="BDCD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3001E6-1050-F541-81CD-55EA748CBA74}" v="3436" dt="2025-11-16T18:29:16.583"/>
    <p1510:client id="{2A960B5B-F858-A70D-D8C8-6492BC18AA66}" v="453" dt="2025-11-16T15:54:51.626"/>
    <p1510:client id="{4B3205BD-4799-4939-AC32-A4A1468251AF}" v="1" dt="2025-11-17T11:00:04.388"/>
    <p1510:client id="{4D052A98-30E2-4922-8318-FE78853044E3}" v="1398" dt="2025-11-16T19:33:23.068"/>
    <p1510:client id="{96FEC56F-AD7E-4F35-96DF-CAC13614AED5}" v="4654" dt="2025-11-17T11:31:56.842"/>
    <p1510:client id="{B09E2F32-292D-43F7-BB55-9D0451B0078F}" v="1794" dt="2025-11-17T00:22:27.351"/>
    <p1510:client id="{DCFAA8F6-101D-4248-85F5-0FDF403D17DE}" v="1401" dt="2025-11-16T19:32:34.0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915" autoAdjust="0"/>
  </p:normalViewPr>
  <p:slideViewPr>
    <p:cSldViewPr snapToGrid="0">
      <p:cViewPr>
        <p:scale>
          <a:sx n="81" d="100"/>
          <a:sy n="81" d="100"/>
        </p:scale>
        <p:origin x="486" y="105"/>
      </p:cViewPr>
      <p:guideLst>
        <p:guide orient="horz" pos="2160"/>
        <p:guide pos="3840"/>
      </p:guideLst>
    </p:cSldViewPr>
  </p:slideViewPr>
  <p:notesTextViewPr>
    <p:cViewPr>
      <p:scale>
        <a:sx n="1" d="1"/>
        <a:sy n="1" d="1"/>
      </p:scale>
      <p:origin x="0" y="0"/>
    </p:cViewPr>
  </p:notesTextViewPr>
  <p:sorterViewPr>
    <p:cViewPr>
      <p:scale>
        <a:sx n="100" d="100"/>
        <a:sy n="100" d="100"/>
      </p:scale>
      <p:origin x="0" y="-55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4:05.389"/>
    </inkml:context>
    <inkml:brush xml:id="br0">
      <inkml:brushProperty name="width" value="0.035" units="cm"/>
      <inkml:brushProperty name="height" value="0.035" units="cm"/>
    </inkml:brush>
  </inkml:definitions>
  <inkml:trace contextRef="#ctx0" brushRef="#br0">1 0 24575,'2'2'0,"2"-2"0,-2 2 0,1 0 0,0-1 0,0 1 0,9 3 0,5 6 0,10 5 0,-9-4 0,17 11 0,-26-20-682,15 15 682,-20-18 0,21 15 0,-15-9 0,38 21 0,-38-20 0,36 18 0,-37-20 0,23 14 0,-26-17 0,6 8 0,-10-8 0,2 2 0,-4 1 682,4-3-682,-3 2 0,2-2 0,-2 3 0,1-3 0,-2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7:57.271"/>
    </inkml:context>
    <inkml:brush xml:id="br0">
      <inkml:brushProperty name="width" value="0.035" units="cm"/>
      <inkml:brushProperty name="height" value="0.035" units="cm"/>
    </inkml:brush>
  </inkml:definitions>
  <inkml:trace contextRef="#ctx0" brushRef="#br0">807 823 24575,'0'11'0,"0"-3"0,0 2 0,-3 1 0,2 0 0,-22 75-846,18-56 846,-9 23 0,2-5 0,10-35 0,-21 75 0,19-65 0,-8 38 0,1-1 0,10-40 0,-6 66 0,7-69 0,0 17 0,0-30 846,0-5-846,0-6 0,0-37 0,0 28 0,0-28 0,0-22 0,3 34 0,3-39 0,2-12 0,3 22 0,1 2 0,-2 3 0,0-1 0,6-16 0,-2 15 0,-7 39 0,16-44 0,-21 59 0,8-8 0,-10 19 0,0 17 0,0-13-6784,-7 61 6784,2-49-2269,-7 48 1,-3 3 2268,4-38-1012,-6 24 1,-3 18 0,4-17 1011,4-21-1015,-14 49 1,3-5 1014,19-58 60,-11 25 0,0-3-60,12-34 2089,-13 26-2089,15-32 3123,-6 0-3123,6-2 4670,-2-8-4670,3 1 6382,0-7-6382,0-5 0,0 4 0,0-55 0,0 45-3392,0-59 0,0-6 3392,0 48-2269,7-62 1,2 1 2268,-4 66 0,6-24 0,0 5 0,-9 38-603,8-12 603,-10 14 0,7 2-142,-6-3 142,5 0 0,-5 3 4167,9-16-4167,8-13 0,-8 7 6232,10-5-6232,-13 15 1326,-2 17-1326,2-6 341,-7 16-341,0 0 0,-4 7 0,-13 50-6406,10-36 6406,-13 35-2331,0-12 0,0-4 2331,3-14-1559,-24 56 0,-1 0 1559,22-53 0,-18 36 0,-1 5 0,8-19 0,-6 19 0,17-41 2865,16-31-2865,0-5 4537,0-5-4537,4-9 0,0 5 0,0-5 0,0 7 6784,0 0-6784,0-1 0,0 1 0,0 0 0,0-1 0,4-16 0,-4 13 0,4-16 0,2-47-3392,8 3 0,0-4 3392,-9 23 0,3-2-1513,11-17 1,6-9 0,-6 21 1512,-6 28-1517,23-40 0,2 5 1517,-23 47 0,25-31-167,-33 41 167,1 4 2951,-4-6-2951,2 7 4413,-2-3-4413,4 6 6600,-1-2-6600,3 3 558,-1 0-558,4 33 0,-8-22 0,5 68 0,-6-61-3392,-1 38 0,-2 3 3392,2-33 0,-3 51-2269,-2-23 1,-2-6 2268,-1-14-1517,-6 59 0,-2 0 1517,6-64-1015,-9 49 1,2-2 1014,11-54 517,-7 29 0,0-1-517,9-30 1524,-9 40-1524,9-45 3296,-2 2-3296,3-18 4928,0-7-4928,0 1 2886,0-7-2886,13-47-2229,-10 34 2229,13-37-2573,1 11 0,-1 3 2573,-1 13-1721,18-55 1,0 2 1720,-18 60-1029,16-46 1,0 1 1028,-17 48 778,9-29 0,0-2-778,-9 25 3194,4-11-3194,-11 32 0,-7 19 0,-4 20 0,0-15 4775,0 15-4775,-22 36 6064,20-39-6064,-26 50 0,-3 5 0,19-35 0,-16 18 0,-10 17 0,9-16 0,12-15 0,-8 9 0,-8 13 0,11-18 0,19-25 0,-15 27 0,1-3 0,18-36 0,-17 41 0,19-51 0,-6 11 0,7-24 0,7-29 0,-6 22-3392,8-33 0,2-3 3392,-5 28-2269,12-66 1,-1-5 2268,-8 55 0,2-19 0,2-9 0,7-10 0,-2 8-845,-5 22 845,12-42 0,0 9 584,-19 63-584,11-20 0,-9 23 3582,-1 1-3582,0 0 0,-3 2 0,9-7 0,6-28 0,-5 20 1269,9-17-1269,-19 41 5460,4 0-5460,-5 9 0,-3 17 0,0-13-5513,0 74 5513,0-59-2269,-4 52 1,-2 2 2268,4-44-1517,-4 24 0,-1-1 1517,1-32-950,1 9 950,1-13 0,-1-1 0,4-5 1785,-7 5-1785,7-7 0,-3 7 0,1 1 0,-6 31 0,-2 6 0,-1-4 1724,2-3 0,0 1-1724,-4 16 5155,12-48-5155,-14 54 2858,11-57-2858,-3 6 2059,5-19-2059,3-13 0,0-4 0,0 3 0,0-3 0,0 4 0,0-1 0,3-9 0,-2 7 0,2-10 0,7-67-2074,-8 53 2074,5-21 0,-1 1-5098,-5 28 5098,3-10 0,-4 14-1729,0 8 1729,4-9 0,-2-29 0,2 21-1918,1-54 1,-2-3 1917,-1 43-991,7-51 0,0 8 991,-6 65 2091,13-60-2091,-15 69 0,9-16 1173,-9 30-1173,2 4 4471,-3 3-4471,0 0 6685,0 7-6685,0-5 0,-6 41 0,4-34 298,-4 30-298,-8 28 0,8-48 0,-11 59 0,-1 2 0,9-52 0,-3 25 0,-3 17 0,4-16 0,7-21 0,-5 42 0,2-2 0,7-48 0,0 22 0,0 1 0,-3-12 0,2 9 0,-3-28 0,4-25 0,0-6 0,0-17 0,4 13 0,-3-72 0,2 61-3392,-4-49 0,-1-3 3392,1 36 0,-3-51 0,3 29 0,-1 7 0,1 21 0,0-50 0,2 3 0,3 57 0,4-67 0,-1 79 6784,-3-20-6784,-1 33 0,-3-2 0,-6 42 0,4-27 0,-4 30 0,-14 34 0,15-48 0,-19 55 0,-1 3 0,17-52 0,-8 22 0,-7 17 0,5-19 0,8-25 0,-14 46 0,-1-3 0,14-54 0,-9 36 0,0 5 0,2-16 0,-8 22 0,12-32 0,10-29 0,1-4 0,3-5 0,0-9 0,0 1-6784,-4-51 6784,4 41 0,-4-41-3452,-2-20 3452,1 41-1131,-3-25 0,-2-19 0,1 14 1131,1 8-757,-1-10 1,-1-15-1,3 20 757,5 25 1135,-1-21 0,0 4-1135,3 36 2308,0-9-2308,0 29 4537,0 12-4537,-7 40 0,5-32 0,-4 37 0,-1 1 0,6-33-1916,-10 50 1,-1 5 1915,4-41-1634,-3 20 0,-2-3 1634,5-33 0,1 10-807,0-20 807,6 4 2329,-5-1-2329,2-2 0,0 1 0,-6 9 0,8-5 3153,-8 7-3153,-14 43 0,12-36 0,-7 19 0,1 0 0,8-24 5583,-7 24-5583,13-44 2352,1-1-2352,3-12 1273,0-4-1273,0 3 0,10-39 0,-5 31-3392,9-33 0,2-1 3392,-4 25 0,8-42 0,2 7 0,5-7 0,5-19 0,2-2-2269,-5 7 1,1 2 2268,-1 3 0,0 5-3034,11-15 3034,-24 56 1517,16-32 0,2 2-1517,-15 36 0,10-17 0,-20 35 4537,-9 13-4537,0 0 6784,0 7-6784,-13 54 0,10-40 0,-10 38 0,-13 23 0,19-58 0,-22 51 0,-1 0 0,18-50 0,-16 39 0,0-3 0,15-44 0,-20 58 0,27-80 0,-4 16 0,10-28 0,0-4 0,0 5 0,0-5 0,0 6 0,0 1 0,0 0 0,0-1 0,0-16 0,0 10 0,10-63 0,-4 30-3392,10-43 0,2-2 3392,-5 29-1513,4-6 1,5-14 0,-3 20 1512,-5 27 0,2-12 0,2-2 0,11-3 0,-19 38 0,23-44 4537,-15 42-4537,-8 4 6784,3 7-6784,-13 14 0,-13 42 0,9-33-3392,-10 33 0,-1 2 3392,7-28-2269,-10 40 1,-1 1 2268,11-35 0,-15 43 0,-1 2 0,-8-5 0,0 13-3034,-5-10 3034,31-61 3034,-7 8-3034,13-21 4537,0-6-4537,3-23 0,-2 16 0,5-16 0,8-43 6784,-7 49-6784,10-58 0,3-6 0,-7 47 0,11-21 0,10-16 0,-5 17 0,-1 21 0,15-14 0,11-12 0,-9 17 0,-13 24 0,37-33 0,-3 1 0,-42 40 0,17-16 0,0-1 0,-18 15 0,9-6 0,-15 15 0,-13 13 0,3 1 0,-6 4 0,5 2 0,-5-2 0,2 3 0,-3 32 0,0-27-3392,-4 37 0,-2 2 3392,4-31-2269,-9 43 1,-1 0 2268,9-44-662,-7 32 1,0-2 661,8-36 0,-7 39 0,8-53 0,-3 6 3882,4-16-3882,4-40 0,-4 30 0,17-73 0,-14 72-1280,14-29 1,2-2 1279,-10 27 0,14-32 0,16-9 0,-26 42 0,20-28 0,3 2 4537,-22 34-4537,36-46 0,-43 51 6784,13-16-6784,-16 20 0,-3 1 0,1 6 0,-9 1 0,7 3 0,-7-3 0,-7 13 0,8-11 0,-11 8 0,3 2 0,4-13 0,-10 17 0,15-15 0,-2-1 0,7-5 0,0-6 0,0-4 0,0 3 0,7-29 0,-6 23 0,25-56 0,-21 54-6784,44-57 6784,-38 58-2808,51-45 2808,-47 47-2038,31-28 2038,-36 35 0,4-4 0,-11 14 4384,-6 3-4384,-1 1 0,-23 15 0,14-15 3413,-14 12-3413,-16 3-2951,-7 5 2951,-1 4-1979,-12 1 1979,49-24 0,-29 2 0,32-8 0,-19-6 0,23-1 0,-9 0 0,15-3 5804,-2 3-5804,3-7 2959,0 3-2959,0-3 0,3 1 0,1 5 0,0-5 0,16-11 0,-13 10 0,43-33 0,-36 35 0,62-33 0,-59 37-6784,58-22 6784,-60 26 0,31-6 0,-39 10 0,6 2 0,-13 12 0,0-8 0,-10 28 0,4-25 0,-24 34 0,22-33 6784,-15 10-6784,-1 3 0,5-10 0,-6 6 0,18-17 0,8-12 0,9 0 0,-9-1 0,25-19 0,-18 18 0,45-34 0,-38 38 0,61-31 0,-59 32 0,58-22 0,-60 23 0,31-10 0,-36 12 0,10 8 0,-12-5 0,3 15 0,-4-12 0,-3 5 0,6 4 0,-8-5 0,8 1 0,7 29 0,-7-26-6784,33 75 6784,-30-65-2269,22 39 1,-1 1 2268,-20-32-1517,22 33 0,0-3 1517,-26-38-1015,15 22 1,0-1 1014,-17-29 1919,21 45-1919,-23-48 2979,5 15-2979,-5-23 4455,-5-4-4455,2-4 6661,-3-7-6661,0 3 0,0-6 0,0 6 370,0-3-370,0 3 0,0-2 0,0 2 0,0-3 0,0-33 0,0 28 0,0-64 0,0 64-2700,0-37 2700,0 43 0,0-8-75,0 11 75,0 0 0,0-1 0,0-2 0,0 1 0,7-21 0,-6 18 2688,6-19-2688,-7 30 87,0-2-87,0 11 0,0 2 0,0-2 0,3 16 0,-2-14 0,12 50 0,-11-43 0,8 33 0,0 1 0,-8-29-3392,4 38 0,-2 1 3392,-4-39 0,0 47-4537,0-12 4537,0-34-1580,3 42 1580,-2-55 0,2 40 0,-3-19 0,0 13 3754,0-27-3754,0-17 5613,0-11-5613,0 3 3534,0-3-3534,0 0 0,0 3 0,0-3 0,0 4 0,0 0 0,0-1 0,0-9 0,0 7 0,-3-63 0,2 52-3392,-2-42 0,0 0 3392,2 40-2269,-1-29 1,1 2 2268,1 34 0,0-27 0,0 35 0,0-3 0,3 7 4537,-2-3-4537,2 10 6784,-3-2-6784,0 6 0,0 46 0,0-35-3392,-1 38 0,-1 0 3392,-2-34-2269,-2 43 1,1 1 2268,0-39-1517,-4 43 0,2 1 1517,4-40-1015,-8 33 1,-1-3 1014,9-38 1728,-20 56-1728,20-66 2884,-10 14-2884,12-27 4313,-5-1-4313,5-6 6450,-6-17-6450,7 12-5775,-14-61 5775,12 51-2269,-8-43 1,0-3 2268,8 35-1517,-4-47 0,2 1 1517,4 47-1015,3-34 1,0 3 1014,-1 40 213,8-60-213,-6 72 2135,0-22-2135,-1 36 3191,-3-3-3191,0 8 0,0 15 0,0-11 0,0 63 0,4-54 0,-4 38-476,4 13 476,-4-48-1517,0 46 0,0 1 1517,0-44-1015,0 41 1,0-1 1014,0-42 0,0 29 0,0-3 0,0-34 2029,0 53-2029,0-57 3034,0 10-3034,0-24 4537,0-6-4537,0-10 0,0 7 0,-4-50 0,3 42 0,-2-32-4537,-3-23 4537,4 49-1269,-2-51 0,1-1 1269,3 45-1097,2-36 1,0 2 1096,-2 43 2193,7-58-2193,-3 66 3280,0-13-3280,-1 28 3795,1 6-3795,0 23 0,0-17 6784,2 17-6784,8 33 0,-7-39 0,7 54 0,1 2 0,-8-46 0,3 28 0,1 20 0,0-19 0,-1-26 0,0 23 0,2 18 0,-2-18 0,-3-25 0,10 42 0,-2-3 0,-11-48 0,16 52 0,-19-73 0,2 7 0,-3-36 0,0 12-6784,-10-70 6784,8 59 0,-8-46 0,7-2 0,2 45 0,-3-41 0,1-1 0,2 38-2269,0-39 1,-1 1 2268,2 38 448,0-29 0,0 3-448,0 37 0,0-61 0,0 66 0,0-13 0,0 28 4981,0 6-4981,3 4 5444,-2-3-5444,9 42 0,-8-27-4180,7 38 4180,-5-44 0,0 4-717,0-14 717,-1 4 0,-2-3 0,2 6 0,-3-6 0,3 12 0,-2-7-5162,15 73 5162,-12-55 0,12 49 0,-15-69 0,5 32 0,-5-27 2672,2 33-2672,-3-45 603,0 4-603,0-18 6784,-3-18-6784,-1 2 0,-10-43 0,5 23 0,-3-10 0,0-2 0,2-1 0,-7-15 0,11 20 0,1 6-2825,0 21 2825,-1-62 0,3 81 0,2-46 0,-3 23 0,4-16 0,0 35 0,0 19 2825,4 10-2825,-4-7 0,13 50 0,-10-39-3392,7 28 0,-1 1 3392,-6-27 0,7 36-4537,-4 8 4537,-4-42 0,1 32 0,0-3 0,-3-35 0,0 57 0,0-57 0,0 6 0,0-19 4537,0-13-4537,0-27 0,0 20 0,4-59 0,-4 56 0,3-35 0,-2-2 0,-5 29-2269,4-40 1,-1 0 2268,-2 39-639,3-27 0,0 3 639,0 35 0,0-29 0,3 39 3904,-2 2-3904,3 7 0,-1 39 0,1-27 0,3 37 0,0 3 0,-2-33-1313,6 47 0,-2 1 1313,-7-47 0,11 55 0,-9-22 0,4-11 0,-4 15 0,-1-37 0,-3-25 4537,0-6-4537,0-14 6784,0 10-6784,-3-48 0,2 35-3392,-2-32 0,-1-2 3392,4 28-2269,-5-45 1,0 1 2268,3 45 0,-5-54 0,7 16 0,0 46 0,4-69 4537,0 70-4537,0-9 6784,-1 23-6784,-3 20 0,0-5 0,0 5-6784,3 29 6784,-2-27 0,2 27-2499,4 20 2499,-5-35-1855,4 30 1,1 0 1854,-6-31-1240,4 25 0,0-3 1240,-4-31 2480,2 51-2480,-3-56 1671,0 7-1671,0-21 4537,0-6-4537,0-1 6784,0 1-6784,0-7 0,0 5 0,0-8 0,0 8 0,0 2 0,0 4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8:02.045"/>
    </inkml:context>
    <inkml:brush xml:id="br0">
      <inkml:brushProperty name="width" value="0.035" units="cm"/>
      <inkml:brushProperty name="height" value="0.035" units="cm"/>
    </inkml:brush>
  </inkml:definitions>
  <inkml:trace contextRef="#ctx0" brushRef="#br0">1098 279 24575,'-4'-4'0,"-3"4"0,3-4 0,-3 1 0,-1 2 0,1-9 0,-1 9 0,-2-9 0,1 9 0,2-5-6784,-62-15 6784,49 13 0,-56-15 0,54 22 0,-31-6 0,23 7-4537,-40 0 4537,60 4-3034,-53 13 3034,52-11 0,-56 27 0,56-25-558,-25 12 558,32-13 2757,-4-6-2757,-29 25 0,23-18 4124,-23 19-4124,13-13 0,12-5 0,-21 5 0,23-10 6165,-14-1-6165,15-3 1867,-15-3-1867,14 2 0,-17-5 0,17 5 0,-4-6 0,8 6 0,2-2 0,0 0 0,0-1 0,4-4 0,4 1 0,-4-1 0,20-9 0,-16 7 0,15-7 0,-14 13 0,-1-3 0,2 7 0,44-30 0,-32 24 0,35-21 0,-26 21 0,-18 1 0,17-3 0,-25 8 0,2 4 0,-3 4 0,0-1 0,-3 0 0,2 1 0,-12 19 0,7-12 0,-24 42 0,15-33-3716,-6 15 3716,11-26 0,-17 24 0,4-9 0,-17 24 0,21-28 0,-4 9 0,16-22 0,-9 13 0,15-23 0,-2 2 0,3-11 3716,0 1-3716,0-1 0,3-6 0,1 5 0,10-24 0,-5 20 0,24-40 0,-21 42-6784,38-44 6784,-37 48 0,17-26 0,-26 35 0,-1-5 0,-6 11 0,2-1 0,-6 3 6784,-10 21-6784,3-11-6784,-30 53 6784,28-52-1160,-38 58 1160,38-61-295,-38 42 295,31-44 0,-26 27 0,34-32 0,-8 6 6063,23-17-6063,-4-4 1693,4-3-1693,0-4 483,0 3-483,10-33 0,-8 27 0,25-59 0,-23 56-3392,19-29 0,2-1 3392,-17 28-2269,23-31 1,0 0 2268,-20 32 0,38-58 0,-40 62 0,23-33 0,-29 37 0,17-8 0,-15 15 4537,9 3-4537,-6 0 6784,2 0-6784,-2 0 0,-1 0 0,0 0 0,1 0 0,5 0 0,-4 0 0,5 0 0,16 0 0,-10 0 0,31-3 0,-32 2-1520,8-2 1520,-20 3-448,23-4 448,-17 4 0,50-7 0,-48 6-6132,67-5 6132,-64 5 0,32-3 0,-43 4 0,30-6 0,-23 4 0,39-11 0,-45 8 992,18-2-992,-24 0 324,1 6-324,-7-2 6784,-3 3-6784,-7 3 0,5-2 0,-38 12 0,31-10 0,-60 19 0,59-18-2646,-29 12 2646,37-15-1044,-34 12 1044,27-11 0,-63 18 0,61-15 0,-28 6 0,38-8 0,-2 1 0,5-7 2491,-2 2-2491,7-6 1199,0-1-1199,3 4 0,1-6 0,0 6 0,19-20 0,-18 13 0,47-23 0,-41 24-6784,78-24 6784,-69 23-1901,69-16 1901,-74 22 0,28-12 0,-37 19 0,0-8 0,-7 12 5843,-15 2-5843,9-3 0,-49 8 0,38-12-3942,-78 9 3942,77-9-3683,-67 5 3683,71-5 0,-32 2 0,44-3 0,-6 0 0,19 0 0,11 0 0,-7 0 0,75 0 0,-65 0 3683,52 0-3683,-23 0 0,-28 0 0,23 0 0,-39 4 0,-16-3 0,-23 5 0,16-2 0,-46 3 0,46-3 0,-36 3 0,38-6 6784,-18 5-6784,21-5 0,2 2 0,4-6 0,10 2 0,19-9 0,-13 9 0,60-9 0,-55 9 0,61-2 0,-65 3 0,49 0 0,-49 0 0,16 3 0,-8 1 0,-17 3 0,38 7 0,-34-5 0,37 15 0,-37-14 0,43 20 0,-42-20 0,40 24 0,-39-27 0,20 25 0,-13-11 0,-5 2 0,10 4 0,-21-18 0,11 2 0,-12-5 0,6-5 0,-6 5 0,2-8 0,-3 1 0,-3-6 0,2-1 0,-6 1 0,3-4 0,-3 6 0,3-4 0,-3 4 0,0-5 0,2 2 0,-22-26 0,19 24 0,-29-39 0,27 43 0,-8-20 0,12 22 0,2-4 0,0 1 0,-3 3 0,3-3 0,-3 3 0,-1 0 0,-3-6 0,7 12 0,0-8 0,8 13 0,4-7 0,-4 7 0,2-6 0,-2 5 0,23 11 0,-15-6 0,31 22 0,-31-22 0,28 29 0,-29-32 0,13 22 0,-20-25 0,2 2 0,-5-1 0,5-5 0,-5 6 0,6-3 0,-6 3 0,2-6 0,-3-2 0,-3-3 0,2-6 0,-6 9 0,-13-36 0,8 27 0,-28-47 0,28 47 0,-8-19 0,0 5 0,6-2 0,-8-1 0,8 4 0,10 25 0,4-8 0,1 13 0,15 3 0,-9-1-3392,34 23 0,6 2 3392,-22-14 0,54 40 0,-45-40 0,-24-16 0,16 8 0,-27-19 0,-5 3 0,-18-22 0,15 16 0,-53-40 0,48 37-2269,-37-17 1,-3 0 2268,31 16 0,-47-20-3034,10 8 3034,40 20-1171,-73-27 1171,77 31 2453,-40-8-2453,38 10 3669,-8 0-3669,12 3 5487,7-2-5487,-7 5 3917,5-2-3917,-18 4 0,16-4 0,-29-1 0,28 0 0,-32-2 0,33 6 0,-33-7 0,32 4 0,-22-1 0,25-2 0,-8 2 0,12 0 0,2-2 0,3 6 0,7-7 0,-3 4 0,3-4 0,1 0 0,2 0 0,-2 0 0,32 3 0,-25-2 0,54 5 0,-54-5 0,28 2 0,-34-3 0,1 0 0,-3 3 0,4-2 0,-3 3 0,3-4 0,9 3 0,-13 1 0,6 3 0,-17-3 0,-3-1 0,-1 1 0,1-3 0,-27 8 0,20-7 0,-62 11 0,58-11 0,-71 14 0,71-14 0,-28 11 0,-5-2 0,4 4 0,-11 1 0,18-6 0,35-10 0,-1-4 0,9 0 0,1-2 0,0 1 0,-1-2 0,1 3 0,-4-3 0,7 7 0,-3-10 0,0 5 0,16-26 0,-16 19 0,28-35 0,-25 38 0,14-24 0,-17 34 0,-4-7 0,-1 14 0,-6-1 0,3 4-6784,-20 23 6784,16-17 0,-11 16-4537,-21 17 4537,27-32-743,-22 22 1,0-1 742,21-25 0,-39 42 0,41-47 0,-22 24 0,28-34 3801,-4 7-3801,14-14 5684,0 1-5684,0-1 0,19-15 0,-15 11 0,48-31 0,-41 30-3463,64-37 3463,-62 40-2485,59-36 2485,-62 41 0,26-18 0,-35 26 0,2-2 0,-7 6 5554,0 0-5554,0 1 0,-7 12 0,5-9 0,-21 32 0,19-30 0,-35 39 0,30-42 3715,-25 29-3715,25-35 0,-5 12 0,10-19 0,1 2 0,6-6 0,-2 0 0,5 3 0,8-23 0,-4 22 0,33-41 0,-29 40 0,19-20 0,-6 12 0,-15 4 0,31-14 0,-28 18 0,6 0 0,-14 10 0,-11 0 0,4 2 0,-4-2 0,4 0 0,0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25.619"/>
    </inkml:context>
    <inkml:brush xml:id="br0">
      <inkml:brushProperty name="width" value="0.035" units="cm"/>
      <inkml:brushProperty name="height" value="0.035" units="cm"/>
    </inkml:brush>
  </inkml:definitions>
  <inkml:trace contextRef="#ctx0" brushRef="#br0">1245 156 24575,'-4'4'0,"-3"-3"0,2 2 0,1 1 0,-3-3 0,2 2 0,-3 1 0,-18 0 0,10 1 0,-35 2 0,29-3 0,-29 4 0,31-4 0,-21 0 0,26-4 0,-7 0 0,14 0 0,0 0 0,0 0 0,3-4 0,-2 3 0,6-13 0,-2 8 0,3-16 0,0 12 0,7-12 0,-5 12 0,15-9 0,-11 10 0,9 1 0,-7 5 0,0 3 0,0 3 0,0-2 0,0 10 0,-4-6 0,0 10 0,-4-6 0,-4 9 0,0-12 0,-11 16 0,9-16 0,-16 9 0,20-7 0,-23 0 0,18-4 0,-19 3 0,16-6 0,-9 3 0,10-4 0,-2-4 0,6 0 0,-2-8 0,6 3 0,-2-3 0,3 4 0,7-3 0,-2 6 0,24-10 0,-16 14 0,16-7 0,-21 8 0,4 0 0,-4 0 0,3 0 0,-2 0 0,3 0 0,3 0 0,-6 0 0,3 4 0,-5-3 0,-6 16 0,2-10 0,-10 33 0,5-27 0,-19 31 0,17-33 0,-28 18 0,24-19 0,-21 5 0,19-11 0,-16 0 0,16-4 0,-23-4 0,25 0 0,-21-11 0,23 8 0,-6-14 0,9 15 0,6-27 0,2 20 0,17-30 0,-11 34 0,36-30 0,-33 34 0,40-20 0,-41 20 0,27-3 0,-30 4 0,9 4 0,-11 0 0,-4 4 0,3-3 0,8 27 0,-4-22 0,11 51 0,-17-46 0,6 25 0,-14 11 0,2-29 0,-28 60 0,-24-34-6784,18 3 6784,-12-14 0,7-9 0,-2-4 0,-7 4 0,-2-6 0,38-17 0,-27 2 0,32-6 0,-13 2 0,16-3 0,1 1 0,-3 2 0,6-6 6784,-6 2-6784,6-3 0,-3-7 0,4 5 0,7-26 0,-5 23 0,9-13 0,7-3 0,-6 23 0,35-40 0,-16 30 0,6-8 0,0 9 0,-27 15 0,9-4 0,-11 4 0,0 4 0,-4 0 0,3 4 0,-3 17 0,1-12 0,-2 16 0,-3-17 0,0 1 0,0-2 0,0 8 0,0-9 0,0 9 0,-21 27 0,16-28 0,-49 57 0,46-60 0,-60 39 0,56-42 0,-67 21-1297,61-23 1297,-33 1 0,42-7 0,-24-1 0,20-2 0,-23 2 0,26-3 0,-2-3 1297,9-2-1297,3-3 0,3-7 0,2 5-6784,20-40 6784,-13 36-4328,42-64 4328,-39 68-1552,24-24 1,1 1 1551,-22 25-2075,64-34 2075,-66 38 2075,34-14-2075,-39 17 0,8-2 0,-15 6 0,10 19 0,-11-9 0,11 55 0,-13-50-140,-19 78 140,9-76 3034,-13 34-3034,-18-8 0,24-25 0,-49 48 0,43-52 0,-37 30 0,42-35 0,-38 17 0,31-20 4537,-4-5-4537,14-5 0,14-7 0,0-7 6784,0 6-6784,7-35 0,-6 29-6784,31-50 6784,-26 50-3682,47-47 3682,-42 52 0,18-23 0,3 18 0,10 1 0,-1-2 0,19 5 0,-46 10 0,18 1 0,-26 5 4960,1 13-4960,-7-7 5506,0 25-5506,-4-20 0,3 10 0,-17 14 0,11-18-6784,-29 51 6784,27-49-1426,-38 48 1426,38-54-394,-42 37 394,38-39 0,-38 16 0,34-25 5883,-35 7-5883,25-17 0,-5 6 2063,6-14-2063,16 6 658,-9-25-658,10 18 0,1-14 0,5 18 0,3 0 0,0 0 0,-4 3 0,3-2 0,-2 3 0,3-4 0,0 0 0,0 0 0,0 0 0,0 0 0,0-18 0,0 13 0,10-23 0,-3 25 0,15-11 0,-16 13 0,8 1 0,-10 5 0,4 3 0,0 3 0,-3 1 0,2 4 0,-6 0 0,2 0 0,1 21 0,-4-8 0,-7 45 0,-2-32-3045,-4 12 3045,2-27-5776,-29 45 5776,23-42-1931,-29 34 0,-1-2 1931,26-34-765,-26 18 1,1-1 764,29-24 519,-55 27-519,57-33 3362,-25 10-3362,34-19 5028,-1 1-5028,7-7 0,0-4 0,0 3 3701,0-2-3701,7-26 0,-5 22-5182,26-54 5182,-19 53-2134,41-49 2134,-36 55 0,47-40 0,-46 44 0,46-26 0,-47 30 0,26-9 0,-30 11 0,5 4 0,-11 0 0,3 25 0,-6-16 0,2 45 0,-3-43 0,-7 60 0,2-58 157,-17 72-157,15-70-3882,-29 56 3882,27-65-2596,-42 40 2596,37-45 2596,-30 27-2596,34-30 1322,-5 5-1322,11-11 4537,4-4-4537,4 0 6784,-3 0-6784,16-29 0,-13 19 0,38-55 0,-24 49 0,55-42 0,-45 49-6784,62-23 6784,-68 29 0,46-4 0,-56 11 0,14 4 0,-22 4 0,7 22 0,-9-13 6784,1 51-6784,-32-1-2124,15-9 2124,-23 7 0,-4-16 0,18-21 0,-13 9 0,-5-2 0,-15-7 0,4 5 0,8-15 0,36-14 0,0 0 0,0 0 0,0-4 2124,4 0-2124,-4-1 0,8-6 0,-8 6 0,8-31 0,-4 21 0,11-53 0,-2 51 0,3-27 0,13 1 0,-13 26 0,36-59 0,-31 60 0,34-35 0,-35 44 0,17-11 0,-24 21 0,6-6 0,-7 28 0,1-9 0,-2 11 0,-3-12 0,0 35-5898,0-28 5898,0 30 0,-3-41-4830,-23 68 4830,16-50-1616,-21 44 1,-2 0 1615,20-41-1944,-31 44 1944,40-65 1373,-32 36-1373,24-29 1535,-24 28-1535,28-38 2729,-25 25-2729,22-19 3898,-42 33-3898,43-39 0,-16 13 1131,23-24-1131,3-8 0,0 0 0,0-8 2877,0 11-2877,14-50 0,-11 38-2421,17-44 1,3-1 2420,-13 39-2060,21-51 0,2 1 2060,-17 49-1517,28-51 0,1-1 1517,-24 48-1015,9-13 1,-3 5 1014,-19 27 0,35-38 0,-26 31 395,22-23 0,0 1-395,-22 25 2420,44-35-2420,-49 44 0,10-3 0,-14 10 3620,-8 8-3620,4-4 5411,-4 4-5411,3 3 0,-2-2 4143,3 3-4143,-1 45 0,-2-37 0,-3 45 0,-3 2 0,-1-41 0,-14 47 0,-4 0 0,9-50 0,-17 27 0,-1-3 0,18-33 0,-29 15 0,35-26 0,-7-3 0,8 0 0,4-3 0,-3 2 0,6-6 0,-3 2 0,1 1 0,-5-39 0,2 12 0,1-18 0,0-3 0,4-2-3392,1-20 0,0 2 3392,1 26 0,1-8 0,-1 7 0,-1 29 0,3-34 0,1-4 0,-2 18 0,12-51 0,0-1 0,-8 55 0,20-43 0,4 1 6784,-18 46-6784,27-31 0,1 1 0,-22 37 0,21-19 0,0 4 0,-23 28 0,34-21 0,-39 31 0,11 1 0,-17 4 0,9 33 0,-12-22 0,9 24 0,-14 41 0,2-51 0,-14 51 0,-3-1 0,7-50 0,-15 28 0,-11 19 0,8-18 0,9-25 0,-30 43 0,-1-6 0,35-53 0,-49 40 0,51-49 0,-29 13 0,32-20 0,-18-8 0,21 1 0,-27-49 0,26 38-3392,-10-40 0,1-1 3392,11 33-2269,-3-46 1,2-1 2268,8 43-1517,7-36 0,3 1 1517,-1 39-1015,15-32 1,2 2 1014,-12 38 382,20-31 1,0 0-383,-17 34 2407,51-47-2407,-33 42 0,7-2 0,-2 11 0,-26 10 0,22 10 0,-23-7 0,23 39 0,-29-30 3600,11 24-3600,-14 28 0,1-35 1410,-2 52-1410,-3-63 0,-4 4 0,4-10 2927,-8-3-2927,8 2 0,-4 0 0,0-2 0,0 10 0,-4-9-5037,-21 54 5037,15-44-1684,-12 24 0,-2-2 1684,14-31 1915,-37 28-1915,38-37 0,-23 5 0,25-11 0,-29-32 0,27 20-1392,-12-33 0,3-3 1392,13 29 0,-16-45 0,20-8 0,1 48 0,7-47 0,4-1 0,1 42-918,13-34 1,4 3 917,-10 41 1014,17-18 1,8 1-1015,12 16 0,0-7 0,9 18 0,-49 14 0,31 24 0,-30-14 0,30 72 0,-34-61 2850,12 40-2850,-21-42 0,0-5 3597,0 5-3597,0-4 0,0-6 0,0 6 0,0-6 0,0 2 0,0 8 0,-29 55 0,11-26 0,-22 17 0,-4-5 0,16-30-1996,-24 16 0,0-7 1996,32-31-2096,-66 31 2096,70-37 0,-24 5-540,14-14 540,17 1 2944,-16-5-2944,14-26 0,1 22 0,-9-75 0,14 69 0,-2-44 3668,7 56-3668,10-52 1140,-7 40-1140,16-41 0,4-1 0,-11 38 0,32-40 0,4 1 6784,-22 43-6784,36-24 0,1 4 0,-36 26 0,31-7 0,-3 1 0,-39 10 0,55-4 0,-66 15 0,20 1 0,-24 6 0,16 15 0,-13-10-6784,24 77 6784,-24-65-2269,-1 41 1,-3 1 2268,-6-39-1517,-17 39 0,-1 0 1517,11-38-597,-22 24 1,-1-5 596,24-35 0,-25 23 0,30-34 2443,-12 9-2443,8-8 3653,-29 2-3653,27-5 0,-34-31 0,34 21 0,-20-32 0,1-4 0,18 25-935,-19-40 1,2-1 934,25 36-1517,-8-35 0,3 1 1517,11 36-963,17-72 963,-9 80 0,53-51 0,-43 57 0,36-12 0,2 3 0,-32 17 0,42-3 0,-1 1 0,-42 6 703,28 8 0,-2 3-703,-33-4 0,34 39 0,-43-33-1355,11 72 1355,-17-62 0,-8 29 0,-1-2 0,4-29 0,-20 24 0,-2-3 0,15-28-559,-28 23 1,-2-2 558,23-28 433,-32 17 0,-1-1-433,30-20 1564,-65 18-1564,71-22 2716,-43-10-2716,48 3 0,-29-30 0,32 25 4578,-8-14-4578,1-29 3241,11 36-3241,0-31 0,2-1 2335,3 32-2335,30-68 1084,-22 75-1084,22-22 0,11 0-6784,32 15 6784,-7-15-4537,32 27 4537,-83 7-3034,44 29 3034,-53-20-2029,28 66 2029,-33-55 0,7 35 0,-2 0 0,-7-33 0,-6 40 0,-1 0 0,2-39 0,-13 30 0,-1-2 0,12-35 0,-47 45 0,41-52 0,-74 19 0,66-26 0,-31-1 0,1-2 0,31-4 0,-56-25 0,64 18 854,-46-53-854,50 47 2121,-25-36-2121,31 44 0,-6-30 0,6 25 3502,-3-17-3502,4 24 0,18-25 0,-14 18 0,49-39 0,-40 41 0,72-31 0,-65 36-912,34-4 1,2 3 911,-34 8-1345,42-3 1345,-56 4-375,32 0 375,-24 0 0,38 11 0,-43-9 3483,11 20-3483,-18-16 0,0 26 0,-4-19 5207,-4 33-5207,0-29 3724,-4 13-3724,-25 17-4610,19-30 4610,-19 26 0,25-39 0,-36 32 0,6-14 0,-22 16 0,28-23 0,13-11 0,15-8 5646,-3 4-5646,-1-22 0,3 14 0,-6-21 0,10 15-6784,-6-44 6784,6 35-3315,12-63 3315,-4 69-3439,43-59 3439,-31 60-827,28-18 0,3 0 827,-17 19 0,37-22 2620,-51 33-2620,67-18 2525,-56 18-2525,34-7 0,-3 1 0,-43 9 0,47 8 0,-57-1 0,27 41 0,-31-32-1274,21 75 1274,-23-70-1501,-6 79 1501,-2-80 0,-6 31 0,5-42 0,-12 18 0,8-17 0,-47 26 0,41-32-1269,-32 7 1,-2-2 1268,28-7 0,-38 1 0,0-1 0,39-1 2537,-64 0-2537,72 0 1501,-15-10-1501,21 4 0,4-42 0,0 32 0,15-56 0,-5 56 0,30-63 0,-23 61-3034,48-61 3034,-45 63-2029,55-46 2029,-55 53 2029,45-23-2029,-44 30 3034,16-5-3034,-24 10 4537,9 9-4537,-8 15 0,2-4 0,-5 3 0,-7 21 0,0-30 0,-18 72 0,10-73-2269,-17 34 1,-4-1 2268,13-37 0,-27 30 0,-8 1 0,-13-28 0,-15 26 0,24-37 0,4-7 0,15 1-582,-27-6 582,48 1 0,7 6 0,0-3 0,-11-3 0,12 2 4088,-11-3-4088,17 1 0,-6 6 6273,6-6-6273,-6 6 0,6-6 0,-6 2 0,3-28 0,-1 19 0,9-51 0,1 42 0,35-54 0,-25 53 0,21-20 0,28 4-2708,-16 21 1,1 0 2707,33-22-1240,-13 22 1,-10 6 1239,-39 7 0,34-2 0,-46 5-830,38 6 830,-28-2 0,57 20 0,-60-16 0,46 40 0,-51-34-3383,40 50 3383,-45-46 1187,20 46-1187,-24-47 0,-12 40 0,4-41 238,-37 27-238,30-33 0,-16 10 0,23-16 670,-8 6-670,4-6 4421,-18 3-4421,22-8 0,-32-15 0,29 8 1547,-19-12-1547,21 15 0,-18-24 0,17 17 0,-12-18 0,17 25 0,-11-32 0,8 24-2898,-4-52 2898,12 53-825,34-43 825,-23 44 0,56-19 0,-53 28 0,64-2 0,-61 10-1591,28-2 1591,-38 3 0,32 10 0,-24-7 1330,55 33-1330,-51-24 0,20 14 0,-25-11 0,-10-9 5404,6 5-5404,-10 3 1206,2-7-1206,-6 4 0,2-8 0,-6-3 0,-19 15 0,13-12-3857,-45 10 3857,43-16 0,-22 3 33,29-4-33,-21-7 0,15 5 0,-36-23 0,36 21 0,-29-43 0,31 37-1703,-7-23 1703,12 28 0,6-2 0,-2 3 0,3-4 5941,0 0-5941,0-4 0,0 3 0,0-3 2546,3-3-2546,2 9 0,20-12 0,-16 13 0,19-3 0,-22 4 0,40 4 0,-29 0-2485,26 0 2485,-35 0 0,43 15 0,-33-12 0,30 15 0,0 3 0,-28-11-920,51 36 920,-59-33 0,10 12 0,-18-17 0,-4 0 0,0 0 0,0 0 2358,0 0-2358,-4 0 1047,0-4-1047,-8 3 0,4-6 0,-29 3 0,23-4 0,-69-7 0,62 5-6784,-76-12 6784,80 12-499,-63-16 499,64 15 0,-31-11 0,41 10 0,-5-4 0,11 0 6537,0-4-6537,4 3 746,7-2-746,-1 6 0,26-2 0,-23 6 0,55 8 0,-50-4 0,29 7 0,-11 11 0,3 9 0,0 1 0,4 16 0,-40-35 0,15 18 0,-21-22 0,2 0 0,-7-4 0,-18-4 0,7 0 0,-37-11 0,33 8 0,-42-18 0,50 18 0,-39-22 0,41 18 0,-12-11 0,20 10 0,-2 3 0,6-2 0,-6 6 0,6-6 0,-6-1 0,6-1 0,-2-2 0,-1-5 0,3 7 0,1-10 0,4 14 0,15-10 0,-8 14 0,42-14 0,-36 14 0,72-7 0,-69 8 0,69 4 0,-73 0 0,56 18 0,-61-10 0,25 6 0,-25 7 0,-5-2 0,1 6 0,-29 4 0,10-26 0,-14 7 0,-21-7 0,25-5 0,-76 5 0,74-7-3392,-30-5 0,1-1 3392,32 3-1222,-29-10 0,0-2 1222,27 7 0,-57-32 0,61 27-1416,-35-30 1416,45 30 0,-19-23 0,26 25 4872,-5-18-4872,10 11 0,2 1 3195,10 3-3195,-6 13 2577,21-6-2577,-19 6 0,11-3 0,-18 8 0,0 0 0,-4 4 0,0 7 0,0-5 0,-4 33 0,4-28 0,-29 53 0,23-52-3392,-26 22 0,-4-1 3392,22-24 0,-33 29 0,-8-13 0,-7 0 0,-6 7-2269,7-21 1,6-5 2268,27-1 0,-44-1-1429,25-8 1429,29-1 3829,-39-13-3829,46-3 0,-4-1 0,15-18 0,1 23 0,13-20 0,-8 27 0,5-8 5725,-4 13-5725,-6-6 3196,6 6-3196,-2-3 0,-1 4 0,0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7:25.151"/>
    </inkml:context>
    <inkml:brush xml:id="br0">
      <inkml:brushProperty name="width" value="0.035" units="cm"/>
      <inkml:brushProperty name="height" value="0.035" units="cm"/>
    </inkml:brush>
  </inkml:definitions>
  <inkml:trace contextRef="#ctx0" brushRef="#br0">126 192 24575,'2'-2'0,"-2"-2"0,4 3 0,-4-2 0,4 2 0,-2-3 0,8 0 0,-4-1-6784,72-14 6784,-57 13-2669,53-9 2669,-69 15-714,43-2 714,-34 1 0,39 0 0,-46 1 0,4 1 0,-12 11 5108,-21 4-5108,5 0 0,-10-4 3029,17-10-3029,6-2 1278,-2 2-1278,-12-2 0,8 4 0,-9-3 0,14 0 0,-28-1 0,22 0-6535,-48 0 6535,47 0 0,-21 0 0,29 0 0,-19 0 503,14-1-503,-22-4 0,25 2 0,-6-4 6784,9 4-6784,1-3 0,2 1 0,0 1 0,0 0 0,2 0 0,-1-1 0,6-3 0,-1 1 0,19-11 0,-9 9 0,33-12 0,-29 15-1609,12-4 1609,-24 8 0,34-4 0,-28 3-6251,60-3 6251,-62 4 0,40 2 0,-44 2 0,11 2 0,-17 1 0,-2 10 0,0-8 0,-19 18 0,12-18 0,-41 20 0,37-20 0,-62 18 0,57-20 0,-70 13 0,69-16 0,-61 8 0,67-8 1076,-44 0-1076,48 0 6784,-17-2-6784,22-2 0,0-2 0,2-1 0,10-8 0,-6 8 0,30-19 0,-24 18 0,51-21 0,-46 22 0,61-16 0,-59 19 0,66-14 0,-67 15 0,54-5 0,-59 6 0,27 4 0,-32-3 0,6 12 0,-10-9 0,-4 18 0,1-16 0,-4 6 0,2-8 0,-12 6 0,7-4 0,-34 15 0,31-16 0,-52 12 0,49-14 0,-63 3 0,59-4 0,-69-2 0,70-2 0,-31 2 0,38-4 0,-1 1 0,-6-1 0,7 0 0,0 1 0,4-6 0,1 5 0,1-6 0,2 6 0,2-8 0,0 6 0,2-14 0,2 12 0,-1-4 0,3 6 0,11-8 0,-9 7 0,40-14 0,-35 14-1992,24-3 1992,-30 7 0,35-4 0,-29 4-6124,77-5 6124,-73 8 0,35-1 0,-1 0 0,-35 1-1435,36 2 1435,-48-2-85,17 6 85,-13-5 1169,21 10-1169,-23-9 5950,6 13-5950,-9-11 2358,-2 8-2358,-1-7 159,-1 3-159,0-4 0,-3 3 0,4-3 0,-4 0 0,2-2 0,-1 2 0,-1-1 0,2 1 0,-2 0 0,-1 0 0,-18 10 0,14-9 0,-16 8 0,20-13 0,-26 12 0,21-10 0,-19 7 0,-6-7 0,23-1-1145,-23 1 1145,31-2 0,0 0 0,-1 0 0,1 0 0,0 0 0,-1 0 0,1 0 0,0 0 1145,-2 0-1145,1 0 0,-1 0 0,-6-4 0,6 3 0,-8-9 0,11 7 0,-1-9 0,4 7 0,10-13 0,-6 14 0,28-19 0,-22 20 0,15-9 0,17 3 0,-27 5 0,66-12 0,-66 13 0,63-5 0,-65 7 0,44 0 0,-48 2 0,18 4 0,-20 7 0,2-2 0,-5 4 0,-4-7 0,-2-3 0,1 0 0,-6 2 0,3-3 0,-17 10 0,13-11 0,-29 9 0,28-10 0,-35 5 0,35-5 0,-36-3 0,36 1 0,-29-13 0,30 10 0,-14-12 0,19 11 0,-1-7 0,4 7 0,6-7 0,-3 9 0,22-9 0,-16 11 0,42-9 0,-39 9 0,62-2 0,-60 3 0,66 7 0,-67-3 0,48 13 0,-51-11 0,20 10 0,-26-11 0,6 5 0,-10-5 0,0 1 0,-2-4 0,-7 2 0,4-3 0,-22 2 0,18-2 0,-45 1 0,42-2 0,-51-4 0,52 3 0,-39-10 0,41 9 0,-20-16 0,25 14 0,-8-8 0,12 2 0,-2 5 0,4-5 0,-2 5 0,6-1 0,-5 1 0,4 1 0,-2-2 0,3 2 0,8-5 0,0 2 0,1 3 0,16 0 0,-22 4-6784,47-2 6784,-45 2 0,54 7 0,-32 3 0,4 1 0,-8 1 0,-28-7 0,5 1 0,-6-2 6784,-2-2-6784,1 2 0,-6 2 0,5-1 0,-9 5 0,8-7 0,-4 3 0,4-6 0,0 4 0,-1-3 0,0 2 0,-1-2 0,1 1 0,0-2 0,-16 2 0,12-2 0,-11 2 0,-12-6 0,20 3 0,-43-10 0,42 9 0,-31-15 0,27 9 0,-3-5 0,12 1 0,7 7 0,4-5 0,-2 7 0,4-3 0,-1 6 0,-1-2 0,0 0 0,0 1 0,20-1 0,-15 2 0,14 0 0,21 4 0,-30-3 0,65 12 0,-65-8 0,52 16 0,-47-11 0,13 3 0,-22-4 0,-8-6 0,-4 1 0,0 0 0,-3-3 0,1 1 0,-4-1 0,3 0 0,-13 1 0,11-2 0,-25-2 0,23 1 0,-40-6 0,41 3 0,-21-2 0,23 2 0,1 4 0,-5-2 0,7 0 0,-3 2 0,2-4 0,-1 3 0,-1-1 0,-2-1 0,5 0 0,-7-3 0,9 1 0,-3 1 0,4 0 0,2-1 0,1 3 0,10-2 0,-6 4 0,27-4 0,-24 4 0,49 5 0,-47-3 0,29 7 0,-10 1 0,-19-3 0,47 18 0,-47-20 0,28 20 0,-34-23 0,4 9 0,-10-8 0,-3-1 0,1 2 0,-11-4 0,-13 2 0,7-4 0,-6 2 0,-2-6 0,15 5 0,-37-6 0,38 6 0,-32-9 0,27 3 0,-5-2 0,7-3 0,13 7 0,-3-7 0,4 7 0,4-5 0,-3 5 0,11-1 0,-9 3 0,26-1 0,-20 4 0,44 2 0,-39-1 0,51 14 0,-51-12 0,35 16 0,-42-16 0,13 11 0,-19-9 0,-1 3 0,-3-3 0,-3-1 0,2-2 0,0 0 0,1 0 0,-1-2 0,2 2 0,-6 0 0,3-1 0,-17 1 0,9-2 0,-10 0 0,-9 0 0,9-2 0,-4 1 0,-14-6 0,19 3-6784,-50-12 6784,47 12 0,-17-5 0,13 1 0,5 2 0,-9-4 0,16 6 0,14 2 0,2 2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7:26.789"/>
    </inkml:context>
    <inkml:brush xml:id="br0">
      <inkml:brushProperty name="width" value="0.035" units="cm"/>
      <inkml:brushProperty name="height" value="0.035" units="cm"/>
    </inkml:brush>
  </inkml:definitions>
  <inkml:trace contextRef="#ctx0" brushRef="#br0">320 87 24575,'-1'2'0,"0"-2"0,-6 2 0,3-2 0,0 2 0,-14-2 0,-5 4 0,-17-3 0,15 1 0,-21-2 0,36 0 0,-38 1 0,39 0 0,-34 1 0,35-2 0,-14 0 0,18 0 0,0 0 0,1-2 0,3 1 0,1-2 0,1 0 0,0 1 0,-2-2 0,4 2 0,-2-3 0,4-1 0,-1 1 0,1-1 0,6-2 0,0 3 0,1-1 0,23-4 0,-15 6 0,47-9 0,-39 9 0,50-5 0,-46 8 0,12-3 0,-28 8 0,-14-1 0,-1 3 0,-2-2 0,0 0 0,0 0 0,0 1 0,-2 1 0,1-2 0,-6 6 0,5-4 0,-11 2 0,11-4 0,-23 0 0,21 0 0,-36 2 0,32-3 0,-17 1 0,3 0 0,4 1 0,-5-1 0,11-2 0,10-4 0,2-3 0,4-1 0,-2 3 0,12-8 0,-8 9 0,23-11 0,-21 9 0,42-4 0,-41 4 0,24 2 0,-14-2 0,-11 3 0,17-1 0,-21 2 0,1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27.639"/>
    </inkml:context>
    <inkml:brush xml:id="br0">
      <inkml:brushProperty name="width" value="0.035" units="cm"/>
      <inkml:brushProperty name="height" value="0.035" units="cm"/>
    </inkml:brush>
  </inkml:definitions>
  <inkml:trace contextRef="#ctx0" brushRef="#br0">1840 88 24575,'-3'-4'0,"-2"-3"0,-3 6 0,0-6 0,0 6 0,0-3 0,4 1 0,-7 2 0,-19-13 0,12 11 0,-18-11 0,27 13 0,-3-3 0,4 1 0,-4 2 0,4-3 0,-8 1 0,-7 2 0,8-3 0,-21 1 0,24 2 0,-28-3 0,27 4 0,-12 0 0,17 0 0,-7 0 0,5 0 0,-23 0 0,20 0 0,-30 7 0,34-1 0,-27 9 0,33-7 0,-29 18 0,24-15 0,-36 33 0,31-31 0,-20 19-2963,24-26 2963,-3 4 0,8-5 0,-3-1 0,6 3 0,-6-2 0,2 3 0,-3-4 0,-7 14 0,5-11 0,-5 11 0,-18 18 0,15-14 2963,-16 16-2963,-13 27 0,20-31 0,-15 23 0,-2 3 0,5-6 0,-9 19 0,0 1 0,10-12 0,-2 12 0,-8 18 0,10-17-857,5-9 857,0 8 0,-9 26 0,0-1 0,12-26 0,5-12 0,-1 8 0,-7 25 0,0-2 0,9-26 0,7-19 0,-7 21 0,-5 19 0,6-22 0,8-33 0,-12 35 0,0 1 0,7-28 0,-4 16 0,17-31 0,8-25 214,6-1 0,-6-2 0,2 3 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28.688"/>
    </inkml:context>
    <inkml:brush xml:id="br0">
      <inkml:brushProperty name="width" value="0.035" units="cm"/>
      <inkml:brushProperty name="height" value="0.035" units="cm"/>
    </inkml:brush>
  </inkml:definitions>
  <inkml:trace contextRef="#ctx0" brushRef="#br0">1827 60 24575,'-8'-3'0,"0"2"0,-8-10 0,7 9 0,-7-8 0,8 9 0,0-6 0,0 6 0,0-7 0,-17 4 0,9 0 0,-33-4 0,29 11 0,-46 9 0,42-2-3032,-20 5 3032,32-8 0,-42 22 0,34-15-2890,-32 20 0,0 0 2890,31-17-1933,-38 28 1,-3-1 1932,34-28-1293,-38 35 1,-1 0 1292,36-34-875,-38 40 875,54-49 0,-47 53 0,33-36 0,-34 42 0,0 2 0,32-39 0,-9 18 0,-10 15 0,10-15 0,11-17-124,-6 16 1,4-4 123,20-31 0,-19 32 0,-2 5 0,11-17 0,-31 50 0,3 0 0,35-52 355,-32 52-355,45-71 965,-24 55-965,19-41 0,-13 44 0,-1 1 0,12-40 0,-7 46 0,1 1 0,8-48-216,-6 48 1,2-1 215,8-50-445,-4 38 1,1-3 444,5-43 0,-4 71 0,3-71 1247,-2 29-1247,3-39 2399,3 28-2399,-2-21 0,10 42 0,-9-44 3834,12 20-3834,-9-28 5735,3-1-5735,-1-12 2533,-3-1-2533,1-3 0,5-3 0,-8 9 0,5-5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29.554"/>
    </inkml:context>
    <inkml:brush xml:id="br0">
      <inkml:brushProperty name="width" value="0.035" units="cm"/>
      <inkml:brushProperty name="height" value="0.035" units="cm"/>
    </inkml:brush>
  </inkml:definitions>
  <inkml:trace contextRef="#ctx0" brushRef="#br0">1434 0 24575,'-8'0'0,"0"0"0,4 4 0,-4-3 0,4 2 0,-4 1 0,-21 4 0,12 1 0,-14-1 0,-23 13 0,35-17-3392,-32 18 0,-2 2 3392,32-13 0,-40 21 0,-1 11 0,34-22-2269,-30 22 1,-1 0 2268,31-21-1517,-22 28 0,3 0 1517,30-30 385,-21 35 0,0 0-385,19-30-1142,-17 31 0,2-1 1142,19-31 0,-17 30 0,4-1 0,20-33 0,-15 33 0,0 1 0,15-34-258,-8 40 1,-1 1 257,6-37 0,-11 57 0,1 4 0,10-49 0,-7 24 0,-4 18 0,5-17 0,10-22 658,-8 20 0,-5 18 0,2-5-658,2-4 0,0-4 1503,0 4 1,-2 3-1504,-6 25 0,0-3 0,11-36 0,0-4 0,-1 4 0,2-2 0,-6 31 0,15-78 0,2 0 82,-3 3-82,4-2 0,0-5 0,4-1 4537,-3-10-4537,2 2 0,-3 1 0,0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0.405"/>
    </inkml:context>
    <inkml:brush xml:id="br0">
      <inkml:brushProperty name="width" value="0.035" units="cm"/>
      <inkml:brushProperty name="height" value="0.035" units="cm"/>
    </inkml:brush>
  </inkml:definitions>
  <inkml:trace contextRef="#ctx0" brushRef="#br0">1699 0 24575,'-13'9'0,"2"2"0,3-10 0,0 6 0,-1-6 0,1 2 0,4 1 0,-3-3 0,2 2 0,1 1 0,-3-3 0,2 6 0,-3-7 0,-32 18-6784,3 0 6784,-8-1 0,12 1-3429,-1 1 3429,16-8-1701,-26 22 1,-2 2 1700,24-19-1137,-44 38 0,-1 1 1137,42-36 1137,-34 31 0,-14 13-1137,4 2 0,-2 4 0,15-14 0,-1 3 0,1-1 0,3-3 0,1-1 0,6-4-371,-3 4 1,13-10 370,24-21 0,5-14 3034,3 0-3034,-15 21 0,12-16 3002,-11 20-3002,14-24 0,-22 48 0,13-38-2014,-11 47 0,1 3 2014,13-37 1652,-18 58-1652,27-75-1621,-12 34 1,-2 4 1620,5-18 74,-6 24 0,-6 18 0,2-10-74,-9 16 0,2 0 0,3-1 0,2-10-833,5-21 833,16-36 840,-17 43-840,14-34 605,-10 54-605,14-65 0,0 13 0,0-22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1.204"/>
    </inkml:context>
    <inkml:brush xml:id="br0">
      <inkml:brushProperty name="width" value="0.035" units="cm"/>
      <inkml:brushProperty name="height" value="0.035" units="cm"/>
    </inkml:brush>
  </inkml:definitions>
  <inkml:trace contextRef="#ctx0" brushRef="#br0">1096 0 24575,'-8'0'0,"0"0"0,0 0 0,0 0 0,-14 0 0,10 0 0,-10 0 0,7 4 0,5-3 0,-26 13 0,15-5-6784,-46 39 6784,43-28 0,-19 16 0,-8 24 0,36-43 0,-35 49 0,0 3 0,33-39 0,-15 22 0,-11 17 0,10-15 6784,16-16-6784,-11 21 0,-9 18 0,10-17 0,13-22 0,-8 34 0,-7 22 0,7-21 0,6-24 0,-5 31 0,-5 22 0,7-21 0,7-28 0,-1 6 0,-6 20 0,1 5 0,3-8-2262,5-4 1,4-5 0,-2 1 2261,-5 2 0,-2 1 0,2 3 0,0 24 0,2 5 0,2-7-2269,-1 3 1,2-6 2268,-2 2 0,1-2-229,2-6 1,3-22 228,4-50 0,0-5 0,0 16 0,0-23 4310,0 7-4310,4-18 6446,0-15-6446,1 5 1022,-2-6-1022,1-6 0,-3 22 0,2-9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4:37.047"/>
    </inkml:context>
    <inkml:brush xml:id="br0">
      <inkml:brushProperty name="width" value="0.035" units="cm"/>
      <inkml:brushProperty name="height" value="0.035" units="cm"/>
    </inkml:brush>
  </inkml:definitions>
  <inkml:trace contextRef="#ctx0" brushRef="#br0">0 263 24575,'3'-2'0,"2"1"0,-4-4 0,4 2 0,-5-2 0,7-3 0,-5 2 0,10-5 0,-11 5 0,9 1 0,-9 0 0,4 4 0,-5-3 0,5 3 0,-4-4 0,8 0 0,-7-2 0,13-3 0,-14 4 0,14-4 0,-11 6 0,11-6 0,-11 7 0,8-5 0,-10 2 0,7 1 0,-7-1 0,5 1 0,-4 2 0,5-5 0,-5 5 0,4-5 0,-3 5 0,-1-2 0,1 4 0,-3-4 0,4 5 0,-5-5 0,5 4 0,-4-4 0,4 5 0,-2-5 0,0 2 0,4-3 0,-6 1 0,6 2 0,-6-2 0,4 4 0,-2-1 0,0 0 0,2 1 0,-5-4 0,5 4 0,-2-3 0,0 1 0,2-1 0,-2 2 0,0 0 0,2 1 0,-5-4 0,3 5 0,-3-3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2.154"/>
    </inkml:context>
    <inkml:brush xml:id="br0">
      <inkml:brushProperty name="width" value="0.035" units="cm"/>
      <inkml:brushProperty name="height" value="0.035" units="cm"/>
    </inkml:brush>
  </inkml:definitions>
  <inkml:trace contextRef="#ctx0" brushRef="#br0">1446 1 24575,'-8'0'0,"4"3"0,-3-2 0,2 3 0,-3-4 0,0 3 0,0-2 0,-3 6 0,-2-6 0,1 2 0,-14 5 0,14-7 0,-38 13 0,35-8-6784,-65 12 6784,62-12-1572,-32 8 1,-1 1 1571,31-7-1748,-28 12 0,2 3 1748,29-10-1169,-28 23 1,0 3 1168,29-20 0,-32 36 0,0 1 0,33-34-27,-36 42 27,43-56 0,-36 63 0,28-43 0,-26 49 0,1 3 0,23-44 0,-9 22 0,-7 18 0,7-16 0,9-20-199,-8 25 0,-6 21 0,7-17 199,7-18 0,-6 20 0,-6 18 0,6-18 0,6-20 0,-4 10 0,-4 14 0,5-19 0,7-26 0,-10 37 0,1-3 0,11-43 1841,-14 54-1841,21-63 0,-6 10 2940,10-15-2940,-2-3 4398,3 4-4398,0 0 6575,0 0-6575,0 0 630,0 0-630,0 0 0,0 0 0,0 0 0,7 7 0,-2-9 0,7 1 0,-8-11 0,7-19 0,-10 15 0,6-9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3.064"/>
    </inkml:context>
    <inkml:brush xml:id="br0">
      <inkml:brushProperty name="width" value="0.035" units="cm"/>
      <inkml:brushProperty name="height" value="0.035" units="cm"/>
    </inkml:brush>
  </inkml:definitions>
  <inkml:trace contextRef="#ctx0" brushRef="#br0">0 13 24575,'8'-4'0,"0"0"0,0 4 0,0 0 0,0 0 0,4 0 0,-4 0 0,11 0 0,-9 0 0,29-3 0,-10 2 0,31 1 0,-31 1 0,35 13 0,-48-8 0,52 23 0,-53-21-6784,56 41 6784,-54-37-2269,26 24 1,0 3 2268,-29-22-1517,34 31 0,0 0 1517,-32-27-1015,30 38 1,0 3 1014,-32-39 0,22 49 0,-1 2 0,-25-44 0,14 51 0,-1 2 0,-15-48 1014,8 52 1,0 18-1015,-7-21 0,0 0 0,0-14 0,1 3 0,-1-3 359,0 22 1,-1-10-360,2 8 2362,-10-38-2362,0-31 4560,0 16-4560,0-29 0,0-3 0,-3-3 1164,2-9 0,-3 6 0,4-2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3.750"/>
    </inkml:context>
    <inkml:brush xml:id="br0">
      <inkml:brushProperty name="width" value="0.035" units="cm"/>
      <inkml:brushProperty name="height" value="0.035" units="cm"/>
    </inkml:brush>
  </inkml:definitions>
  <inkml:trace contextRef="#ctx0" brushRef="#br0">1 1 24575,'3'8'0,"2"-4"0,-1 3 0,3-3 0,-6 4 0,6-3 0,-6 2 0,34 43 0,-27-31 0,22 30 0,0-1 0,-23-30 0,27 42 0,3 4 0,-19-23-3392,19 32 0,1 0 3392,-19-33-2269,16 37 1,-2 0 2268,-21-41-1012,9 22 1,6 17 0,-8-16 1011,-11-19-677,7 23 1,5 17 0,-6-17 676,-9-23 648,4 20 0,3 20 1,-1-9-649,-4-15 0,0-4 0,1 18 0,1-4 2992,1 15-2992,-6-24 4474,-3-38-4474,2 45 6691,-3-53-6691,0 4 282,-7-40-282,-2-11 0,0 1 0,2 1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4.290"/>
    </inkml:context>
    <inkml:brush xml:id="br0">
      <inkml:brushProperty name="width" value="0.035" units="cm"/>
      <inkml:brushProperty name="height" value="0.035" units="cm"/>
    </inkml:brush>
  </inkml:definitions>
  <inkml:trace contextRef="#ctx0" brushRef="#br0">0 1 24575,'0'8'0,"4"-4"0,-4 3 0,4-2 0,0 3 0,-4-1 0,4 1 0,-1 0 0,-2 0 0,3 0 0,-1-3 0,-2 2 0,3-3 0,-4 4 0,3 0 0,-2 0 0,3 0 0,-1 0 0,5 35-6033,-3-23 6033,6 24 0,-3 14 0,-3-39-2393,5 55 1,-2 5 2392,-5-43-1067,1 37 0,2 25 0,-2-20 1067,-3-19-714,1 29 1,2 24 0,0-22 713,3-24-113,-3 13 1,0-7 112,2-48 0,-1 31 0,0 3 0,-2-18 0,6 46 0,0-3 0,-8-57 684,6 25 0,0-2-684,-5-33 2706,5 16-2706,-7-33 4047,-3-7-4047,2 0 6052,-6 0-6052,2-10 0,1 7 0,-14-47 0,14 40 0,-13-43 0,16 53 0,-3-1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4.920"/>
    </inkml:context>
    <inkml:brush xml:id="br0">
      <inkml:brushProperty name="width" value="0.035" units="cm"/>
      <inkml:brushProperty name="height" value="0.035" units="cm"/>
    </inkml:brush>
  </inkml:definitions>
  <inkml:trace contextRef="#ctx0" brushRef="#br0">2 1 24575,'8'24'0,"-3"-4"0,-2-4-1107,1-5 1107,-3-3 0,9 29 0,-5-22-3916,11 54 0,1 7 3916,-7-41 0,7 40 0,-2-8 1780,-14-53-1780,13 83 0,-8-74 0,0 45 0,-1-1 375,0-43-375,-1 47 0,-1 0 6784,-2-45-6784,-3 49 0,0 2 0,0-47 0,-7 55 0,0 1 0,7-52 0,-6 51 0,1 0 0,7-55 0,-7 44 0,-1-2 0,6-44 0,-9 30 0,0-2 0,9-38 0,-13 54 0,14-59 0,-2 9 0,-1-23 0,3-7 0,-6 0 0,6 0 0,-13-39 0,12 22 0,-16-46 0,16 55 0,-5-9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5.521"/>
    </inkml:context>
    <inkml:brush xml:id="br0">
      <inkml:brushProperty name="width" value="0.035" units="cm"/>
      <inkml:brushProperty name="height" value="0.035" units="cm"/>
    </inkml:brush>
  </inkml:definitions>
  <inkml:trace contextRef="#ctx0" brushRef="#br0">0 0 24575,'5'8'0,"2"-3"0,-6 2 0,6-3 0,-6 4 0,6 0 0,-6 0 0,16 25-6784,-3 5 6784,3 1 0,8 26 0,14 21 0,-13-29 0,17 31 0,0-5-4537,-24-49 4537,8 20 0,-4-4 4537,-16-34-4537,22 70 0,-18-52 0,15 54 0,-3 2 0,-17-51 0,3 24 0,4 20 0,-4-19 0,-2-23 0,-2 21 0,1-6 0,-2-40 0,3 74 0,-2-59 0,1 35 0,-1-4 0,0-44 0,2 40 0,-6-56 6784,2 5-6784,-3-16 0,0 1 0,-3 4 0,-5-21 0,2 20 0,-1-17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6.125"/>
    </inkml:context>
    <inkml:brush xml:id="br0">
      <inkml:brushProperty name="width" value="0.035" units="cm"/>
      <inkml:brushProperty name="height" value="0.035" units="cm"/>
    </inkml:brush>
  </inkml:definitions>
  <inkml:trace contextRef="#ctx0" brushRef="#br0">0 0 24575,'8'0'0,"0"0"0,0 4 0,0-3 0,-3 6 0,16 8 0,4 20 0,23 22 0,-17-17 0,6 23 0,-3-1 0,-15-30 0,11 28 0,7 18 0,-8-16 0,-13-25 0,9 24 0,6 17 0,-10-18 0,-13-28 0,13 57 0,0 1 0,-18-54 0,7 56 0,-2 1 0,-7-55 0,2 58 0,1 0 0,-3-58 0,1 46 0,-1-4-6784,-1-52 6784,0 43-803,0-31 803,0-24 0,0 23 0,0-31 0,0 0 0,0 0 6387,0-7-6387,-3 1 1200,2-9-1200,-6-1 0,6-1 0,-3 1 0,4 5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6.739"/>
    </inkml:context>
    <inkml:brush xml:id="br0">
      <inkml:brushProperty name="width" value="0.035" units="cm"/>
      <inkml:brushProperty name="height" value="0.035" units="cm"/>
    </inkml:brush>
  </inkml:definitions>
  <inkml:trace contextRef="#ctx0" brushRef="#br0">1 1 24575,'3'8'0,"2"0"0,-1 0 0,3-4 0,-6 3 0,17 15 0,-11-10-2035,8 14 2035,-8-18-2892,19 44 1,1 10 2891,-10-24 0,19 38 0,-5-2 0,-27-51 0,9 33 0,7 20 0,-4-12-473,-8-2 473,7 18 0,7 31 0,0 2 0,-6-27 218,-1 3-218,-3-20 0,3 22 0,0 8 0,0-8 0,-4-24 0,0 9 0,-1-9 0,3 18 0,-2-1 0,-3-22 6145,-4-12-6145,8 31 0,-1-7 0,-9-53 0,5 26 0,-18-82 0,5 25 720,-6-34-720,2 19 0,4 12 0,-5-30 0,6 34 0,2-13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7.633"/>
    </inkml:context>
    <inkml:brush xml:id="br0">
      <inkml:brushProperty name="width" value="0.035" units="cm"/>
      <inkml:brushProperty name="height" value="0.035" units="cm"/>
    </inkml:brush>
  </inkml:definitions>
  <inkml:trace contextRef="#ctx0" brushRef="#br0">697 1 24575,'-4'3'0,"-3"-2"0,2 2 0,1 1 0,-3-3 0,2 6 0,-3-6 0,-25 27 0,19-18 0,-26 29 0,30-28 0,-23 43 0,14-13-6784,-23 40 6784,23-40-2756,1-1 2756,10-32-3624,-21 49 3624,15-37-1212,-17 35 1,0 0 1211,20-33 0,-20 35 0,1-1 0,20-38-399,-16 38 1,1 1 398,16-39 0,-12 36 0,3 2 0,13-36 0,-8 36 0,1 2 0,11-33 0,-5 43 0,1 0 0,4-39 711,-3 50-711,4-71 0,-10 53 0,7-40 0,-9 34 0,-1 0 0,10-35 2077,-19 62-2077,20-68 0,-8 30 0,9-34 0,-3 23 0,4-22 0,0 22 0,0-22 1888,-3 11-1888,2-14 0,-3 0 0,4-4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8.554"/>
    </inkml:context>
    <inkml:brush xml:id="br0">
      <inkml:brushProperty name="width" value="0.035" units="cm"/>
      <inkml:brushProperty name="height" value="0.035" units="cm"/>
    </inkml:brush>
  </inkml:definitions>
  <inkml:trace contextRef="#ctx0" brushRef="#br0">377 1 24575,'4'4'0,"-4"3"0,0-6 0,-4 6 0,0-3 0,0 4 0,0-3 0,4 2 0,-11 8 0,-2 13 0,-7 13 0,7-11-6784,-23 41 6784,26-52-2269,-16 41 1,-2 1 2268,14-33-1517,-16 51 0,2 3 1517,17-46-1015,-15 56 1,2 1 1014,19-55 0,-13 53 0,0 0 0,15-56 219,-12 55-219,15-75 0,-7 47 0,5-37 548,-1 29 1,-1-2-549,4-32 1808,0 55-1808,0-62 3029,0 16-3029,4-21 5076,-3 0-5076,2 0 2945,1-4-2945,-3 7 0,6-9 0,-6 8 2210,6-2-2210,-3 1 0,4 9 0,0-8 0,0 16 0,0-19 0,-4 14 0,0-19 0,-4 5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9.439"/>
    </inkml:context>
    <inkml:brush xml:id="br0">
      <inkml:brushProperty name="width" value="0.035" units="cm"/>
      <inkml:brushProperty name="height" value="0.035" units="cm"/>
    </inkml:brush>
  </inkml:definitions>
  <inkml:trace contextRef="#ctx0" brushRef="#br0">49 435 24575,'0'-8'0,"0"0"0,0 0 0,-3 0 0,2-3 0,-3 2 0,1 1 0,-2-24 0,1 21 0,-4-54 0,4 35-6784,-4-53 6784,4 51 0,0-37 0,4 56 0,0-16 0,4 24 0,-4 5 0,7 1 6784,5 24-6784,1-13 0,21 46 0,-15-35 0,29 39 0,-28-42 0,21 17 0,-27-27 0,1-3 0,-12-12 0,-3-10 0,0 6 0,0-7 0,-3 8 0,2 0 0,-3-3 0,4 2 0,0-3 0,-3-10 0,2 7 0,-3-33 0,4 30 0,7-26 0,-1 37 0,5-7 0,-7 18 0,3 0 0,-2 11 0,-1-5 0,10 26 0,-11-19 0,15 34-6784,-17-35 6784,6 14 0,-3-12 0,-3-14 0,6 5 0,-6-17 0,2 0 0,-3 0 0,7-14 0,2 7 6784,18-23-6784,-9 20 0,30-13 0,-31 22 0,37-2 0,-41 11 0,34 11 0,-34-9 0,19 26 0,-26-20 0,12 32 0,-16-28 0,8 25 0,-9-27 0,3 12 0,-4-13 0,0-5 0,0-5 0,0-7 0,14-10 0,-7 7 0,29-22 0,-24 22 0,35-19 0,-34 24 0,24-8 0,-28 13 0,6-3 0,-10 8 0,2 18 0,-6-10 0,2 31 0,-3-30 0,-3 26 0,2-27 0,-3 13 0,1-19 0,2 4 0,1-12 0,4 4 0,4-9 0,14 3 0,-10-1 0,41-5 0,-37 8 0,24-5 0,-7 7 0,-19 0 0,22 0 0,-27 7 0,-1-2 0,-5 21 0,-3-15 0,-3 22 0,-2-26 0,-3 14 0,0-16 0,-7 10 0,9-6 0,-9-1 0,11-1 0,-4-6 0,3-1 0,-2-1 0,6-6 0,-2 2 0,-1 1 0,3-3 0,-2 9 0,-1-4 0,3 5 0,-2-3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9.204"/>
    </inkml:context>
    <inkml:brush xml:id="br0">
      <inkml:brushProperty name="width" value="0.035" units="cm"/>
      <inkml:brushProperty name="height" value="0.035" units="cm"/>
    </inkml:brush>
  </inkml:definitions>
  <inkml:trace contextRef="#ctx0" brushRef="#br0">408 1 24575,'0'7'0,"0"1"0,0 0 0,-4-3 0,3 2 0,-2-3 0,3 4 0,-14 42 0,10-31 0,-21 56 0,22-57 0,-10 27 0,-2 7 0,3 0-3392,-8 22 0,-1 0 3392,9-20-2269,-15 37 1,1-1 2268,12-41-1012,-5 22 1,-6 19 0,4-18 1011,4-19-1015,-1 21 1,4-8 1014,10-48 0,-6 50 0,1 6 0,4-29 0,-5 30 0,-3 22 0,4-23 0,6-34 948,-6 52 0,2-4-948,6-59 2968,1 34-2968,1-56 4439,2-11-4439,-3-4 6637,0 0-6637,0 0 444,4-15-444,-3 8 0,6-19 0,-6 24 0,2-5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39.860"/>
    </inkml:context>
    <inkml:brush xml:id="br0">
      <inkml:brushProperty name="width" value="0.035" units="cm"/>
      <inkml:brushProperty name="height" value="0.035" units="cm"/>
    </inkml:brush>
  </inkml:definitions>
  <inkml:trace contextRef="#ctx0" brushRef="#br0">353 1 19140,'-3'4'0,"2"3"1639,-6-2-1639,6 2 1180,-6-2-1180,2 9 0,-3-11-5502,-36 71 5502,28-55-1717,-11 26 1,3-1 1716,14-31-2804,-23 73 2804,24-64-1015,-11 43 1,1 1 1014,14-41 0,-12 47 0,-1 2 0,13-45 0,-11 47 0,0 1 0,13-47 0,-8 47 0,0-1 0,10-47 0,-5 41 0,1-1 0,4-42 0,-1 40 0,1 1 0,1-44 0,0 47 0,0 0 0,0-46 1014,0 38 1,0 5-1015,0-14 0,0 26 2660,0-39-2660,0-26 4351,3-11-4351,1 0 6506,1-8-6506,2 0 0,-3-15 0,1 12 0,-2-7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0.529"/>
    </inkml:context>
    <inkml:brush xml:id="br0">
      <inkml:brushProperty name="width" value="0.035" units="cm"/>
      <inkml:brushProperty name="height" value="0.035" units="cm"/>
    </inkml:brush>
  </inkml:definitions>
  <inkml:trace contextRef="#ctx0" brushRef="#br0">402 1 24575,'-5'3'0,"-2"-2"0,6 6 0,-3-2 0,1-1 0,2 3 0,-3-3 0,4 4 0,-3-3 0,-5 27 0,3-22 0,-6 23 0,10-25 0,-3 0 0,1 0 0,2-1 0,-3 1 0,1 0 0,2 0 0,-6 4 0,6-3 0,-6 2 0,-12 36 0,8-23 0,-10 27 0,1 3 0,8-10 0,-8 24 0,0 2 0,8-20-3392,-4 38 0,-1-3 3392,7-43-2269,-5 53 1,0-2 2268,8-63-936,-4 52 0,1 2 936,5-44 0,-3 38 0,0 4 0,3-25 0,-5 31 0,-1 8 0,5-32 0,1-3 0,-3 4 0,0-4 0,1 26 0,7-33 0,0-36 1033,10 61-1033,-3-64 0,4 21 0,-4-32 0,-6 3 4122,6-6-4122,-6-1 1540,2-4 1,-3-1 0,0 2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1.556"/>
    </inkml:context>
    <inkml:brush xml:id="br0">
      <inkml:brushProperty name="width" value="0.035" units="cm"/>
      <inkml:brushProperty name="height" value="0.035" units="cm"/>
    </inkml:brush>
  </inkml:definitions>
  <inkml:trace contextRef="#ctx0" brushRef="#br0">1 0 24575,'3'8'0,"-2"0"0,3 0 0,-1 0 0,5 14 0,-3-10 0,20 45 0,-10-12 0,5 9 0,2 9 0,-3 6 0,-2 8-2262,0 11 1,0 11 0,-2-9 2261,-1-10 0,-1-3-2269,-1 29 1,-2-18 2268,-5-55-1517,5 48 0,-1 8 1517,1-18-508,-1 8 1,3 26 0,0 0 0,-3-26 507,-3-6 0,1-3 0,4 21 0,-1-4 0,-3-25 0,-5-26 424,6 40 1,-1-5-425,-7-53 2450,8 25-2450,-4-40 0,0-6 0,0 2 0,-4-3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9:28.995"/>
    </inkml:context>
    <inkml:brush xml:id="br0">
      <inkml:brushProperty name="width" value="0.035" units="cm"/>
      <inkml:brushProperty name="height" value="0.035" units="cm"/>
    </inkml:brush>
  </inkml:definitions>
  <inkml:trace contextRef="#ctx0" brushRef="#br0">0 1 24575,'0'0'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9:33.522"/>
    </inkml:context>
    <inkml:brush xml:id="br0">
      <inkml:brushProperty name="width" value="0.035" units="cm"/>
      <inkml:brushProperty name="height" value="0.035" units="cm"/>
    </inkml:brush>
  </inkml:definitions>
  <inkml:trace contextRef="#ctx0" brushRef="#br0">720 391 24575,'0'9'0,"0"-3"0,-3 0 0,0 2 0,-3-2 0,-5 11 0,4-9 0,-17 20 0,9-15 0,-23 35 0,22-33 0,-16 26 0,27-35 0,-8 10 0,12-15 0,-2-2 0,3-4 0,5-22 0,2 5 0,2-10-6784,23-19 6784,-21 34-2321,39-46 2321,-39 51 0,34-31 0,-37 34 0,20-10 0,-26 19 0,6 0 0,-13 24 0,3-13 5634,-3 12-5634,-18 20 0,14-29-1657,-17 31 1,-1-1 1656,15-26-4537,-39 65 4537,41-72 0,-30 46 0,22-46 0,-5 14 0,12-23 4537,8-5-4537,3-3 0,3-23 0,0 20 0,13-57 0,-7 49 0,28-66 0,-26 62 0,12-24-3113,3 15 3113,-20 18-1044,25-22 1044,-26 29 0,3-5-62,-3 9 62,-1-4 4694,2 2-4694,-1-3 0,6 0 0,-4 0 4168,5 3-4168,1-3 2008,-5 6-2008,5-3 133,-9 6-133,-2 5 0,-2-1-6784,-13 30 6784,7-24 0,-7 18 0,-19 9 0,-4 5 0,-2 0 0,-13 9 0,41-49 0,-25 27 0,27-30 0,-11 11 0,15-15 6784,-1 1-6784,5-4 0,0-1 0,0-3 0,20-37 0,-15 28-3392,23-35 0,1-2 3392,-17 31-615,28-47 615,-29 54 0,-4 4 0,4-2 0,-5 7 0,-1-1-211,1 3 211,0-5 0,8-6 0,-7 6 0,30-37 0,-20 26 6374,14-17-6374,-5 5 0,-16 25 905,14-17-905,-20 28 331,1-2-331,-15 30 0,7-19 0,-15 26 0,16-29 0,-9 6 0,8-9 0,0 1 0,-3 0 0,3 0 0,-3 0 0,-5 10 0,4-8 0,-35 47 0,17-24 0,-10 11 0,-1-1 0,9-9-921,-11 8 921,25-26 0,-21 11 0,17-9 0,-26 8 0,35-21 0,-6-3 0,11-3 0,1-6 0,-2-5 0,1-36 0,-2 26 0,7-68 0,-4 75-5863,12-81 5863,-8 81-3981,24-64 3981,-19 67-1393,28-36 1393,-26 41 0,12-10 0,-17 18 4121,1 2-4121,-5 4 0,-8 22 0,6-16-711,-34 54 711,28-49 0,-23 31-560,-6 1 560,20-26-1851,-19 18 1,0-1 1850,19-23 0,-49 39 0,35-40 0,-8 8 0,12-18 0,20-5 0,-6-21 0,8 13 3701,-3-13-3701,8-19 0,0 26 0,8-66 0,-6 65 2524,14-67-2524,1 33 0,-5-2 0,19-7 0,-27 47 6784,22-21-6784,-21 27 0,6-3 0,-9 11 0,1 8 0,-2-3 0,4 36 0,-5-29-6784,0 65 6784,-3-63-4537,-11 69 4537,9-71 0,-5 33 0,-3-13 0,-1-2 0,-2 6 0,-2-10 0,16-27 4537,-6 3-4537,8-11 6784,5-5-6784,-3 4 0,5-7 0,-3 5 0,-1 0 0,2 0 0,-4 3 0,4 0 0,-5 0 0,6 0 0,-6 1 0,5-1 0,1-5 0,-2 3-6784,27-37 6784,-22 31-4537,41-47 4537,-41 50 0,27-21 0,-30 27 0,7 0 0,-7 8 0,-6 11 0,3-6 0,-11 49 0,6-40 0,-10 35 0,-2 1 0,7-34 0,-18 54 4537,21-61-4537,-32 80 0,25-63 0,-17 36 0,-2-2-974,18-39 974,-20 36 3300,26-50-3300,0 4 0,1-8 0,4 3 0,-4-4 0,4 1 0,-4 0 0,-4 8 0,5-6 1227,-7 5-1227,6-2 3231,1-4-3231,-2-1 0,6-7 0,0-4 0,3-1 0,-2 0 0,4 0 0,-5 0 0,6 0 0,-6 0 0,5 0 0,-4 0-6784,30-44 6784,-21 36-2269,19-30 1,2 1 2268,-18 34-2687,50-59 2687,-50 60 0,21-23 0,-28 28 0,0 0 3206,0 0-3206,-3 0 4793,2 3-4793,-2-3 6009,3 6-6009,-3 0 0,3 0 0,-6 5 0,3-4 0,-1 22 0,-1-15 0,2 54 0,-6-49 0,-8 76 0,3-73 0,-19 70 0,18-70-1394,-7 25 1394,13-38-42,-7 15 42,7-11 0,-13 12 0,15-22 0,-4 0 0,5-6 0,13-34 0,-7 25-5378,31-64 5378,-26 64-4507,46-65 4507,-41 66-1236,58-44 1236,-56 50 0,37-16 0,-46 24 3924,12 8-3924,-17-3 0,-7 37 0,2-29 5868,-10 21-5868,-13 13 2765,13-30-2765,-17 28 0,0 1 0,15-29 0,-19 24 0,1-1 0,18-27 0,-51 48 0,48-50 0,-35 24 0,39-28 0,-7-1 0,16-7 0,3-5 0,3-3 0,-2 3 0,1-3 0,1 6 0,-3-2 0,3 2 0,0-3 0,0-5 0,3 3 0,-3-3 0,18-23 0,-6 8-6784,47-52 6784,-39 52-2269,26-13 1,1 5 2268,-28 24-409,26-12 1,-1 1 408,-30 13 0,25-3 0,-36 9 4132,0 9-4132,-3-2 0,-19 29 0,9-25 0,-35 51 0,30-49 0,-15 26-3315,-12 10 3315,27-31-1517,-27 28 0,-1-2 1517,25-26-944,-25 22 1,0 0 943,26-25 855,-47 35-855,50-43 2522,-16 3-2522,24-12 3772,0-4-3772,9-19 0,-3 16-381,14-55 381,-10 50-1847,25-68 1847,-21 68 0,10-29 0,2 10 0,-12 20 0,11-21 0,-7 15 0,-10 14 0,6-11 4537,-8 22-4537,-3-2 6784,0 6-6784,-13 27 0,7-20-6784,-34 61 6784,28-54-2269,-21 31 1,-2 1 2268,19-28-1517,-27 38 0,-1-2 1517,28-39-1575,-37 50 1575,45-65 2087,-3 6-2087,5-8 3288,3 0-3288,-2-1 4916,2 1-4916,-3 0 5137,3 0-5137,-3 0 0,0 2 0,0-1 502,-10 11-502,10-14 0,-4 5 0,10-15 0,15-31 0,-8 23 0,9-26 0,-6 26 0,-5 1 0,3-1 0,-2 5 0,-3 1 0,3 1 0,-3-1 0,2-1 0,3-5 0,0 1-6784,41-69 6784,-33 56-2269,24-36 1,1 4 2268,-26 43 0,40-53 0,-46 63 0,7-11 0,-13 20 0,-6 14 0,3-8 0,-24 47 0,19-41 0,-40 67 0,39-67 0,-20 29 4168,20-34-4168,0-2 0,0 3 0,1-4 0,4-2 0,-4-3 0,4 3 0,-4-3 6602,-1 8-6602,2-4 0,-4 4 551,0 3-551,1-7 0,-5 10 0,7-14 0,1 0 0,4-6 0,1-3 0,2 0 0,9-21 0,-8 16 0,24-42 0,-24 41-1848,17-23 1848,-20 28 0,7-1 0,-5 2 0,0 0 0,3 3 0,-6 0 0,3 3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1:16.629"/>
    </inkml:context>
    <inkml:brush xml:id="br0">
      <inkml:brushProperty name="width" value="0.035" units="cm"/>
      <inkml:brushProperty name="height" value="0.035" units="cm"/>
    </inkml:brush>
  </inkml:definitions>
  <inkml:trace contextRef="#ctx0" brushRef="#br0">1 1 24575,'0'4'0,"0"1"0,0-1 0,0 1 0,0-1 0,0 11 0,0-8 0,0 9 0,0-11 0,0 8 0,0-7 0,0 4 0,0-5 0,0-1 0,0 1 0,0-1 0,0 1 0,0-1 0,2-1 0,-2 1 0,2-2 0,-2 3 0,0-1 0,2-1 0,-1 1 0,3-4 0,2 4 0,0-3 0,15 3 0,-14-4 0,14 4 0,-16-3 0,18 3 0,-15-4 0,22 4 0,-22-3 0,18 1 0,-19-2 0,14 0 0,-15 0 0,4 0 0,-5 0 0,-1 0 0,1 0 0,-1 0 0,1 0 0,-1 0 0,1 0 0,1 0 0,-1 0 0,2 0 0,-5-2 0,2 1 0,-1-3 0,1 4 0,1-2 0,-3 0 0,2 1 0,-3-3 0,1 2 0,0-3 0,-2 1 0,2-1 0,-2 1 0,0-1 0,0 0 0,0 1 0,0-1 0,0 1 0,0-1 0,0 1 0,0-1 0,0 1 0,0-1 0,0 0 0,0 1 0,0-1 0,0 1 0,0-1 0,0 1 0,0-1 0,0 1 0,0-1 0,0 1 0,0-1 0,0 0 0,0 1 0,0 1 0,0 1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1:21.704"/>
    </inkml:context>
    <inkml:brush xml:id="br0">
      <inkml:brushProperty name="width" value="0.035" units="cm"/>
      <inkml:brushProperty name="height" value="0.035" units="cm"/>
    </inkml:brush>
  </inkml:definitions>
  <inkml:trace contextRef="#ctx0" brushRef="#br0">1 0 24575,'4'0'0,"1"2"0,-1-1 0,3 1 0,-2-2 0,1 0 0,-1 0 0,-1 0 0,1 0 0,-1 0 0,1 0 0,-1 0 0,1 0 0,-1 0 0,1 2 0,-1-2 0,1 2 0,-1-2 0,1 0 0,-1 0 0,1 0 0,1 0 0,-3 0 0,1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1:32.014"/>
    </inkml:context>
    <inkml:brush xml:id="br0">
      <inkml:brushProperty name="width" value="0.035" units="cm"/>
      <inkml:brushProperty name="height" value="0.035" units="cm"/>
    </inkml:brush>
  </inkml:definitions>
  <inkml:trace contextRef="#ctx0" brushRef="#br0">269 74 24575,'-4'0'0,"-1"0"0,-2-2 0,2 1 0,-1-3 0,1 3 0,-1-3 0,3 2 0,-11-5 0,9 4 0,-16-5 0,15 7 0,-9-5 0,12 4 0,-3-1 0,3 1 0,1 0 0,-2 2 0,1-3 0,-1 3 0,-1 0 0,3-2 0,-2 2 0,1-2 0,-3 2 0,3-2 0,-6 1 0,6-1 0,-3 2 0,3-2 0,-1 2 0,2-2 0,-3 2 0,3-2 0,-2 1 0,1-1 0,-1 2 0,-1 0 0,0 0 0,1 0 0,-1-2 0,1 2 0,-1-2 0,1 2 0,-1 0 0,3 2 0,-2-2 0,3 4 0,-3-3 0,4 3 0,-3-2 0,1 1 0,2 1 0,-4-4 0,3 4 0,-3-3 0,4 3 0,-4-4 0,3 4 0,-3-3 0,4 1 0,-2-2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1:56.178"/>
    </inkml:context>
    <inkml:brush xml:id="br0">
      <inkml:brushProperty name="width" value="0.035" units="cm"/>
      <inkml:brushProperty name="height" value="0.035" units="cm"/>
    </inkml:brush>
  </inkml:definitions>
  <inkml:trace contextRef="#ctx0" brushRef="#br0">1 11 24575,'0'7'0,"2"-4"0,-2 3 0,2-4 0,-2 3 0,0-1 0,0 3 0,0-2 0,2-1 0,-1 0 0,1-1 0,-2 1 0,0 1 0,0-1 0,0 1 0,0-1 0,0 1 0,0-1 0,0 1 0,0-1 0,0 1 0,-2-1 0,1 1 0,-1-1 0,2 1 0,0-1 0,-2-1 0,2 1 0,-2-2 0,2 3 0,2-2 0,0-1 0,3-2 0,-1 0 0,1 0 0,3 0 0,-2 0 0,2 0 0,7 0 0,-8 0 0,15 0 0,-15 0 0,9 0 0,-10 0 0,2 0 0,-3 0 0,-1 0 0,1 0 0,-1 0 0,-1-3 0,1 3 0,-2-2 0,3 2 0,-1 0 0,1 0 0,-1 0 0,5 0 0,-4 0 0,12 0 0,-11 0 0,13 0 0,-13 0 0,10 0 0,-10 0 0,5 0 0,-7 0 0,-1-2 0,-1-1 0,-2-1 0,0-1 0,-2 3 0,1-2 0,-1 1 0,2-1 0,0-1 0,0 1 0,-2-1 0,2 0 0,-2 1 0,2-1 0,0 1 0,0-1 0,0 1 0,0-1 0,0 1 0,0-1 0,0 1 0,0-1 0,0 0 0,0 1 0,2-1 0,-2 1 0,2-1 0,-2 1 0,0-1 0,0 1 0,2 1 0,-1-1 0,1 1 0,-2 1 0,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7:22.626"/>
    </inkml:context>
    <inkml:brush xml:id="br0">
      <inkml:brushProperty name="width" value="0.035" units="cm"/>
      <inkml:brushProperty name="height" value="0.035" units="cm"/>
    </inkml:brush>
  </inkml:definitions>
  <inkml:trace contextRef="#ctx0" brushRef="#br0">367 825 24575,'8'0'0,"-1"0"0,1 0 0,0 0 0,0 0 0,0 0 0,7 0 0,-5 0 0,23 0 0,-14 0 0,40 0 0,-32 0 0,41 0 0,-49 0 0,52 0 0,-54 0 0,54 0 0,-56 0 0,50 0 0,-50 0 0,53 4 0,-52-3 0,48 2 0,-50-3 0,33 0 0,-36 0 0,22-3 0,-22 2 0,11-3 0,-14 4 0,4 0 0,-4 0 0,0 0 0,0 0 0,-4-3 0,3 2 0,-2-3 0,2 4 0,1 0 0,0 0 0,0 0 0,0 0 0,0 0 0,0 0 0,0 0 0,7 0 0,-5 0 0,8 0 0,-9 0 0,6-3 0,-6 2 0,9-3 0,-8 4 0,16 0 0,-16 0 0,16 0 0,-16 0 0,12-3 0,-13 2 0,13-3 0,-12 4 0,9 0 0,-11 0 0,0-3 0,-4-2 0,-4-3 0,0 0 0,0 0 0,0 0 0,0-3 0,0 2 0,0-3 0,0 4 0,0 0 0,0 0 0,0 0 0,0 0 0,0-4 0,0 4 0,0-8 0,0 8 0,0-8 0,0 7 0,0-6 0,0 6 0,0-6 0,0 6 0,0-6 0,-4 10 0,3-9 0,-2 8 0,3-5 0,-4 3 0,3 0 0,-2 0 0,-1 0 0,3 0 0,-2 0 0,3 0 0,0 0 0,-4 3 0,3-2 0,-6 3 0,6-4 0,-6 3 0,6-2 0,-6 6 0,3-10 0,-4 6 0,0-6 0,0 3 0,0 0 0,0 3 0,0-6 0,0 10 0,-4-10 0,7 6 0,-9-3 0,8 4 0,-9-3 0,6 6 0,-10-10 0,10 10 0,-6-10 0,6 10 0,-2-6 0,6 2 0,-6 1 0,6-3 0,-3 6 0,0-6 0,0 6 0,4-6 0,-7 6 0,9-6 0,-12 2 0,9 1 0,-10-3 0,9 2 0,-4 1 0,5 0 0,-3 4 0,4-3 0,-10-2 0,7 1 0,-11 0 0,12 1 0,-12 2 0,16-6 0,-16 6 0,13-3 0,-7 1 0,4 2 0,4-6 0,-4 6 0,4-3 0,-4 4 0,0 0 0,0 0 0,0 0 0,0 0 0,0 0 0,-4-3 0,3 2 0,-9-3 0,8 4 0,-9 0 0,10 0 0,-9-3 0,8 2 0,-5-3 0,7 4 0,0 0 0,0 0 0,-4 0 0,3 0 0,-2 0 0,3 0 0,0 0 0,0 0 0,-8 0 0,7 0 0,-14 0 0,14 0 0,-7 0 0,8 0 0,0 0 0,0 0 0,-10 0 0,7 0 0,-11 0 0,13 0 0,-10 4 0,9-3 0,-12 6 0,12-7 0,-8 8 0,9-8 0,-6 11 0,6-9 0,1 8 0,1-9 0,6 6 0,-10-2 0,6-1 0,-18 14 0,16-11 0,-18 18 0,19-15 0,-13 12 0,10-16 0,-6 15 0,6-14 0,-6 11 0,10-9 0,-9 9 0,8-11 0,-9 14 0,10-15 0,-9 13 0,12-11 0,-12 7 0,12-6 0,-12 6 0,8-10 0,-5 10 0,6-10 0,-2 6 0,6-3 0,-6 0 0,6 0 0,-6 0 0,6 0 0,-6 0 0,6 0 0,-2 0 0,-1-4 0,3 3 0,-2-2 0,-1 6 0,3-2 0,-6 6 0,6-6 0,-6 9 0,6-8 0,-6 9 0,6-11 0,-6 7 0,6-6 0,-2 6 0,-1-6 0,3 6 0,-2-6 0,3 2 0,-4-6 0,3 2 0,1-6 0,4 2 0,4-3 0,0 0 0,0 0 0,14 0 0,-10 0 0,10 0 0,-14 0 0,0 0 0,0 0 0,0 0 0,-1 0 0,1 0 0,0 0 0,0 0 0,0 0 0,0 0 0,0 0 0,0 0 0,0 0 0,0 0 0,0 0 0,0 0 0,0 0 0,3 0 0,-2 0 0,2 0 0,-3 0 0,-7 0 0,-5 0 0,-5 0 0,-3 0 0,1 0 0,2-3 0,-3 2 0,4-6 0,0 6 0,-7-6 0,9 2 0,-8 1 0,9 0 0,-3 1 0,4-2 0,0-3 0,4 0 0,0 0 0,0-7 0,0 5 0,4-23 0,-3 21 0,20-43 0,-17 40 0,42-53 0,-35 55-6784,53-47 6784,-52 50-1417,59-27 1417,-59 31 0,35-5 0,-37 11 0,5 0 0,-11 4 0,7 14 0,-10-6 6083,6 35-6083,-7-33 2118,-7 43-2118,2-39 0,-17 26 0,11-30 0,-25 8 0,23-17 0,-34 2 0,12-10 0,0 2 0,10-6 0,14 2 0,6-3 0,-7-7 0,8 5 0,4-30 0,25 5 0,45-18 0,-16 20-6560,13 15 6560,-49 14 0,-10 4-211,4 0 211,-4 0 0,4 0 0,-4 0 0,3 0 0,-2 0 0,2 0 0,12 0 0,-12 0 6460,22 0-6460,-23 3 311,19 12-311,-22-4 0,11 29 0,-17-27 0,2 16 0,-24 11 0,-20 4 0,7-1 0,-31 3 0,47-39-2448,-15 8 2448,21-11 0,-35-1 0,29-2 0,-61-5 0,66-1 0,-26-3 0,35 1 0,-4 2 0,0-3 0,3 0 0,-5-3 0,8 2 0,-5-3 0,7-10 2448,0 7-2448,21-26 0,-9 25 0,50-21 0,-35 27 0,71-9 0,-63 15-3988,32 0 3988,-52 4-5463,82 11 5463,-68-5-1827,51 10 1,-1 4 1826,-54-7-946,30 10 1,-3 1 945,-36-12 487,23 10-487,-34-15 2958,-2-2-2958,1-1 4423,-3 3-4423,6-2 4601,-6 3-4601,2 0 2526,-7 3-2526,4-2 0,-8-1 0,-10 9 0,-1-13 0,-41 14 0,22-18 0,-55 0 0,45-4 0,-3-5 0,1-1 0,10 0 0,-48-27 0,57 21 0,-29-32 0,38 27 0,-1-34 0,29 16 0,-3 4-6784,69 0 6784,-51 32 0,43-8 0,-55 11 0,38 4 0,-30-3-2269,38 6 1,3 3 2268,-32-3-1517,35 11 0,-1 1 1517,-42-11 2727,47 35-2727,-57-34 0,13 13 0,-20-15 0,2 8 0,-3-5 0,-7 16 0,5-16 0,-30 8 0,22-13 0,-65 2 0,55-7 2327,-34 0-2327,42 0 0,-50-14 0,34 11 0,-38-15 388,53 17-388,-44-20 0,37 16 0,-66-34 0,70 34 0,-35-42 0,44 38 0,-7-46 0,17 41 0,23-30 0,-13 37 0,58-11 0,-52 17-1204,32 0 0,1-1 1204,-31 2 0,41 9 0,0 3 0,-38-7-981,34 18 0,-2 0 981,-37-17-58,49 40 58,-56-37 3536,13 24-3536,-20-24 5288,-2 6-5288,-3-7 4353,-17-3-4353,9-2 0,-50-6 0,41 2-3310,-35-7 0,0-2 3310,28 3-1484,-30-8 1,1 1 1483,35 6-463,-58-24 463,65 24 0,-28-21 0,37 19 5086,-5-16-5086,10 19 0,33-14 0,-20 19-2247,84-2 2247,-77 5-1973,46 8 0,0 0 1973,-43-5-1517,45 12 0,0 3 1517,-47-10-1015,31 10 1,-4 1 1014,-37-8 1552,42 20-1552,-52-21 2797,14 18-2797,-18-18 0,-14 14 0,7-19 4184,-30 12-4184,25-16 0,-39 5 0,37-7 0,-51-11 0,49 5 0,-49-20 0,50 15 0,-42-32 0,46 29 0,-35-44 0,41 43 6255,-13-17-6255,18 23 1596,0-9-1596,4 7 0,0-4 0,1 8 0,2 6 0,1-6 0,1 6 0,16-3 0,-10 4 0,36 7 0,-32-5-6784,52 26 6784,-54-19-848,51 34 848,-50-30-4256,40 41 4256,-44-39-2094,21 35 2094,-33-39 3219,1 15-3219,-7-21 0,-18 2 0,10-7 642,-14 0-642,14 0 0,-1 0 0,2-3 0,3 2 0,-15-10 0,12 6 5131,-11-3-5131,-29-21 0,32 19 4990,-31-15-4990,-8-11 0,37 28 0,-58-38 0,66 42 0,-17-14 0,29 14 0,-1-4 0,33 3 0,-20 2 0,29 3 0,-31 0 0,6 0 0,-7 0 0,0 0 0,0 3 0,0-2 0,0 3 0,3-4 0,-2 3 0,59 16 0,-46-8-6784,64 22 6784,-73-26 0,13 11-2846,-2 4 2846,-15-13-626,27 36 626,-29-35 0,7 30 0,-24-26 0,4 5 0,-35-11 0,27-4 0,-26-4 0,30 0 5065,-5 0-5065,7 0 4010,0 0-4010,-7-4 1181,5 3-1181,-33-17 0,28 15 0,-43-29 0,48 24 0,-29-29 0,35 26 0,-10-11 0,17 17 0,26-2 0,-14 6-6784,70-3 6784,-64 4-2269,37 7 1,2 1 2268,-35-5 0,40 11 0,-18 4 0,-30-10 0,40 24 0,-45-10 0,6-1 4537,-25 8-4537,1-22 0,-20 18 0,15-23 0,-29 12 0,27-13 0,-45 3 0,43-4 0,-57-14 0,55 10 0,-52-28 0,59 24 6784,-37-25-6784,43 22 0,-17-15 0,20 17 0,8-6 0,-1 10 0,30 2 0,-23 3 0,41 0 0,-40 0 0,36 10 0,-37-7 0,23 21 0,-26-20 0,20 31 0,-23-26 0,10 27 0,-16-25 0,3 7 0,-4-10 0,-7-3 0,1-2 0,-41-10 0,30 5 0,-27-5 0,-17-14 0,36 12-3392,-34-15 0,-1 1 3392,34 13-2269,-26-11 1,4-1 2268,34 14 0,-39-21 0,46 19 0,-8-5 0,18 7 4537,2 3-4537,7 2 6784,-4 3-6784,0 0 0,0 0 0,0 0 0,0 0 0,-1 0-6784,47 3 6784,-34-2-3938,65 10 3938,-72-6-3232,50 14 3232,-52-10 0,21 3-366,-27-5 366,2-6 3051,-6 6-3051,6-6 3718,-6 6-3718,6-6 6404,-6 6-6404,2 1 1147,-3 0-1147,-11 11 0,5-13 0,-9 8 0,7-13 0,0 3 0,0-4 0,0 3 0,0-2 0,0 3 0,0-4 0,0 0 0,0 0 0,-61 3 0,46-2-3392,-39-2 0,-1-2 3392,37-2-2269,-35-6 1,-1 0 2268,37 4-1517,-34-9 0,3 0 1517,35 8-736,-54-22 736,66 20 2670,-16-5-2670,20 11 0,1-3 3991,0 2-3991,4-3 5969,0 0-5969,0 0 2461,4 4-2461,0-3 0,4 2 0,4 1 0,-7-3 0,37 2 0,-29 1-3392,38 1 0,4 2 3392,-30 1-2269,36 5 1,-1 1 2268,-41-4-864,60 20 864,-69-16-28,33 19 28,-40-14 4095,11 7-4095,-14-10 6124,0 0-6124,0 4 1925,-3-3-1925,2 2 0,-24 4 0,16-9-6715,-45 8 6715,39-13-1827,-61 3 1827,58-4-1966,-33-6 0,-2-3 1966,31 2 0,-43-8 0,46 5 0,-52-14 3932,37 12-3932,-30-13 0,3 0 0,39 14 0,-65-36 0,74 36 1827,-13-15-1827,23 17 6784,10-6-6784,-2 6 0,35-10 0,-25 13 0,53-8 0,-53 13 0,25-3 0,21 4 0,13 11 0,0-5 0,19 20 0,-77-16 0,48 26 0,-50-23 0,19 23 0,-29-26 0,0 9 0,-4-11 0,0 0 0,0 0 0,-7 0 0,1-4 0,-27 0 0,20-4 0,-16 0 0,-4 0 0,18 0 0,-32 0 0,39-4 0,-17 0 0,20-12 0,-3 7 0,8-17 0,4 15 0,29-18 0,-19 22 0,65-18 0,-60 22-6784,77-11 6784,-77 13-1656,59-3 1656,-63 4-565,39 7 565,-42-5 0,21 16 0,-27-12 5685,8 16-5685,-13-12 2360,-5 8-2360,-1-13 0,-21 6 0,15-10 960,-15 2-960,17-3 0,-3 0 0,4 0 0,0 0 0,-3 0 0,2 0 0,-49-10 0,38 4 0,-59-20 0,68 15 0,-21-4 0,10-10 0,10 16 0,-14-20 0,18 20 0,3-3 0,-2 4 0,6 0 0,-2 0 0,3-11 0,3 12 0,19-14 0,-9 16 0,58-3 0,-51 4-3826,47 4 3826,-55 0 0,10 0 0,-14 0 0,0 0 0,0 0 0,0 0 0,0 0 0,0 0 0,14 0 0,-11 0 3826,11 0-3826,18 4 0,-17 0 0,18 0 0,6 18 0,-13 0 0,6 3 0,-15 8 0,-24-23 0,2 9 0,-3-11 0,0 0 0,0 0 0,-3-4 0,-9 3 0,2-6 0,-48 3 0,40-4-3392,-32-7 0,-1-1 3392,31 5 0,-49-19 0,58 21 0,-53-24 0,44 17 0,-70-25 0,73 22 0,-44-11 0,52 13 0,-13-3 0,26 8 0,-3-3 6784,9 6-6784,-4-3 0,37-3 0,-27 5 0,69-5 0,-65 7-3349,44 0 3349,-53 0 0,11 0 0,-13 0-58,2 0 58,-3 0 0,0 0 0,0 0 0,0 4 0,3-3 0,2 2 0,52 8 0,-40-9-2828,32 14 0,-1 0 2828,-34-11-1324,56 27 1324,-66-26 34,14 9-34,-18-10 0,-4 2 0,0-3 0,-4 4 5016,-4-3-5016,0 2 5337,-4-6-5337,-18 2 0,14-3 0,-46 0 0,42 0 0,-71-11 0,68 9 0,-36-9 0,-17-10 0,45 15 0,-43-18 0,-1-2 0,43 19 0,-30-14 0,5 0 0,39 13 0,-32-10 0,48 10 0,-5 0 0,43 3 0,-21 2 0,43 3 0,-24 0 0,-4 0 0,10 0 0,-33 0 0,57 3 0,-42 2 0,30-1 0,-9 7 0,-21-6-6784,66 28 6784,-61-20 0,14 10 0,-1 4 0,-14 4 0,10 2 0,-23 0 0,-17-23 0,-7 8 6784,2-12-6784,-28 8 0,19-12 0,-58 8 0,46-9-3392,-26-1 0,-1 0 3392,21-1-2269,-32-7 1,1-2 2268,36 7 0,-45-15 0,32 6 0,13-5 0,-12 0 4537,24-1-4537,15 9 6784,18-6-6784,-10 9 0,49-4 0,-40 9-3392,35-3 0,3 1 3392,-28 2-2269,36 4 1,-1 1 2268,-37-2 0,36 9 0,-11 10 0,-31-16 0,59 45 0,-63-43 4537,32 49-4537,-40-24 0,7 6 0,-28-2 0,10-26 6784,-17 1-6784,12-7 0,-3-4 0,0 0 0,4 0 0,0 0 0,0 0-6784,-71-7 6784,53 5-2269,-43-10 1,2-1 2268,45 9-1517,-41-16 0,0 0 1517,40 15-511,-45-16 511,56 17 2481,-22-4-2481,16 3 4010,-25-9-4010,39 12 5996,-6-5-5996,18 7 1649,0 0-1649,0 0 730,0 0-730,0 0 0,0 0 0,0 3 0,0-2 0,0 3 0,7-1 0,-5-2 0,47 13 0,-39-11 0,43 11 0,3 4 0,-32-6 0,53 20 0,-71-24 0,26 16 0,-34-7 0,1 1 0,-33 7 0,16-15 0,-18 1 0,20-7 0,-1-4 0,-38 3 0,26-2-3392,-45 0 0,-4-2 3392,31-3-1,-19-2 1,-20-1-1,7-2 1,8-8 0,3 1 0,-8 4 0,0 0 0,-8-13 0,16 3 0,41 17 0,-46-34 6783,57 31-6783,-10-22 3,22 21-3,0-7 0,4 12 0,-3-3 0,2 6 0,4-6 0,-1 6 0,1-6 0,39 2 0,-21 1 0,57 0 0,-35 8-3392,8 0 0,1 0 3392,-13 1 0,42 6 0,-79-10 0,69 20 0,-56-17 0,37 15 0,-2 1 0,-39-11 0,53 34 0,-64-31 0,17 25 0,-24-27 6784,-12 23-6784,4-22 0,-33 15 0,27-21 0,-63 6 0,53-10-3392,-30 0 0,1 1 3392,28-2-1062,-29-2 0,2 0 1062,31 2 0,-59-8 0,68 4-269,-42-8 269,43 7 0,-34-13 0,36 12 0,-13-9 0,20 7 5598,-2-7-5598,3 5 3103,14-16-3103,-7 15 0,43-14 0,-34 18-3154,33-2 0,1 1 3154,-27 6-917,40-1 1,2 2 916,-31 6 0,27 3 0,1 2 0,-26 1-696,50 21 696,-68-20 0,14 24 0,-27-25 5532,-23 26-5532,5-26 0,-56 18 0,36-19 0,-26-3 0,-3-3 0,19 0 0,-39-6 0,-1-3 0,31-1 0,-37-6 0,0-1 0,37 1-1904,-25-8 1,4 0 1903,40 7-3733,-47-19 3733,70 25 0,-5-7 0,11 10 0,4-4 0,4 3 4537,-4-2-4537,29-1 6784,-13-1-6784,54-2 0,-31 6 0,11-2 0,25 6 0,-43-2 0,50 8 0,16 7 0,-31 1 0,0 1-3392,16-1 0,-3 1 3392,-29-1 0,-3 2-2269,3 3 1,-6 0 2268,-16-7 0,30 17 0,0 4 0,-31-7 0,17 11 0,-38-14 4537,-11-18-4537,-1 3 6784,-2-6-6784,-19 6 0,13-6-6784,-73 10 6784,63-9-2269,-42 2 1,-2-1 2268,42-3-2392,-58 0 2392,70 0 0,-49 0 0,39 0 0,-38 0 0,51 0 0,-48-11 0,39 8 0,-56-18 0,64 15 0,-35-13 0,41 10 3353,-16-2-3353,20 3 0,18 3 0,-8 2 0,17-1 0,-18 3 0,35-2 0,-23 3 2566,28 0-2566,-32 0 0,63-4 0,-47 3-602,25-1 0,-2 0 602,-31 2-1902,32 0 1,1 0 1901,-26 0-1272,50 0 0,-1 0 1272,-47 0-177,34 2 1,-3 0 176,-46-1 2369,28 2-2369,-38-3 3542,0 0-3542,-3 4 5297,-2 0-5297,-6 1 4490,2 2-4490,-10-6 0,6 6 0,-7-6 0,-21 9 0,19-8-6784,-76 12 6784,68-12-2269,-45 2 1,-2-1 2268,40-3-1517,-47 0 0,1 0 1517,45 0 0,-30-2 0,-2-3 0,29-8 0,-21 0 3034,35-2-3034,16 7 0,-1 3 4537,3-2-4537,-2 3 6784,3-4-6784,3 0 0,-2 0 0,6 0 0,15-7 0,-9 5 0,51-12 0,-39 12 0,31-2 0,3 2 0,-16 3 0,37 1 0,9 2 0,5 7 0,-20 0 0,-3 2 0,-2 4 0,-33 2 0,-29-6 0,-6 2 0,2-3 0,-3 8 0,0-4 0,-7 4 0,-2-4 0,-32 7 0,19-9 0,-51 12 0,53-17 0,-56 7 0,56-8-6784,-60-11 6784,59 8-1262,-48-22 1262,56 22 0,-13-15 0,19 17-96,-15-20 96,13 13 0,-16-18 0,24 17 6111,1-3-6111,4 8 0,29-7 0,-19 9 0,65-8 0,-60 9-2430,36 0 1,0 2 2429,-33 0-2216,37 7 1,0 1 2215,-38-5-380,28 12 0,-2 3 380,-30-10 0,33 31 0,-44-29 4161,5 15-4161,-15-18 0,-22 4 0,13-8 0,-70-4 0,58-1-1701,-47-8 1,-3-3 1700,39 4-1012,-26-7 1,-18-5 0,18 4 1011,19 5-677,-17-6 1,-16-4 0,19 5 676,27 7 326,-35-11 0,4 0-326,43 12 1720,-37-20-1720,50 22 3204,-2-20-3204,10 15 0,26-15 0,-15 16 3514,19-1-3514,-25 7 0,42-3 0,-28 5-905,37-2 1,0 1 904,-30 3-1726,46 0 1726,-64 0-1934,54 7 1934,-39-1-1028,37 2 0,-2 2 1028,-38 0 673,30 5 0,-3-1-673,-33-6 1819,30 24-1819,-42-25 2212,2 11-2212,-7-10 5467,0 0-5467,-3 0 3432,-2-4-3432,1 3 0,-28 1 0,21-2-3121,-38-1 1,-6-3 3120,29-2-2269,-51-3 1,-3-1 2268,49 2-1517,-51-10 0,-1-1 1517,52 8-1015,-43-14 1,1-1 1014,50 15 475,-52-24-475,65 28 0,-37-31 0,31 25 0,-39-50 0,47 46 0,-6-43 0,15 41 1754,41-23-1754,-28 28 0,71-13 0,-66 19 0,32-3 0,1 0 0,-31 4 0,34 0 0,0 2 0,-35 0-329,32 6 1,0 3 328,-33-3-164,56 22 164,-65-18 2203,18 4-2203,-27-8 3817,2-3-3817,-3 4 5708,4-3-5708,-3 2 1944,2-3-1944,-3 4 0,-3 11 0,-2-12 0,-21 21 0,14-21 0,-53 15 0,47-17-2740,-34-2 0,-3-2 2740,28-2 0,-46-3 0,60 4 0,-51-14 0,42 11 0,-68-22 0,75 22 0,-29-11 0,38 9 0,-1-3 0,11 4 6784,4 0-6784,7 1 0,-5-2 0,16-3 0,-16 4 0,26-3 0,-23 6 0,30-3 0,-31 4 0,17 4 0,-23 0 0,4 1 0,-9 2 0,6-7 0,-6 8 0,3-4 0,-4 4 0,-4 0 0,0-4 0,-19 3 0,12-6 0,-29 6 0,31-2 0,-34-1 0,34 0 0,-31-4 0,29 0 0,-19-4 0,20 0 0,-8-12 0,12 7 0,-8-21 0,12 19 0,2-22 0,6 26 0,26-18 0,-19 22 0,48-11 0,-45 13 0,56-3 0,-57 4 0,25 0 0,-11 7 0,-16-5 0,17 9 0,-22-7 0,-4 4 0,-8 0 0,-1-4 0,-10 7 0,6-9 0,-10 8 0,9-9 0,-19 6 0,17-6 0,-20 3 0,21-4 0,-8 0 0,11 0 0,7 0 0,6 3 0,3-2 0,4 3 0,10-1 0,-11-2 0,33 6 0,-31-6 0,34 2 0,-35-3 0,14 0 0,-26 0 0,-1 0 0,-7 0 0,0 0 0,-10 0 0,7 0 0,-43 0 0,37 0 0,-27 0 0,8 0 0,21 0 0,-43-3 0,44 2 0,-22-3 0,22 1 0,2-2 0,8-3 0,9 4 0,3 0 0,0 4 0,0 0 0,0 0 0,3 0 0,-2 0 0,38 4 0,-27-3-6784,73 13 6784,-69-11-2269,28 10 1,-1 2 2268,-31-11-1226,65 35 1226,-69-34-879,24 24 879,-32-28 3494,-4 10-3494,3-10 5224,-6 6-5224,6-3 2437,-6 4-2437,3 11 2271,-4-9-2271,-11 9 0,5-11 0,-42 0 0,32-4 0,-24 0 0,-7-4 0,29 0 0,-50-8 0,54 7 0,-26-14 0,30 3 0,-6-1 0,23-6 0,0 14 0,8-6 0,-7 10 0,14-3 0,-11 4 0,68 0 0,-57 0 0,38 1 0,0 2 0,-37 1 0,39 5 0,0 1 0,-39-3 0,29 9 0,-1 0 0,-34-12 0,37 21 0,-47-20 0,7 7 0,-25-5 0,5-2 0,-9-2 0,7-3 0,-4 0 0,-18 0 0,9 0 0,-30-3 0,30-2 0,-23-6 0,29 6 0,-11-17-6784,17 19 6784,1-15 0,4-1 0,22-10 0,22-2 0,14 17 0,6 5 0,19 6-2269,-26 2 1,-6 3 2268,-20 1 0,-16 1 4218,1-4-4218,-4 4 0,32 3 0,-25-2-4431,60 17 4431,-57-15-32,60 25 32,-62-24 4415,24 18-4415,-36-17 318,-4 9-318,-4-12 6759,-1 8-6759,-2-13 74,3 3-74,-1-1 0,-2-2 0,3 3 0,-1-1 0,-2-2 0,-12 6 0,8-6 0,-36 10 0,29-10 0,-45 6 0,41-7 0,-44-7 0,44 6 0,-33-17 0,39 15 0,-17-18 0,23 14 0,-9-15 0,14 12 0,-2-5 0,10 11 0,2 0 0,3 4 0,3 0 0,-2 0 0,3 0 0,-4 0 0,-1 4 0,1-3 0,0 6 0,0-6 0,4 13 0,-7-8 0,2 19 0,-7-14 0,-21 22 0,15-22 0,-26 11 0,26-14 0,-9-3 0,7-2 0,0 1 0,0-4 0,0 4 0,0 0 0,-7 0 0,5 0 0,-9 0 0,-43 3 0,23-5 0,-29 2 0,-3-1 0,9-7-3392,-29-1 0,1-1 3392,35-1-2269,-34-4 1,5 1 2268,52 7-2494,-55-7 2494,73 10-187,-1 0 187,7 0 3208,4-4-3208,-3 3 4798,2-2-4798,-3 3 5420,0 0-5420,0 0 576,0 0-576,0 0 0,0 0 0,-4 0 0,7-4 0,-2 0 0,10-1 0,2 2 0,6 3 0,-2-4 0,6 3 0,-6-2 0,2 3 0,-3 0 0,0 0 0,0 0 0,0 0 0,0 0 0,32 3 0,-21-2-6784,57 13 6784,-56-8 0,24 6-1239,-8 5 1239,-21-13 0,39 17 0,-42-16 0,6 3 0,-19-4 6170,-7-4-6170,0 0 1853,-3 0-1853,-2 0 0,1 0 0,0 0 0,4 0 0,0 0 0,-3 0 0,2 0 0,-3 0 0,-14 0 0,7 0 0,-34-4 0,32 3 0,-12-2 0,25 3 0,4-4 0,3 3 0,6-2 0,3 3 0,14 0 0,-11 0 0,54 3 0,-29 2 0,14 0 0,0 1 0,-9 0 0,14 1 0,6 0 0,-13 1 0,16 1 0,-35-2 0,-29-7 0,-8 0 0,-25-3 0,18 2 0,-71-6 0,61 6-3392,-26-3 0,1 1 3392,28 2 0,-25-3-4062,0-3 4062,29 5 0,-65-12 0,49 12 0,-15-5 0,24 4 0,24 2 4773,2-3-4773,6 8 0,1-3 6073,0 2-6073,29 8 0,-22-9 0,21 9 0,21 0 0,-37-5 0,32 5 0,3 0 0,-17-2 0,24 3 0,-37-9 0,-20 1 0,-13-3 0,2 2 0,-45-3 0,35 0 0,-28 0 0,-10 0 0,34 0 0,-31 0 0,-2 0 0,29 0 0,-74 0 0,73 0 0,-41 0 0,50 0 0,-3 0 0,17 4 0,9-3 0,1 2 0,0-3 0,14 0 0,-11 0 0,8 0 0,10 0 0,-16-3 0,16 2 0,-21-3 0,10 1 0,-7 2 0,15-3 0,-17 4 0,6 0 0,-7 0 0,0 0 0,0 0 0,0 0 0,0 0 0,0 0 0,0 0 0,0 0 0,3 4 0,-2-3 0,10 2 0,-13-6 0,1 2 0,-12-6 0,-6 2 0,2 1 0,-3 0 0,4 4 0,4-3 0,-3 2 0,2-3 0,-10 4 0,9-3 0,-8 2 0,-37-6 0,31 6 0,-70-6 0,73 6 0,-55-3 0,57 4 0,-43 0 0,45 0 0,-13-3 0,26 2 0,5-3 0,2 4 0,8-3 0,-5 2 0,19-6 0,-17 6 0,31-3 0,-30 4 0,20-3 0,-24 2 0,2-3 0,1 4 0,-4 0 0,4 0 0,3 0 0,-5 4 0,5-3 0,-11 6 0,7-3 0,-10 4 0,6 0 0,-10-4 0,-2 0 0,-3-4 0,-18 0 0,14 0 0,-49 0 0,44 0 0,-52 0 0,55 0 0,-19 0 0,28 3 0,5-2 0,5 3 0,6-4 0,-2 0 0,56 3 0,-41-2-3392,32 0 0,-1 2 3392,-31 0 0,37-2-4537,36 10 4537,-63-6-1517,52 2 0,-2 1 1517,-58-3-1015,42 5 1,-1-2 1014,-46-5 2029,68 18-2029,-67-15 3034,13 9-3034,-28-11 4537,-12 0-4537,-3-4 6784,0 0-6784,-21 0 0,16 0 0,-35 0 0,36 0 0,-10-4 0,22 3 0,4-2 0,4 3 0,18 0 0,-14 0 0,52 0 0,-46 0 0,29-4 0,21 3 0,-42-2 0,35 2 0,0 2 0,-33-1 0,58 0 0,-68 0 0,11 3 0,-29-2 0,-1 6 0,-2-2 0,3-5 0,0 0 0,0-8 0,0 0 0,0 0 0,3 3 0,2-2 0,3 6 0,-4-6 0,3 6 0,-3-3 0,4 1 0,0 2 0,0-3 0,0 1 0,0 2 0,0-3 0,0 1 0,32-9 0,-24 3 0,30-7 0,-36 12 0,19-7 0,-21 6 0,13-3 0,-20 8 0,-1 1 0,-1 6 0,-6-6 0,6 6 0,-6-6 0,-5 6 0,6-3 0,-12 0 0,13 0 0,-7-4 0,4 0 0,0 0 0,-3 4 0,2-4 0,-45 4 0,35-4 0,-57-4 0,62 3 0,-40-13 0,40 12 0,-19-20 0,28 16 0,-6-20 0,11 15 0,3-18 0,2 18 0,21-11 0,-15 17 0,15-2 0,-17 7 0,2 0 0,-3 0 0,11 0 0,-9 0 0,33 3 0,-28-2 0,42 13 0,-43-8 0,43 23 0,-43-17 0,26 21 0,-34-23 0,1 5 0,-11-11 0,-4-4 0,0 0 0,-18-4 0,14 3 0,-14-2 0,-11-8 0,-6-10 0,-1 3-6784,-21-26 6784,53 31-2333,-37-34 2333,41 38 0,-11-16 0,12 13 0,6-1 0,1 0 0,11 3 5628,2 9-5628,21-3 0,-18 4 0,31 7 0,-34-1 0,30 9 0,-35-7 3489,17 7-3489,-24-6 0,6 6 0,-7-6 0,-14 2 0,7-6 0,-37 2 0,27-6 0,-49 2 0,46-3 0,-63-3 0,65 2 0,-30-6 0,16-1 0,22-1 0,-41-17 0,39 18 0,-21-31 0,26 30 0,-3-28 0,13 27 0,12-16 0,-4 20 0,18-5 0,-1 11 0,-5 4 0,27 7 0,-36-5 0,30 19 0,-34-22 0,9 26 0,-15-22 0,0 11 0,-8-3 0,0-5 0,-36 15 0,20-14 0,-60 8 0,58-15 0,-32-1 0,-3-2 0,30-5 0,-43-1 0,-1-2 0,39-2-3392,-35-6 0,1 0 3392,40 7 0,-23-7 0,1-2 0,25 3 0,-15-7 0,27 6 0,15 11 0,-3-3 0,6 6 0,25-3 0,-17 4 0,60 7 0,-57-5-4537,67 12 4537,-70-9-106,30 3 106,-37-4 0,22 7 0,-13-9 0,16 16 0,-24-13 4484,-5 7-4484,-1-5 6705,-11-2-6705,4-2 0,-25 1 0,15-3 0,-58 2 0,53-3-3273,-39-3 0,-2-1 3273,35 2 0,-50-5 0,67 7 0,-57-14 0,43 11-2269,-34-9 1,0-1 2268,37 6 0,-46-8 0,54 11 4537,-4-7-4537,15 6 0,19-10 0,-8 9 0,57-4 0,-49 9-2269,38-1 1,0 0 2268,-34 2 0,45 0 4537,-57 0-4537,37 0 0,-27 0 0,54 11 0,-60-9 0,21 12 0,-28-13 0,0 6 0,0-2 6784,-3 3-6784,2-4 0,-6 7 0,2-6 0,-6 7 0,-2-8 0,1 3 0,-21-3 0,16 1 0,-56 2 0,43-6-3392,-28 1 0,-1-1 3392,26-1 0,-61-3 0,39-12 0,6 7 0,-6-16 0,37 17 0,-5-15 0,11 12 6784,4-12-6784,1 12 0,16-12 0,-10 16 0,37-12 0,-30 16 0,61-9 0,-57 11 0,64-4 0,-66 4 0,38 0 0,-43 0 0,11 7 0,-17-2 0,-2 14 0,-3-9 0,-21 15 0,12-14 0,-17 4 0,-17 6 0,26-17-6784,-77 24 6784,74-25 0,-74 15 0,63-16 0,-16 5 0,25-11 0,17 0 0,2-15 0,3 8 0,21-25 0,-12 23 0,58-30 0,-44 30 0,33-6 0,2 2 0,-27 9 6784,45-6-6784,-11 11 0,-40 2 0,64 1 0,-63 8 0,12-3 0,-23 9 0,-11-9 0,-4 7 0,0-4 0,0 0 0,-4-4 0,-7 7 0,1-10 0,-27 14 0,24-14 0,-16 10 0,17-10 0,3 2 0,-2-3 0,3 0 0,0 0 0,0 0 0,0 0 0,-43 4 0,32-3 0,-49-1 0,55-1 0,-27-6 0,28 2 0,-17-3 0,19 4 0,-1-3 0,7 2 0,8 1 0,0 0 0,11 1 0,-5 2 0,15-3 0,-14 4 0,14 0 0,-15 0 0,5 4 0,-10 0 0,2 1 0,-6 2 0,6-7 0,-7 8 0,8-4 0,-8 4 0,7 3 0,-6-2 0,3 3 0,-4-4 0,0-1 0,0 1 0,0 0 0,-11 4 0,5-3 0,-9-1 0,7-5 0,-4 1 0,3-3 0,-6 6 0,6-7 0,-2 4 0,6-8 0,-2 4 0,6-8 0,-2 4 0,-1-4 0,3-14 0,1 14 0,12-28 0,-3 28 0,31-21 0,-22 19-6784,54-5 6784,-51 7 0,26 3 0,-39 2 0,42 3 0,-31 0 0,73 10 0,-77-4 0,56 16 0,-62-12 0,24 12 0,-28-12 6784,2 12-6784,-10-16 0,-12 12 0,4-16 0,-40 12 0,35-13-6784,-81 3 6784,75-5-2269,-31-5 1,2-2 2268,37 2-412,-61-20 412,63 15 0,-31-25 0,36 23 0,-3-38 0,31 23 0,-9-9 4332,15 19-4332,26 7 6478,-30 9-6478,34-2 0,11 1 923,29 14-923,-11-1 0,1 3 0,-33-1 0,-4-1-6644,34 12 6644,-65-12 0,-11-10-131,0 6 131,0-3 0,0 4 0,0-3 0,0 2 0,-1-6 0,-2 6 0,12 8 0,-9-5 0,14 30 0,-17-27 0,-5 41 0,-2-40 0,-26 36 0,19-37 0,-56 16 0,36-20 0,-60-2 0,61-3-4540,-66-15 4540,75 9 0,-36-13 2788,47 14-2788,0-2 115,0-1-115,0 3 0,0-6 0,0 3 0,0-1 0,0-2 0,0 6 0,4-6 0,-7 3 0,6-1 0,-3-2 0,-28-19 0,28 13 224,-38-48-224,42 45 0,-7-46 0,16 52 0,28-36 0,-19 41-4072,61-24 4072,-57 27-2723,82-1 2723,-80 4 0,35 8 0,0 3 0,-34-4-701,28 11 1,-1 2 700,-32-9 0,49 35 0,-56-34 1594,23 37-1594,-30-37 2818,1 27-2818,-3-29 0,-8 4 4215,8-8-4215,-25 4 0,-13 2 0,-2 0 6302,2-6-6302,-27-4 1455,41-2-1455,-27 0 0,-3-2 0,6-7 0,-16-1 0,5-17 0,41 15 0,-11-11 0,25 14 0,4 0 0,4 3 0,0 2 0,7 3 0,-2 0 0,3 0 0,31 0 0,-26 0-3392,41 6 0,5 2 3392,-33-5-2269,51 16 1,-1 1 2268,-50-14-2137,52 22 2137,-74-27 0,42 28 0,-31-23 0,49 40 0,-60-38 0,14 18 0,-22-18 3478,0 0-3478,0 0 5200,0 0-5200,-4 0 0,-15 10 0,8-7-2004,-47 11 2004,41-17-775,-59 2 775,60-7-85,-38 0 85,42-3 0,-21-9 0,23 6 0,-9-12 0,11 16 6358,0-9-6358,4 7 1151,4 0-1151,4 0 135,0 8-135,3-4 0,-2 4 0,20-4 0,-12 0 0,33 0 0,-32 0 0,15 0 0,-21 0 0,0 0 0,0 0 0,-4 3 0,0 2 0,-8 3 0,3 0 0,-6 0 0,3-4 0,-4 3 0,-1-6 0,1 3 0,-7-4 0,6-4 0,-35-8 0,29 6 0,-32-12 0,36 17 0,-8-17 0,11 15 0,7-25 0,2 23 0,21-27 0,-10 29 0,10-15 0,10 6 0,-18 2 0,40-5 0,-33 11 0,9 0 0,-15 4 0,-7 0 0,4 7 0,-7-1 0,6 5 0,-10-3 0,-5 0 0,-1-4 0,-21 0 0,14-4 0,-39 0 0,33 0 0,-41-4 0,42 3 0,-19-9 0,26 8 0,-2-9 0,12 10 0,5-2 0,13 3 0,-7 0 0,39 0 0,-31 0 0,57 10 0,-56-3 0,24 4 0,2 7 0,-24-11 0,50 18 0,-54-19 0,14 9 0,-38-11 0,3 0 0,-55-4 0,40-1 0,-33-6 0,29 6 0,10-2 0,-14-1 0,14 3 0,-15-6 0,-27 3 0,22-1 0,-40-2 0,58 6 0,-23-6 0,28 3 0,1-4 0,8 3 0,4-2 0,4 6 0,21-6 0,-15 6 0,15-2 0,32-1 0,-40 3 0,30-1 0,1 1 0,-30 1 0,65 3 0,-67-2 0,34 6 0,-47-2 0,3-1 0,-25 0 0,4-4 0,-7 0 0,6 0 0,3 0 0,-2 0 0,3 0 0,0 0 0,0 0 0,0 0 0,0 0 0,-15 0 0,12 0 0,-58 3 0,39-2 0,-18 4 0,-3 1 0,3-5-6784,-39 10 6784,53-10 0,-6 2 0,32-3 0,-3 0 0,2 0 0,-3 0 0,8-3 0,0 5 6784,4-1-6784,-3 11 0,-2-7 0,-3 2 0,-10 0 0,7-5 0,-11 5 0,13-7 0,-17 3 0,14-2 0,-21 3 0,23-4 0,-34 0 0,30 0 0,-44 0 0,44 0 0,-48-4 0,47 3 0,-32-2 0,40-1 0,-4 3 0,12-6 0,10-1 0,-10-1 0,10-6 0,-10 6 0,6-2 0,-10 6 0,2 2 0,-7 3 0,0 0 0,-7-4 0,5 3 0,-26-2 0,19-1 0,-45 0 0,42-1 0,-41 2 0,47 3 0,-19 0 0,31 0 0,0 0 0,10 0 0,0 0 0,-1 0 0,12 0 0,-5 0-6784,37-4 6784,-31 3 0,37-2 0,-45 3 0,14 0 0,-22 3 0,-4-2 0,-1 6 6784,-2-10-6784,3 3 0,3-8 0,-2 0 0,6 3 0,-2-2 0,3 2 0,3-3 0,51-10 0,1 7 0,22-4-2870,-35 11 2870,-28 4 0,-14 0 0,0 0 0,0 0 0,0 0 0,-3 4 0,-6-3 0,1 6 2870,-8-6-2870,4 2 0,-4-3 0,-7 0 0,5 0 0,-12 4 0,12-3 0,-9 2 0,10-3 0,-2 0 0,-1 0 0,3-3 0,-2 2 0,3-3 0,0 1 0,-7-2 0,5 1-6784,-30-11 6784,26 13 0,-34-20 0,40 16 0,-13-9 0,20 7 0,-3 0 0,4 0 6784,0 0-6784,4 4 0,7-7 0,-1 9 0,23-5 0,-14 7 0,44 4 0,-39 0 0,19 0 0,14 21 0,-37-16 0,32 15 0,0 2 0,-33-12 0,28 12 0,-1-2 0,-29-11 0,44 19 0,-49-22 0,3 2 0,-27-5 0,-2-6 0,-13 2 0,14-3 0,-2 0 0,3-3 0,3 2 0,-10-3 0,-33-3 0,26 5 0,-39-9 0,53 11 0,-3-4 0,16 4 0,7 0 0,0 0 0,32 7 0,-21-5 0,60 19 0,-54-17 0,54 20 0,-59-21 0,44 18 0,-50-18 0,15 11 0,-29-13 0,-4 2 0,-4-3 0,-4 4 0,4-3 0,-18 6 0,18-3 0,-24 8 0,28-4 0,-7 0 0,16-4 0,-1-8 0,3 3 0,-2-2 0,-5 3 0,0 0 0,-8 0 0,-4-4 0,-72-4 0,11-1 0,15 3 0,1 1-408,1 0 408,20 2 0,23 3 0,-3 0 0,4 0 0,4 0 0,-4-4 0,-14 0 0,17-1 0,-8 2 408,25 3-408,0 0 0,0 0 0,14 3 0,-11-2 0,18 3 0,-19-4 0,5 0 0,-7 3 0,32 2 0,-3-1 0,11 0-1155,-14-4 1155,-22 0 0,-4 3 0,-1-2 0,-3 2 0,4-3 0,0 0 0,0 0 0,-7 0 1155,-5 0-1155,-5 0 0,-10 0 0,9 0 0,-48 0 0,40 0 0,-33 0 0,4 4 0,22-3 0,-60 6 0,43-6 0,1 2 0,24-6 0,25 2 0,4-3 0,-4 4 0,29-3 0,-23 2 0,43-6 0,-43 6 0,36-3 0,-37 4 0,23 0 0,-29 4 0,4-3 0,-16 6 0,-3-6 0,-7 2 0,5-3 0,-9 0 0,-29 4 0,27-3 0,-34 1 0,-1-1 0,28-1-3392,-29 2 0,2 0 3392,34-1-1737,-59 6 1737,64-7 0,-45 4 0,48-4 0,-17 0 0,29-4 0,2 4 0,7-4 5924,11 4-5924,-9 0 0,33-4 0,-29 4 2597,40-4-2597,-33 4 0,9 0 0,-15 0 0,-7 0 0,0 0 0,0 0 0,14 4 0,-10-4 0,13 7 0,-19-2 0,-3-1 0,-7 0 0,-4-4 0,0 0 0,-11 3 0,5-2-6784,-38 6 6784,32-6-4193,-52 3 4193,56-4-3148,-45 0 3148,47 0-1968,-33-4 1968,35 3 2174,-18-6-2174,29 6 2894,-2-2-2894,11 3 0,17 0 0,-12 0 4683,23 3-4683,-33 2 6342,7-1-6342,-18 0 0,0-4 0,-4 0 0,4 0 0,-40-4 0,31 3 0,-62-6 0,62 6-2226,-26-6 2226,35 6 0,0-3 0,0 4 0,0 0 0,3-3 0,-2 2 0,3-3 2226,-1 1-2226,-9-5 0,8 3 0,-9-17 0,10 15 0,2-15 0,3 13 0,3-3 0,1 8 0,8-3 0,-3 6 0,2-3 0,-3 4 0,0 0 0,0 0 0,0 0 0,0 0 0,0 0 0,0 0 0,7 0 0,-6 0 0,66 4 0,-52-3-3392,45 5 0,-1 2 3392,-42-2 0,61 9-1328,-72-11 1328,9 3-857,-11-6 857,-1 3 0,1-1 0,11 9 5702,-12-2-5702,7 5 1848,-22-11-1848,-11 7 1419,4-10-1419,-32 6 0,29-3 0,-37-3 0,38 2 0,-16-3 0,20 0 0,-2 0 0,3 0 0,0 0 0,-4 0 0,3 0 0,-35-3 0,28-2 0,-49-3 0,51 4 0,-19 0 0,29 1 0,0-2 0,8-3 0,0 0 0,4 4 0,7-7 0,-5 9 0,33-19 0,-28 17 0,60-17 0,-57 19-3392,33-3 0,1 0 3392,-30 4-2269,40 0 1,0 2 2268,-39-1-502,30 6 1,-3-1 501,-33-3 0,23 8 0,-37-5 4040,-13 10-4040,3-9 0,-33 12 0,26-17 0,-69 10 0,63-10-1519,-32-1 1,0 0 1518,32-1-754,-73-13 754,71 7 0,-40-22 0,47 21 0,-15-38 0,24 35-14,-5-47 14,11 40 4156,22-40-4156,32 22 0,-20-1 0,19 14 111,-14 16-111,-15 3 0,67-1 0,-65 2 22,56 10-22,-56 2 0,20 21 0,-29-11 0,-7 7 6281,-10-14-6281,-3-4 1519,-5 7-1519,-1-5 0,-10 8 0,2-9 0,-35 6 0,28-10-6784,-59 2 6784,65-7-2201,-54-3 2201,61-2-3808,-35-10 3808,38 9 0,-11-8-119,12 13 119,6-6 3749,-2 2-3749,-1 1 2167,3-3-2167,-2-1 6679,3-1-6679,-4 1 317,3-14-317,1 11 0,22-30 0,-6 25-6784,63-21 6784,-54 30-736,31-5 1,2 3 735,-26 7-2025,31 0 1,1 0 2024,-30 3-1355,25 7 1,-4 2 1354,-40-3 1839,34 8-1839,-44-12 639,20 19-639,-16-14 3935,19 36-3935,-26-32 0,5 14 5885,-7-19-5885,0 1 0,-4 0 0,4 0 2113,-8-3-2113,-14 9 602,10-12-602,-53 9 0,43-11 0,-31-3 0,-2-1-2624,28 2 2624,-48-5 0,65 3 0,-55-11 0,45 8 0,-29-10 0,1-1 0,30 9 0,-47-39 0,56 35 0,-16-34 0,24 34 0,8-23 0,-1 25 0,9-4 0,-10 8 0,23-5 0,-18 6 0,58-15 0,-51 18-2206,30-8 2206,-39 11 0,46-3 0,-35 2-1824,37 4 1,2 1 1823,-35-1-1988,33 11 0,-2 3 1988,-39-8-959,59 34 959,-67-30 996,32 27-996,-36-29 3995,7 15-3995,-13-18 5973,-2 0-5973,-3-4 0,0-1 2448,0-2-2448,-28 3 0,20-4 0,-66-11 0,59 8-3392,-30-10 0,1-2 3392,27 10 0,-32-12-2498,42 13 2498,5 0-652,-34-11 652,29 8 0,-46-21 0,43 13 0,-16-6 5224,29-4-5224,6 18 3517,21-12-3517,-10 15 0,49 0 0,-44 4-5591,79 4 5591,-75-3-2269,34 6 1,0 0 2268,-34-4-1517,39 10 0,1 2 1517,-38-11-181,28 12 1,-3 0 180,-32-13 2856,28 19-2856,-39-17 4269,2 6-4269,-11-6 6385,-14 2-6385,6-6 0,-39 2 0,36-3 1206,-21 0-1206,-26-7 0,41 5 0,-76-15 0,80 14 0,-59-22 0,60 18 0,-38-26 0,42-4 0,-6 9 0,18-16 0,4 37 0,22-21 0,-14 24 0,42-14 0,-39 17 0,63-2 0,-59 6-6784,73 12 6784,-73-8-4537,70 29 4537,-71-31-1239,60 41 1239,-62-36 0,38 33 0,-46-32 3924,13 15-3924,-20-17 5866,-8-1-5866,0-5 0,-33-3 0,26 0 2770,-19 0-2770,-28-7 0,39 5-3392,-43-7 0,-2-3 3392,41 5 0,-55-12 0,-2-2 0,46 7-2001,-33-7 0,3 2 2001,41 12-1232,-46-21 1232,59 24 0,-17-17 0,33 12 0,-5-4 0,13 5 4191,14 5-4191,34 3 490,-18 0-490,13 0-3074,6 7 3074,-35-2 0,47 3-2177,-54-1 2177,2-6-225,-9 2 225,-3-3 0,0 4 0,0-3 0,3 2 0,-2-3 0,10 4 0,-10 0 2761,10 1-2761,32 12 0,-15-10 0,53 26 0,-58-25 5165,23 20-5165,-47-22 4302,11 9-4302,-14-7 585,0 4-585,0-3 0,-4 6 0,-4-10 0,-14 5 0,6-9 0,-35 6 0,33-6 0,-19 3 0,-15-11 0,31 5 0,-40-10 0,-1-1 0,33 9 0,-48-17 0,0-1 0,43 16 0,-29-16 0,3 1 0,35 16 0,-33-23 0,47 15 0,-4-4 0,30-2 0,-8 14 0,46-6 0,-40 10 0,79-3 0,-71 4-3392,37 2 0,1 0 3392,-35-1-2269,34 6 1,-4 3 2268,-41-2 0,40 7 0,-18 6 0,-26-13 0,44 24 0,-53-14 4537,14 2-4537,-18-5 6784,-4-7-6784,-18 0 0,10-4 0,-43 0 0,40-4 0,-68 0 0,64 0 0,-32-3 0,1-1 0,31 2 0,-71-16 0,69 12 0,-38-16 0,44 12 0,-7-12 0,18 12 0,11-12 0,-1 15 0,30-3 0,-23 10 0,55 3 0,-50-2 0,28 3 0,19 13 0,-40-12 0,31 12 0,0 1 0,-34-14 0,34 17 0,-1 1 0,-33-16 0,28 15 0,-1 0 0,-32-13 0,23 14 0,-44-17 0,-1-2 0,-28-3 0,20 0 0,-52-3 0,48 2 0,-30-3 0,-33-3 0,47 2-3392,-30-3 0,3 1 3392,38 1-4537,-72-15 4537,75 17 0,-60-31 0,53 8 0,-9-3 0,24-7 0,15 30 0,26-14 0,-17 19 0,55-5 0,-51 7-1517,34 1 0,2 1 1517,-31 3 0,42-1 0,0 10 0,-42-8 584,29 6 1,-2 2-585,-32-3 0,40 18 0,-42-8 3613,5 0-3613,-13 1 5403,-11-17-5403,3 6 4170,-6-10-4170,3 2 0,-4 1 0,0-3 0,-22 2 0,17-3 0,-24 0 0,-1-10 0,16 3 0,-47-22 0,28 0 0,-2 2 0,11 5 0,14-10 0,6 21 0,-10-36 0,17 35 0,20-17 0,28 19 0,-12-2-6784,47 12 6784,-61 1 0,26 6-2131,-21-2 2131,-10-1 0,10 3 0,-14-6 0,-1 6 0,5-3 0,-3 1 0,34 30 0,-27-27 0,41 52 0,-48-49 0,16 25 0,-21-31 0,8 20 0,-7-17 0,5 10 5728,-9-11-5728,3-2 3187,-8-1-3187,0 0 0,-4-4 0,-7-4 0,5 3 0,-34-17 0,29 15 0,-50-26 0,50 26 0,-22-15 0,5 3 0,17 4 0,-28-15 0,36 17 0,-8-7 0,22 5 0,-1 5 0,30-1 0,-22 7 0,22 4 0,-24-3 0,1 2 0,-2-3 0,-3 4 0,0-3 0,14 6 0,-10-6 0,10 2 0,10 8 0,-18-9 0,16 13 0,1 0 0,-10 6 0,15 0 0,-18 4 0,-13-15 0,-5 5 0,-5-10 0,-17 2 0,10-7 0,-38 4 0,34-4 0,-59-7 0,57 5 0,-29-9 0,7 0 0,24 1 0,-49-16 0,50 16 0,-28-27 0,32 7 0,0 3 0,36-5 0,-11 29 0,36-7 0,-37 10 0,12 0 0,12 7 0,-19-2 0,58 28 0,-51-20-6784,36 30 6784,-46-31-1560,18 27 1560,-26-26 0,4 19 0,-48-19 0,21 0 0,-24-6 0,-21-7 6011,39 0-6011,-48-7 0,-3 0 2333,45 3-2333,-56-13 0,0-2 0,56 14 0,-49-19 0,1-2 0,51 19 0,-34-17 0,3 2 0,38 17 0,-40-23 0,51 22 0,-7-10 0,28 8 0,-7 0 0,51 4 0,-41 0-3392,34 5 0,1 2 3392,-30-2 0,50 6-2941,-62-6 2941,1 6 0,-4-6 0,1 2 0,1 1 0,2-3 0,-3 2 0,32 18 0,-28-12 0,41 38 0,-48-34 0,12 30 0,-17-31 0,-25 24 0,19-25 5328,-22 8-5328,-23-8 0,28-10 0,-33 3 0,0-1 0,26-3 0,-29-2 0,-1-3 0,24 0 0,-53-14 0,65 9 0,-20-12 0,37 12 0,-11-19 0,17 17 0,19-28 0,-10 28 0,67-21 0,-54 23-1194,42 1 1,2 3 1193,-40 1-1791,45 3 0,2 1 1791,-41 1-1675,31 5 0,-1 1 1675,-34-4 0,59 23 0,-68-11 0,16 6 3350,-24-8-3350,-9 2 3582,-1-8-3582,-1 9 6784,-6-7-6784,3 0 0,-8 0 0,3 0 0,-17 3 0,11-5 0,-40 8 0,25-9 0,-52 3 0,53-5-768,-18-3 768,39 0 0,-18-3 0,14 2 0,-25-17 0,27 11 0,-13-19 0,18 9 0,-6 4 768,10-19-768,-2 19 0,27-31 0,36 21 0,-19-1 0,27 13 0,-1 7-6784,-36 4 6784,55-4 0,-71 4-4537,65 3 4537,-51-2 0,38 8 0,-3 4 0,-43-6-401,58 33 401,-70-27 0,15 30 0,-23-31 0,-15 35 0,6-34 0,-46 37 0,38-40 0,-67 29 0,57-36-2901,-66 11 2901,67-14 0,-61-10 0,68 4 2901,-33-6-2901,17-17 0,17 20 0,-34-49 0,42 43 0,-19-50 0,26 50 0,5-43 0,3 48 0,34-26 0,-26 34 0,61-13 0,-56 14 0,77 5 0,-70 1-1317,23 9 1,0 1 1316,-23-6 0,19 17 0,-1 1 0,-27-15 1743,44 48-1743,-49-46 0,10 44 0,-21-26 0,-2 5 0,-22-1 0,12-29 0,-43 10 0,38-16 0,-60-4 0,59 1 0,-52-19 0,55 17 0,-40-28 0,40 24 3897,-15-14-3897,7-1 0,14 12 5828,-17-29-5828,23 27 2887,-1-13-2887,7 18 0,29 4 0,-16 0 0,48 4 0,-45 4 0,55 4 0,-58 1 0,65 13 0,-65-12 0,62 27 0,-63-25 0,37 28 0,-45-15 0,10 1 0,-36-1 0,10-19 0,-46 4 0,38-9 0,-24 3 0,21-4 0,8 0-997,-7-4 997,6 3 0,0-2 0,-11-1 0,8 3-3227,-38-12 0,-5-2 3227,24 5-2158,-51-13 0,1-1 2158,52 11-1294,-29-8 0,3-1 1294,36 9 0,-50-34 0,58 9 3034,-8 6-3034,41-15 0,-7 43 3399,13-18-3399,-17 22 0,0-4 6220,4 0-6220,-3 4 0,6-4 0,-7 4 0,4 0 0,-4-4 0,0 4 0,0-4 0,0 4 0,0 0 0,70-4 0,-38 3 0,40 4 0,10 5 0,-37 4 0,-2 1-3110,8-2 0,-3 1 3110,16 10-240,-21 6 240,-30-18 0,33 33 0,-48-28 0,5 36 0,-29-15 0,-26 22 0,-1-28 1708,-2-8-1708,25-18 0,14-4 1569,0 0-1569,0 0 0,0 0 0,0 0 0,0 0 0,-1 0 0,-16 0 0,12 0 0,-52-4 0,47 0 0,-71-15 0,70 12 0,-60-29 0,63 31 0,-38-41 0,45 36 3400,-12-19-3400,17 24 0,3-2 0,-2 3 0,3-4 0,-4 0 0,3 0 0,-2 0 0,3 0 0,0 0 1485,0 0-1485,7-18 0,-2 17 0,21-20 0,-8 24 0,20-3 0,-19 4 0,3 4 0,-18 4 0,7 7 0,-9-1 0,8 12 0,-9-12 0,3 5 0,-4-7 0,0-4 0,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18.846"/>
    </inkml:context>
    <inkml:brush xml:id="br0">
      <inkml:brushProperty name="width" value="0.035" units="cm"/>
      <inkml:brushProperty name="height" value="0.035" units="cm"/>
    </inkml:brush>
  </inkml:definitions>
  <inkml:trace contextRef="#ctx0" brushRef="#br0">48 9 24575,'4'0'0,"1"0"0,-1 0 0,1 0 0,-1 0 0,1 0 0,-1 0 0,1 0 0,-1 0 0,1 0 0,-1 0 0,1 0 0,-1 0 0,1 0 0,-1 0 0,1 0 0,-3-2 0,2 2 0,-1-2 0,1 2 0,1 0 0,-1 0 0,1 0 0,-1 0 0,-1-2 0,1 1 0,-2-1 0,3 2 0,-1 0 0,1 0 0,-1 0 0,-3 2 0,-2-1 0,-3 1 0,-1-2 0,-1 0 0,1 0 0,-2 0 0,2 0 0,1 0 0,-1 0 0,1 0 0,-1 0 0,1 0 0,-1 0 0,1 0 0,-1 0 0,0 0 0,1 0 0,-1 0 0,1 0 0,-1 0 0,1 0 0,-1 0 0,1 0 0,-1 0 0,1 0 0,-1 0 0,0 0 0,1 0 0,-1 0 0,1 0 0,-1 0 0,1 0 0,-1 0 0,1 0 0,-3-2 0,2 1 0,-2-1 0,3 2 0,3 0 0,4 0 0,2 0 0,1 0 0,1 0 0,-2 0 0,1 0 0,-1 0 0,-1 0 0,1 0 0,-1 0 0,1 0 0,-1 0 0,1 0 0,-1 0 0,1 0 0,-1 0 0,1 0 0,-1 0 0,1 0 0,-1 0 0,1 0 0,-3 2 0,2-1 0,-1 1 0,1 0 0,1-2 0,-1 2 0,1-2 0,-1 0 0,3 0 0,-2 0 0,1 2 0,-1-1 0,-1 1 0,5-2 0,-5 2 0,2-2 0,-6 2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00.338"/>
    </inkml:context>
    <inkml:brush xml:id="br0">
      <inkml:brushProperty name="width" value="0.035" units="cm"/>
      <inkml:brushProperty name="height" value="0.035" units="cm"/>
    </inkml:brush>
  </inkml:definitions>
  <inkml:trace contextRef="#ctx0" brushRef="#br0">1 59 24575,'4'0'0,"1"0"0,-1 0 0,-1-2 0,1 2 0,0-6 0,1 3 0,2-2 0,-3 1 0,1 4 0,-3-4 0,2 3 0,-3-3 0,3 4 0,-2-2 0,1 0 0,1 1 0,-2-3 0,3 1 0,-1 1 0,1 0 0,-3 0 0,2 1 0,-3-3 0,3 4 0,-2-2 0,3 2 0,-3-2 0,2 1 0,-3-1 0,1 2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01.530"/>
    </inkml:context>
    <inkml:brush xml:id="br0">
      <inkml:brushProperty name="width" value="0.035" units="cm"/>
      <inkml:brushProperty name="height" value="0.035" units="cm"/>
    </inkml:brush>
  </inkml:definitions>
  <inkml:trace contextRef="#ctx0" brushRef="#br0">1 0 24575,'0'0'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02.833"/>
    </inkml:context>
    <inkml:brush xml:id="br0">
      <inkml:brushProperty name="width" value="0.035" units="cm"/>
      <inkml:brushProperty name="height" value="0.035" units="cm"/>
    </inkml:brush>
  </inkml:definitions>
  <inkml:trace contextRef="#ctx0" brushRef="#br0">1 1 24575,'0'0'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04.072"/>
    </inkml:context>
    <inkml:brush xml:id="br0">
      <inkml:brushProperty name="width" value="0.035" units="cm"/>
      <inkml:brushProperty name="height" value="0.035" units="cm"/>
    </inkml:brush>
  </inkml:definitions>
  <inkml:trace contextRef="#ctx0" brushRef="#br0">1 51 24575,'2'-3'0,"0"1"0,1 0 0,1 1 0,-2-1 0,7-4 0,-3 5 0,6-9 0,-6 9 0,4-5 0,-7 3 0,7 1 0,-6 0 0,12 0 0,-9 1 0,11-1 0,-12 2 0,15 0 0,-14 0 0,13 0 0,-14 0 0,5-2 0,-9 2 0,0-2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06.599"/>
    </inkml:context>
    <inkml:brush xml:id="br0">
      <inkml:brushProperty name="width" value="0.035" units="cm"/>
      <inkml:brushProperty name="height" value="0.035" units="cm"/>
    </inkml:brush>
  </inkml:definitions>
  <inkml:trace contextRef="#ctx0" brushRef="#br0">0 5 24575,'5'0'0,"1"0"0,-1 0 0,8-2 0,-7 1 0,4-1 0,-3 2 0,-2 0 0,19 0 0,-15 0 0,24 0 0,-26 0 0,7 0 0,-9 0 0,-1 0 0,1 0 0,-1 0 0,-1 0 0,-1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2.393"/>
    </inkml:context>
    <inkml:brush xml:id="br0">
      <inkml:brushProperty name="width" value="0.035" units="cm"/>
      <inkml:brushProperty name="height" value="0.035" units="cm"/>
    </inkml:brush>
  </inkml:definitions>
  <inkml:trace contextRef="#ctx0" brushRef="#br0">0 6 24575,'3'2'0,"1"-2"0,-4 4 0,4-3 0,-1 1 0,-1 0 0,4 2 0,-3-1 0,2 3 0,3-1 0,-5 0 0,6 1 0,-5-3 0,1 1 0,-1-4 0,-1 4 0,3-1 0,-3-1 0,5 2 0,-3-3 0,4 1 0,2-2 0,-3 0 0,13 0 0,-16-2 0,9 1 0,-10-1 0,1 2 0,2 0 0,-3 0 0,3 0 0,-2 0 0,1 0 0,3 0 0,-4 0 0,10 0 0,-9 0 0,4-2 0,-5 2 0,-3-5 0,0 3 0,0-1 0,-1-1 0,5 0 0,-3 1 0,5-5 0,-3 7 0,4-7 0,-4 7 0,1-5 0,-3 3 0,1 0 0,-4-1 0,4 4 0,-3-4 0,1 3 0,-2-1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4.026"/>
    </inkml:context>
    <inkml:brush xml:id="br0">
      <inkml:brushProperty name="width" value="0.035" units="cm"/>
      <inkml:brushProperty name="height" value="0.035" units="cm"/>
    </inkml:brush>
  </inkml:definitions>
  <inkml:trace contextRef="#ctx0" brushRef="#br0">23 1 24575,'7'0'0,"-2"0"0,1 0 0,-3 2 0,1-2 0,-4 4 0,4-3 0,-3 3 0,3-4 0,-4 4 0,4 1 0,-3 0 0,1 1 0,-2-1 0,0-1 0,-2-1 0,1 1 0,-1-2 0,0 3 0,2 0 0,-4-3 0,3 2 0,-3-3 0,2 1 0,-1 0 0,-1-2 0,1 2 0,-1-2 0,-1 0 0,1 0 0,-1 0 0,1 0 0,-1 0 0,3-2 0,-2 1 0,3-3 0,-1 4 0,2-2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6.055"/>
    </inkml:context>
    <inkml:brush xml:id="br0">
      <inkml:brushProperty name="width" value="0.035" units="cm"/>
      <inkml:brushProperty name="height" value="0.035" units="cm"/>
    </inkml:brush>
  </inkml:definitions>
  <inkml:trace contextRef="#ctx0" brushRef="#br0">60 142 24575,'0'-2'0,"2"-1"0,-6-1 0,3-1 0,-1 1 0,-10-25 0,9 16 0,-15-26 0,14 30 0,-4-8 0,3 12 0,3-2 0,0 5 0,2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6.552"/>
    </inkml:context>
    <inkml:brush xml:id="br0">
      <inkml:brushProperty name="width" value="0.035" units="cm"/>
      <inkml:brushProperty name="height" value="0.035" units="cm"/>
    </inkml:brush>
  </inkml:definitions>
  <inkml:trace contextRef="#ctx0" brushRef="#br0">0 200 24575,'0'-4'0,"0"-1"0,0 1 0,2-1 0,-1 1 0,3-17 0,-4 12 0,4-46 0,-3 42 0,3-30 0,-4 38 0,4-10 0,-3 9 0,1-3 0,-2 7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7:28.998"/>
    </inkml:context>
    <inkml:brush xml:id="br0">
      <inkml:brushProperty name="width" value="0.035" units="cm"/>
      <inkml:brushProperty name="height" value="0.035" units="cm"/>
    </inkml:brush>
  </inkml:definitions>
  <inkml:trace contextRef="#ctx0" brushRef="#br0">0 1406 24575,'0'-12'0,"0"3"0,0-2 0,0 3 0,0 0 0,0 0 0,7-39 0,-5 29 0,8-29 0,0-4 0,-1 1 0,2 12 0,3-28 0,2-6 0,11-5 0,-8 20 0,7-2 0,-1 6-5878,-15 33 5878,22-38 0,-28 54 0,36-53 0,-24 40 0,20-41 0,-29 50 0,33-36 0,-23 27-2419,22-21 1,0 1 2418,-22 24 0,54-47 0,-56 53-1256,21-21 1256,-28 27-363,18-17 363,-14 11 0,35-19 0,-34 20 0,38-8 0,-38 13 0,16-6 3278,-21 6-3278,28-3 0,-21 4 0,46-3 0,-47 2 5659,29-6-5659,-32 6 2522,4-6-2522,-12 2 875,-3-3-875,-3 0 0,2 0 0,-6-18 0,6 14 0,1-14 0,4 18 0,4 0 0,0 4 0,-4-4 0,3 8 0,-2-8 0,3 8 0,0-8 0,0 8 0,0-4 0,0 4 0,3 0 0,-2 0 0,23 11 0,-18-5 0,15 5 0,25 17 0,-35-18-3903,45 19 3903,-53-21 0,8-3 0,-12 2 0,1-6 0,0 6 0,0-7 0,4 8 0,-3-4 0,34 18 0,-31-11 0,37 22 0,-45-22 0,17 21 0,-19-20 3903,5 10-3903,-7-14 0,-4 14 0,0-14 0,-8 27 0,4-31 0,-1 18 0,2-22 0,6 8 0,-6-8 0,3 7 0,-4-6 0,0 3 0,-14-1 0,10-2 0,-39 3 0,36-4 0,-46 0 0,46 0 0,-32-4 0,39 0 0,-13-1 0,6-2 0,4 6 0,-18-9 0,4 1 0,2 0 0,-6-5 0,19 12 0,-8-12 0,9 8 0,-6-12 0,9 8 0,-8-16 0,9 15 0,-7-15 0,8 17 0,-4-21 0,8 19 0,-4-22 0,4 22 0,0-15 0,0 16 0,11-12 0,-9 12 0,19-12 0,-14 12 0,8-5 0,-11 7 0,3 0 0,-3 4 0,4 0 0,0 4 0,0 0 0,-3 4 0,-2-3 0,-3 2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6.947"/>
    </inkml:context>
    <inkml:brush xml:id="br0">
      <inkml:brushProperty name="width" value="0.035" units="cm"/>
      <inkml:brushProperty name="height" value="0.035" units="cm"/>
    </inkml:brush>
  </inkml:definitions>
  <inkml:trace contextRef="#ctx0" brushRef="#br0">0 137 24575,'2'-5'0,"1"-1"0,0 1 0,-1-2 0,0 3 0,8-19 0,-5 14 0,15-24 0,-16 28 0,19-19 0,-18 21 0,7-1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7.396"/>
    </inkml:context>
    <inkml:brush xml:id="br0">
      <inkml:brushProperty name="width" value="0.035" units="cm"/>
      <inkml:brushProperty name="height" value="0.035" units="cm"/>
    </inkml:brush>
  </inkml:definitions>
  <inkml:trace contextRef="#ctx0" brushRef="#br0">1 69 24575,'4'0'0,"1"-2"0,-1 1 0,-1-3 0,1 4 0,8-9 0,-5 6-6784,18-8 6784,-16 6-4537,30-9 4537,-27 9-66,19-7 1,-28 11 0,1-1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7.880"/>
    </inkml:context>
    <inkml:brush xml:id="br0">
      <inkml:brushProperty name="width" value="0.035" units="cm"/>
      <inkml:brushProperty name="height" value="0.035" units="cm"/>
    </inkml:brush>
  </inkml:definitions>
  <inkml:trace contextRef="#ctx0" brushRef="#br0">1 73 24575,'4'-2'0,"1"1"0,-1-1 0,-1 0 0,9 0 0,-4-3 0,4 1 0,-4 1 0,-6 1 0,3 2 0,31-8 0,-23 6 0,47-10 0,-47 11 0,44-11 0,-43 10 0,20-8 0,-31 9 0,1-1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8.880"/>
    </inkml:context>
    <inkml:brush xml:id="br0">
      <inkml:brushProperty name="width" value="0.035" units="cm"/>
      <inkml:brushProperty name="height" value="0.035" units="cm"/>
    </inkml:brush>
  </inkml:definitions>
  <inkml:trace contextRef="#ctx0" brushRef="#br0">0 191 24575,'3'-2'0,"1"2"0,-4-4 0,4 1 0,-3-1 0,7-9 0,-5 6 0,10-13 0,-8 13 0,16-24 0,-16 22 0,11-14 0,-7 3 0,-3 13 0,2-13 0,-2 11 0,-5 5 0,3-4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9.368"/>
    </inkml:context>
    <inkml:brush xml:id="br0">
      <inkml:brushProperty name="width" value="0.035" units="cm"/>
      <inkml:brushProperty name="height" value="0.035" units="cm"/>
    </inkml:brush>
  </inkml:definitions>
  <inkml:trace contextRef="#ctx0" brushRef="#br0">46 273 24575,'0'-4'0,"0"-1"0,0 1 0,0-1 0,0 1 0,0-1 0,2-11 0,-2 8 0,-2-49 0,-1 42 0,-5-44 0,3 51 0,-4-25 0,6 25 0,-3-11 0,6 15 0,-7-3 0,6 2 0,-3 1 0,4 2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29.801"/>
    </inkml:context>
    <inkml:brush xml:id="br0">
      <inkml:brushProperty name="width" value="0.035" units="cm"/>
      <inkml:brushProperty name="height" value="0.035" units="cm"/>
    </inkml:brush>
  </inkml:definitions>
  <inkml:trace contextRef="#ctx0" brushRef="#br0">133 223 24575,'-3'-2'0,"-3"-9"0,3 7 0,-1-8 0,2 9 0,-14-32 0,11 23 0,-21-39 0,22 45 0,-21-33 0,19 32-2126,-16-22 0,20 25 0,-6-4 1</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0.264"/>
    </inkml:context>
    <inkml:brush xml:id="br0">
      <inkml:brushProperty name="width" value="0.035" units="cm"/>
      <inkml:brushProperty name="height" value="0.035" units="cm"/>
    </inkml:brush>
  </inkml:definitions>
  <inkml:trace contextRef="#ctx0" brushRef="#br0">160 164 24575,'-2'-2'0,"1"-2"0,-3 3 0,4-3 0,-4 2 0,1-1 0,1-1 0,-19-19 0,15 16 0,-19-22 0,21 26 0,-4-4 0,8 3 0,-4 4 0,3-4 0,-3 1 0,2-1 0,-5-5 0,2 6 0,1-6 0,-7 1 0,7 2 0,-8-5 0,7 7 0,-2 1 0,1-1 0,3 4 0,-2-2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0.689"/>
    </inkml:context>
    <inkml:brush xml:id="br0">
      <inkml:brushProperty name="width" value="0.035" units="cm"/>
      <inkml:brushProperty name="height" value="0.035" units="cm"/>
    </inkml:brush>
  </inkml:definitions>
  <inkml:trace contextRef="#ctx0" brushRef="#br0">146 41 24575,'-4'0'0,"-7"-2"0,7 0 0,-6-1 0,8 1 0,-29-8 0,20 8 0,-28-13 0,32 14 0,-10-3 0,14 4 0,-3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1.297"/>
    </inkml:context>
    <inkml:brush xml:id="br0">
      <inkml:brushProperty name="width" value="0.035" units="cm"/>
      <inkml:brushProperty name="height" value="0.035" units="cm"/>
    </inkml:brush>
  </inkml:definitions>
  <inkml:trace contextRef="#ctx0" brushRef="#br0">32 218 24575,'0'-4'0,"0"-1"0,0 1 0,0-1 0,0 1 0,0-5 0,0 4 0,0-4 0,2 6 0,-1-1 0,1 2 0,-2-3 0,0 1 0,0-17 0,0 12 0,-7-36 0,-4 17 0,2-4 0,-1 12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1.730"/>
    </inkml:context>
    <inkml:brush xml:id="br0">
      <inkml:brushProperty name="width" value="0.035" units="cm"/>
      <inkml:brushProperty name="height" value="0.035" units="cm"/>
    </inkml:brush>
  </inkml:definitions>
  <inkml:trace contextRef="#ctx0" brushRef="#br0">0 242 24575,'3'-2'0,"1"1"0,-4-3 0,4 4 0,-3-4 0,3 1 0,-4-1 0,4 1 0,11-17 0,-9 13 0,16-25 0,-18 26 0,14-32 0,-13 29 0,17-40 0,-19 39 0,17-23 0,-18 27 0,6-2 0,-8 6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7:34.087"/>
    </inkml:context>
    <inkml:brush xml:id="br0">
      <inkml:brushProperty name="width" value="0.035" units="cm"/>
      <inkml:brushProperty name="height" value="0.035" units="cm"/>
    </inkml:brush>
  </inkml:definitions>
  <inkml:trace contextRef="#ctx0" brushRef="#br0">651 650 24575,'-4'-5'0,"4"-2"0,-8 3 0,4-4 0,-4 0 0,4-1 0,-4 5 0,4-3 0,0 2 0,-4 1 0,-14-24 0,13 18 0,-16-16 0,24 19 0,-9-1 0,-3-19 0,0 15 0,-9-35 0,8 20 0,2-7 0,5-3 0,7 27 0,0-23 0,21-25 0,-12 24 0,13-20 0,-1 24 0,-13 17-2411,14-13 2411,-18 19 0,17-8 0,-13 8 0,21-15 0,-19 21 0,12-10 0,-9 10 0,7-3 0,-8 4 0,17 7 0,-20-1 0,37 16 0,-36-15 0,36 28 0,-33-26 0,26 34 0,-27-34 0,21 33 0,-23-36 0,9 22 0,-15-23 2411,0 7-2411,-4-4 0,0 3 0,0-2 0,-4 13 0,3-12 0,-6 23 0,3-18 0,-1 8 0,2-11 0,3-5 0,-4 1 0,3 0 0,-2 0 0,3 0 0,-4-3 0,0-2 0,-1 1 0,-2-3 0,3 2 0,-1 1 0,-2-4 0,2 4 0,1 0 0,-3-4 0,6 7 0,-3-2 0,4 3 0,0 0 0,-3-4 0,2 3 0,-6-6 0,6 6 0,-6-2 0,2-1 0,1 3 0,-3-6 0,2 2 0,-3 1 0,0-3 0,4 6 0,-3-6 0,2 2 0,4-3 0,-1-3 0,9 2 0,-3-6 0,4 6 0,4-10 0,-7 6 0,13-10 0,-12 9 0,12-8 0,-9 9 0,17-14 0,-15 9 0,25-8 0,-28 9 0,17-3 0,-20 8 0,3-3 0,-1 6 0,-6-7 0,6 8 0,8-8 0,-8 4 0,28-8 0,-26 4 0,24-8 0,-23 11 0,5-2 0,-11 3 0,3 3 0,-3-2 0,4 3 0,-3-4 0,2 3 0,8-6 0,-5 6 0,23-2 0,-21 3 0,38-4 0,-35 3 0,53-2 0,-52 3 0,41 0 0,-45 0 0,17 3 0,-20-2 0,6 10 0,-6-6 0,2 10 0,-3-6 0,4 20 0,-7-17 0,9 39 0,-12-37 0,5 22 0,-7-24 0,4-3 0,-4 2 0,4-7 0,-4 4 0,0 0 0,0 0 0,0 14 0,0-11 0,-4 15 0,4-17 0,-8 2 0,4-3 0,-4 0 0,0-3 0,-11 12 0,9-13 0,-27 20 0,25-21 0,-25 11 0,26-13 0,-4 6 0,8-6 0,3 3 0,-15-1 0,-2 2 0,-1-1 0,-7 3 0,18-6 0,-8 2 0,11-3 0,0 0 0,0 0 0,0 0 0,0 0 0,-7 0 0,5 0 0,-15-3 0,14 2 0,-11-6 0,13 6 0,-3-3 0,8 1 0,-3 2 0,2-3 0,-3 1 0,0 2 0,4-6 0,-3 6 0,2-6 0,-3 2 0,0 1 0,7 0 0,-1 8 0,9-3 0,-3 6 0,4-3 0,0 1 0,3 2 0,-2-6 0,-1 6 0,34 11 0,-28-10 0,54 24 0,-54-29 0,32 18 0,-38-15 0,21 5 0,-27-3 0,16 0 0,-16 0 0,12 4 0,-9-4 0,10 14 0,-10-11 0,9 22 0,-12-22 0,9 22 0,-10-23 0,6 16 0,-6-16 0,2 12 0,-3-13 0,0 13 0,0-12 0,-7 16 0,5-16 0,-8 19 0,5-22 0,1 11 0,-3-10 0,-2 4 0,1-3 0,-4 5 0,4-12 0,-4 9 0,4-11 0,-4 4 0,4-4 0,-11 4 0,9-4 0,-20 4 0,19-8 0,-21 0 0,20-1 0,-17-5 0,19 8 0,-12-12 0,12 12 0,-13-12 0,14 12 0,-10-12 0,10 8 0,-13-12 0,11 11 0,-11-14 0,13 18 0,1-11 0,1 13 0,6-6 0,-3 3 0,1-1 0,2-2 0,-6 6 0,6-6 0,-6 3 0,6-4 0,-6 0 0,6 0 0,-6 0 0,6 7 0,-3 1 0,1 8 0,2 0 0,-3 0 0,-3 21 0,5-15 0,-8 18 0,9-23 0,-13 24 0,7-20 0,-19 37 0,16-33 0,-16 24 0,20-27 0,-8 4 0,9-10 0,-3 0 0,0 0 0,4 0 0,-4-4 0,0 7 0,0-6 0,-8 10 0,7-6 0,-9 2 0,8-6 0,-9-2 0,10-3 0,-9 0 0,8 0 0,-12 0 0,12 0 0,-5 0 0,7 0 0,0 0 0,0 0 0,0-3 0,0 2 0,-11-6 0,12 2 0,-22-3 0,22 0 0,-19-3 0,20 2 0,-12-6 0,13 9 0,-7-11 0,8 10 0,-7-18 0,6 14 0,-7-22 0,8 21 0,-3-24 0,6 24 0,1-28 0,1 28 0,9-28 0,-8 28 0,12-21 0,-12 22 0,12-14 0,-12 15 0,12-20 0,-9 19 0,7-22 0,-4 26 0,0-15 0,0 21 0,-4-10 0,3 10 0,-6-6 0,6 6 0,-3-6 0,4 6 0,0-3 0,0 1 0,0 2 0,-7-3 0,-2 4 0,-7 0 0,-4 4 0,4 0 0,-4 1 0,-14 2 0,14-6 0,-32 2 0,32-3 0,-32 0 0,31 0 0,-12 0 0,17 0 0,0 0 0,0 0 0,-4-3 0,3 2 0,-13-10 0,11 9 0,-15-12 0,17 12 0,-24-15 0,20 14 0,-27-15 0,28 16 0,-17-12 0,19 12 0,-8-8 0,9 9 0,-6-10 0,6 9 0,1-8 0,1 5 0,2 1 0,1-4 0,-3 4 0,6-4 0,-10-4 0,6 7 0,-3-9 0,4 9 0,0-11 0,4 7 0,-4-9 0,8 12 0,-4-9 0,4 11 0,-1-8 0,2 3 0,6-13 0,-5 11 0,4-7 0,-5 13 0,-1-2 0,3 3 0,-2-4 0,2 3 0,1-2 0,0 6 0,0-6 0,0 6 0,0-2 0,0 3 0,0 0 0,7 0 0,-5 0 0,19 0 0,-18 0 0,18 0 0,-19 0 0,9 0 0,-11 0 0,4 3 0,-4-2 0,7 6 0,-5-2 0,15 2 0,-14-2 0,18 5 0,-19-8 0,16 9 0,-16-7 0,8 4 0,-9-3 0,6 2 0,-6-7 0,6 8 0,-10-4 0,13 4 0,-12-4 0,16 7 0,-16-6 0,19 10 0,-18-10 0,11 3 0,-10-5 0,0-2 0,-3 6 0,2-6 0,-3 2 0,1 1 0,2-3 0,-7 6 0,11-3 0,-6 1 0,10 5 0,-6-8 0,3 9 0,-8-11 0,0 4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2.064"/>
    </inkml:context>
    <inkml:brush xml:id="br0">
      <inkml:brushProperty name="width" value="0.035" units="cm"/>
      <inkml:brushProperty name="height" value="0.035" units="cm"/>
    </inkml:brush>
  </inkml:definitions>
  <inkml:trace contextRef="#ctx0" brushRef="#br0">0 197 24575,'3'-2'0,"1"1"0,-3-3 0,3 3 0,-2-3 0,3 2 0,1-5 0,3-2 0,7-8 0,-6 7 0,15-16 0,-18 23 0,10-14 0,-13 15 0,15-17 0,-11 11 0,22-25 0,-22 25 0,8-11 0,-13 17 0,-1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2.431"/>
    </inkml:context>
    <inkml:brush xml:id="br0">
      <inkml:brushProperty name="width" value="0.035" units="cm"/>
      <inkml:brushProperty name="height" value="0.035" units="cm"/>
    </inkml:brush>
  </inkml:definitions>
  <inkml:trace contextRef="#ctx0" brushRef="#br0">1 105 24575,'4'-2'0,"1"2"0,-1-2 0,1 0 0,-1 1 0,-1-3 0,9-3 0,-8 4 0,9-3 0,-1-2 0,-5 6 0,29-20 0,-25 18 0,35-20 0,-37 21 0,16-9 0,-22 12 0,1-2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2.948"/>
    </inkml:context>
    <inkml:brush xml:id="br0">
      <inkml:brushProperty name="width" value="0.035" units="cm"/>
      <inkml:brushProperty name="height" value="0.035" units="cm"/>
    </inkml:brush>
  </inkml:definitions>
  <inkml:trace contextRef="#ctx0" brushRef="#br0">1 232 24575,'0'-4'0,"0"-1"0,2 3 0,-2-2 0,2 1 0,0-5 0,-1 2 0,1-3 0,0 1 0,-2 2 0,8-18 0,-6 15 0,6-32 0,-8 27 0,2-30 0,-2 27 0,0-5 0,0 16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3.315"/>
    </inkml:context>
    <inkml:brush xml:id="br0">
      <inkml:brushProperty name="width" value="0.035" units="cm"/>
      <inkml:brushProperty name="height" value="0.035" units="cm"/>
    </inkml:brush>
  </inkml:definitions>
  <inkml:trace contextRef="#ctx0" brushRef="#br0">1 228 24575,'2'-4'0,"2"1"0,-3-1 0,3 2 0,-4-3 0,4 1 0,-3-1 0,11-16 0,0-1 0,9-23 0,-9 21 0,4-23 0,-14 37 0,8-16 0,-10 23 0,2 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3.664"/>
    </inkml:context>
    <inkml:brush xml:id="br0">
      <inkml:brushProperty name="width" value="0.035" units="cm"/>
      <inkml:brushProperty name="height" value="0.035" units="cm"/>
    </inkml:brush>
  </inkml:definitions>
  <inkml:trace contextRef="#ctx0" brushRef="#br0">28 292 24575,'2'-7'0,"-1"2"0,3 0 0,-4 1 0,2 2 0,0-9 0,-1 5 0,3-7 0,-4 6 0,2-12 0,-2 8 0,0-25 0,0 21 0,-8-33 0,4 29 0,-15-31 0,15 39 0,-6-12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4.032"/>
    </inkml:context>
    <inkml:brush xml:id="br0">
      <inkml:brushProperty name="width" value="0.035" units="cm"/>
      <inkml:brushProperty name="height" value="0.035" units="cm"/>
    </inkml:brush>
  </inkml:definitions>
  <inkml:trace contextRef="#ctx0" brushRef="#br0">0 309 24575,'0'-4'0,"2"1"0,-1-1 0,1 2 0,-2-3 0,0 1 0,2 1 0,2-17 0,1 13 0,6-58 0,-8 49-2275,3-33 2275,-6 45-364,0-11 364,0 8 0,0-34 0,0 30 0,0-26 0,0 33 0,0-4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4.481"/>
    </inkml:context>
    <inkml:brush xml:id="br0">
      <inkml:brushProperty name="width" value="0.035" units="cm"/>
      <inkml:brushProperty name="height" value="0.035" units="cm"/>
    </inkml:brush>
  </inkml:definitions>
  <inkml:trace contextRef="#ctx0" brushRef="#br0">0 183 24575,'3'-2'0,"1"1"0,-2-1 0,1 0 0,1 2 0,-2-4 0,3 1 0,11-18 0,-10 13 0,10-17 0,-14 19 0,1-2 0,1 3 0,-4 1 0,2-1 0,0 1 0,1-5 0,-1 3 0,0-2 0,0-3 0,-1 1 0,1-10 0,-4 12 0,1-2 0,-1 1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2:34.947"/>
    </inkml:context>
    <inkml:brush xml:id="br0">
      <inkml:brushProperty name="width" value="0.035" units="cm"/>
      <inkml:brushProperty name="height" value="0.035" units="cm"/>
    </inkml:brush>
  </inkml:definitions>
  <inkml:trace contextRef="#ctx0" brushRef="#br0">41 224 24575,'0'-5'0,"0"1"0,0-1 0,0 1 0,-2-5 0,2 3 0,-2-2 0,0-25 0,-1 19 0,-6-41 0,4 43 0,-6-31 0,8 36 0,-1-11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6:35.668"/>
    </inkml:context>
    <inkml:brush xml:id="br0">
      <inkml:brushProperty name="width" value="0.035" units="cm"/>
      <inkml:brushProperty name="height" value="0.035" units="cm"/>
    </inkml:brush>
  </inkml:definitions>
  <inkml:trace contextRef="#ctx0" brushRef="#br0">0 1 24575,'0'12'0,"0"0"0,6 6 0,-5-5 0,4 5 0,-5-5 0,6-1 0,-5 0 0,5 0 0,-6 1 0,0-1 0,5 0 0,-3 1 0,3-1 0,-5 0 0,0 0 0,6-5 0,-5 4 0,10-10 0,-4 5 0,-1-12 0,5 5 0,-9-10 0,3 4 0,1 0 0,-5-4 0,4 4 0,1 0 0,-5-4 0,10 5 0,-9-7 0,3 1 0,0 5 0,-3-4 0,3 4 0,1 0 0,-5-4 0,5 4 0,-6-5 0,0-1 0,0 1 0,5 5 0,-4-4 0,5 4 0,-1 0 0,2 2 0,5 5 0,1 5 0,-1-3 0,-5 8 0,-2-3 0,1 0 0,-5 4 0,5-4 0,-1 5 0,-4 0 0,10-5 0,-9 4 0,9-4 0,-10 5 0,10 1 0,-4-7 0,0 5 0,3-4 0,-8 5 0,9-5 0,-10 4 0,10-10 0,-10 10 0,5-4 0,-6 6 0,0-1 0,0-11 0,5-2 0,-3-12 0,3-5 0,1 5 0,-5-5 0,10 11 0,-10-4 0,5 4 0,-1-6 0,-3 1 0,8 0 0,-3-1 0,0 1 0,4 5 0,-10-4 0,5 4 0,-1 0 0,-3-4 0,9 10 0,-10-10 0,10 9 0,-4-3 0,0 5 0,-2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6:39.745"/>
    </inkml:context>
    <inkml:brush xml:id="br0">
      <inkml:brushProperty name="width" value="0.035" units="cm"/>
      <inkml:brushProperty name="height" value="0.035" units="cm"/>
    </inkml:brush>
  </inkml:definitions>
  <inkml:trace contextRef="#ctx0" brushRef="#br0">199 0 24575,'-12'0'0,"-1"0"0,1 0 0,-1 0 0,1 0 0,0 0 0,-1 0 0,6 6 0,-4-5 0,4 5 0,1-1 0,-5-4 0,4 5 0,-6-1 0,6 2 0,-4 0 0,10 4 0,-10-4 0,10 5 0,-5 0 0,6 1 0,-5-7 0,3 5 0,-3-4 0,5 5 0,0 1 0,0-1 0,0 0 0,0 1 0,0-1 0,0 0 0,5 0 0,-4 1 0,10-7 0,-4 0 0,5-6 0,1 0 0,-1 0 0,11 0 0,25-6 0,-17 5 0,20-10 0,-37 10 0,3-5 0,-10 1 0,4 3 0,-4-3 0,5-1 0,0 5 0,-5-10 0,4 9 0,-9-9 0,3 5 0,0-1 0,-3-4 0,3 4 0,-5-6 0,0 1 0,0-1 0,0 1 0,0 0 0,0-1 0,0 1 0,-5 5 0,-2-4 0,-6 10 0,7-10 0,-5 9 0,4-3 0,5 5 0,4 0 0,21 5 0,-14-3 0,8 3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7:47.381"/>
    </inkml:context>
    <inkml:brush xml:id="br0">
      <inkml:brushProperty name="width" value="0.035" units="cm"/>
      <inkml:brushProperty name="height" value="0.035" units="cm"/>
    </inkml:brush>
  </inkml:definitions>
  <inkml:trace contextRef="#ctx0" brushRef="#br0">651 24 24575,'-12'-3'0,"3"2"0,-10-6 0,10 6 0,-7-3 0,8 4 0,0 0 0,0-3 0,0 2 0,0-3 0,0 4 0,-7 0 0,5 0 0,-22 0 0,19 0 0,-20 0 0,23 0 0,-8 4 0,9-3 0,-10 2 0,9-3 0,-5 0 0,7 0 0,0 0 0,0 0 0,-32 0 0,24 0 0,-56 0 0,63 0 0,-22 0 0,39 0 0,7 0 0,-6 0 0,42 4 0,-35-3 0,45 2 0,-48-3 0,44 4 0,-41-3 0,66 2 0,-64-3-6784,68 0 6784,-69 0 0,26 0 0,11 0 0,18 0 0,-5 0 0,33 0 0,-83 0 0,65 0 0,-65 0 0,58 0 0,-59 0-1716,27-3 1716,-34 2 5686,2-3-5686,-3 4 0,0 0 0,0 0 0,7 0 0,-5 0 0,5 0 0,25 0 0,-25 0 2531,25 0-2531,14 0-6501,8 0 6501,2 0-3368,29 0 3368,-75 0-3421,68 0 3421,-70 0-2288,59 0 2288,-59 0 1992,56-3-1992,-56 2 0,44-3 0,-46 4 0,15 0 2156,-21 0-2156,0 0 4342,0 0-4342,0 0 6494,-1 0-6494,1 0 0,22 0 0,-17 0 0,30-3 0,-32 2 0,26-3 0,-26 4 877,11 0-877,-14 0 0,0 0 0,0 0 0,7 0 0,-5 0 0,26 0 0,-23 0 0,20 0 0,-25 0 0,4 0 0,-4 0 0,0 0 0,0 0 0,0 0 0,0 0 0,28 4 0,-21-3 0,49 2 0,-49-3 0,25 0 0,-31 0 0,2 0 0,-3 0 0,4 0 0,-4 0 0,4 0 0,-4 0 0,0 0 0,0 0 0,0 0 0,-1 0 0,1 0 0,4 0 0,-7 4 0,-1-4 0,-5 8 0,-6-4 0,2 0 0,1 3 0,-7-2 0,6-1 0,-28 14 0,19-15 0,-19 15 0,25-17 0,-15 9 0,13-8 0,-9 9 0,11-10 0,0 6 0,0-6 0,0 2 0,3 1 0,-2-3 0,3 2 0,-4-3 0,0 4 0,0-3 0,-7 2 0,5-3 0,-9 4 0,10-4 0,-9 4 0,8-4 0,-20 0 0,19 0 0,-36 0 0,32 0 0,-42-4 0,42 4 0,-46-8 0,46 8 0,-47-4 0,48 4 0,-37-4 0,39 4 0,-28-4 0,28 4 0,-35 0 0,33 0 0,-37-4 0,38 3 0,-27-2 0,29 3 0,-26 0 0,26 0 0,-22 0 0,22 0 0,-15-4 0,17 3 0,-21-2 0,19 3 0,-22 0 0,22 0 0,-8 0 0,11 0 0,0 0 0,-3 0 0,2 0 0,-3 0 0,-3 0 0,5 0 0,-19 0 0,17 0 0,-28 0 0,28 0 0,-25 0 0,27 0 0,-23 3 0,21-2 0,-28 6 0,27-6 0,-16 3 0,20-4 0,-2 0 0,3 0 0,-8 3 0,7-2 0,-24 6 0,20-6 0,-30 6 0,30-6 0,-34 3 0,34-4 0,-31 3 0,36 2 0,-35 2 0,33-2 0,-23-2 0,25-3 0,-4 0 0,4 0 0,-7 4 0,5-3 0,-26 2 0,22-3 0,-15 0 0,3 4 0,13-3 0,-34 2 0,34-3 0,-31 0 0,33 0 0,-26 0 0,15 0 0,-3 0 0,-4 0 0,18 0 0,-18 0 0,18 0 0,-11 0 0,13 0 0,-3-3 0,-3 2 0,5-3 0,-5 4 0,-11 0 0,14 0 0,-32 0 0,32 0 0,-21 0 0,23 0 0,-12 0 0,12 0 0,-16 0 0,15 0 0,-7 0 0,10 0 0,-15 0 0,12 0 0,-29 0 0,27 0 0,-12 0 0,20-3 0,1-2 0,8-3 0,0 4 0,4-3 0,0 6 0,21-13 0,-19 7 0,22-4 0,-27 7 0,17 1 0,-15-2 0,18 1 0,-19 0 0,9 4 0,-7 0 0,0 0 0,0 0 0,0 0 0,0 0 0,3 0 0,-2 0 0,13 0 0,-11 0 0,14-3 0,-15 2 0,12-3 0,-12 4 0,12 0 0,-13 0 0,17 0 0,-15 0 0,18 0 0,-19 0 0,30 0 0,-27 0 0,41 0 0,-40 0 0,47 0 0,-46 4 0,49-3 0,-49 2 0,50 1 0,-50-4 0,49 4 0,-49-4 0,50 0 0,-50 0 0,52 0 0,-51 0 0,28 0 0,-32 0 0,0 0 0,0 0 0,-4 0 0,0 0 0,3 0 0,-2 0 0,41 0 0,-32 0-6784,71 0 6784,-71 0-1408,61 0 1408,-64 0 0,49 0 0,-49 0-1013,53-4 1013,-52 4 0,48-4 0,-50 4 0,19 0 0,-25 0 0,18 0 5585,-14 0-5585,14 0 1931,-19 0-1931,1 0 1689,0 0-1689,0 0 0,0 0 0,21 0 0,-15 0 0,36 0 0,-37 0 0,41-4 0,-40 4 0,40-4 0,-41 4 0,20 0 0,-25 0 0,4 0 0,-4 0 0,0 0 0,3 0 0,-2 0 0,31 0 0,-25 0 0,39 0 0,-42 0 0,13 0 0,-17 0 0,0 0 0,-3-4 0,2 4 0,-3-4 0,4 4 0,7-4 0,-5 4 0,8-4 0,-9 4 0,10 0 0,-13-4 0,19 3 0,-18-2 0,18 3 0,-15 0 0,8 0 0,-9 0 0,3 0 0,-4 0 0,3 0 0,-2 0 0,2 0 0,11 0 0,-10 0 0,24 3 0,-24-2 0,13 3 0,-16-4 0,2 0 0,1 0 0,-3 0 0,2 0 0,1 0 0,-4 0 0,4 0 0,-11 0 0,-6 0 0,-4 0 0,-2 0 0,3 0 0,-11 0 0,8 0 0,-25 7 0,23-5 0,-34 8 0,34-9 0,-38 3 0,38-4 0,-20 0 0,24 0 0,-3 0 0,4 0 0,0 0 0,0 0 0,-10-4 0,7 3 0,-11-2 0,13 3 0,-3 0 0,4 0 0,0 0 0,0 0 0,7 0 0,2-4 0,7 3 0,28-6 0,-21 6 0,46-9 0,-43 8 0,8-5 0,-23 7 0,-11 0 0,-15-4 0,8 3 0,-47-2 0,41 3-6784,-69 3 6784,71-2 0,-39 3-406,48-4 406,-5 0 0,7 0 0,0 0 0,0 0 0,0 0 0,-4 0 6583,11 0-6583,-2 0 607,11 0-607,0 0 0,0 0 0,0 0 0,3 0 0,-2 0 0,31 0 0,-25 0 0,56 0 0,-54 0 0,30 0 0,-39 0 0,7 0 0,-6 0 0,6 0 0,-13 0 0,1 0 0,-11 0 0,-4 0 0,3 0 0,-13 0 0,8 3 0,-24 1 0,22 1 0,-10-2 0,18-3 0,7 0 0,6 0 0,4 0 0,2 0 0,-3 0 0,25-3 0,-19 2 0,47-6 0,-46 6 0,35-3 0,-46 4 0,9 0 0,-24 0 0,-12 0 0,8 0 0,-8 0 0,-24 0 0,26 0 0,-67 4 0,67-3-6784,-76 6 6784,77-6-761,-32 1 1,-1-1 760,27-1-4033,-70 0 4033,71 0-1324,-57 0 1324,65 0 2713,-48 0-2713,51 0 0,-33 0 0,35 0 1191,-46 0-1191,-1 0 312,8 0-312,1 0 2142,6 0-2142,-5 4-2957,-3-3 2957,12 2-326,14-3 326,18 4 4483,-28-3-4483,18 2 0,-3-3 0,-12 0 0,21 0 0,-24 4 0,24-3 5452,-10 2-5452,-8 1 0,17-4 652,-48 4-652,16-4 0,-2 0 0,-11 4 0,45-4 0,-31 4 0,33-4 0,-26 0 0,25 0 0,-28 0 0,28 0 0,-32 0 0,35 3 0,-26-2 0,28 3 0,-16-4 0,14 0 0,-2 0 0,3 0 0,0 0 0,0 0 0,0 0 0,0 0 0,-11 3 0,8-2 0,-46 3 0,39-4 0,-29 0 0,39 0 0,0 3 0,0-2 0,0 3 0,-1-4 0,1 0 0,0 0 0,0 0 0,0 0 0,8 0 0,4 0 0,5 0 0,2 0 0,-3 0 0,32-4 0,-24 0 0,16-1 0,-33 2 0,-7 3 0,0 0 0,0 0 0,-28-4 0,21 3 0,-43-2 0,44 3 0,-19 0 0,25 0 0,3-4 0,6 3 0,7-2 0,0 3 0,0 0 0,21-4 0,-16 3 0,16-2 0,0 3 0,-15 0 0,36 0 0,-37 0 0,20-4 0,-32 3 0,2-2 0,-11 3 0,0 0 0,0 0 0,-14 0 0,10 0 0,-21 0 0,22 0 0,0 0 0,12 0 0,7 0 0,0 3 0,0-2 0,21 3 0,-16-4 0,30 0 0,-31 0 0,6-4 0,-7 3 0,-13-2 0,4 3 0,-10 0 0,-10 0 0,11-4 0,-25 3 0,24-2 0,-29 3 0,25 0 0,-20-4 0,21 3 0,-8-2 0,15-1 0,-3 3 0,9-2 0,-1 3 0,7 0 0,-4-4 0,10 3 0,-7-2 0,29-1 0,-23 3 0,48-6 0,-45 6 0,41-2 0,-45 3 0,7 0 0,-20 0 0,-11 0 0,4 0 0,-4 0 0,4 0 0,0 0 0,-11 0 0,9 0 0,-27 0 0,25 0 0,-36 0 0,35 0 0,-16 0 0,21 0 0,7 0 0,5 3 0,5-2 0,6 2 0,-6-3 0,2 0 0,-3 0 0,0 0 0,0 0 0,0 0 0,0 0 0,0 0 0,0 0 0,0 0 0,0 0 0,17 0 0,-9 0 0,25 0 0,-33 0 0,5 0 0,-21 0 0,0 0 0,0 0 0,0 0 0,0 0 0,7 0 0,-2 0 0,7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6:41.814"/>
    </inkml:context>
    <inkml:brush xml:id="br0">
      <inkml:brushProperty name="width" value="0.035" units="cm"/>
      <inkml:brushProperty name="height" value="0.035" units="cm"/>
    </inkml:brush>
  </inkml:definitions>
  <inkml:trace contextRef="#ctx0" brushRef="#br0">12 17 24575,'-6'5'0,"0"2"0,6 33 0,0-21 0,0 21 0,0-28 0,0 0 0,6-5 0,-5 4 0,10-10 0,-10 10 0,10-9 0,-4 3 0,5-5 0,1 0 0,-7-6 0,5 5 0,-9-10 0,3 4 0,1 0 0,-5-4 0,4 4 0,-5-5 0,6 0 0,-5-1 0,10 6 0,-10-4 0,5 4 0,-1 0 0,-3-4 0,3 5 0,1-1 0,-5-4 0,4 4 0,1 0 0,1 1 0,0 12 0,-2 1 0,1-1 0,-5 5 0,4-4 0,-5 5 0,6 6 0,1-10 0,-1 9 0,5-10 0,-4 10 0,0-3 0,9 9 0,-7-15 0,3 9 0,-1-16 0,-10 10 0,5-4 0,-1 5 0,2-5 0,0 4 0,-2-15 0,-5 2 0,0-10 0,6 5 0,-5-4 0,10-1 0,-10-2 0,5-4 0,-1 6 0,-3-1 0,3 1 0,-5-1 0,6 1 0,-5 0 0,4-1 0,1 1 0,-5-1 0,5 1 0,-6 0 0,5 5 0,-4-4 0,10 9 0,-4-3 0,0 5 0,-2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6:54.680"/>
    </inkml:context>
    <inkml:brush xml:id="br0">
      <inkml:brushProperty name="width" value="0.035" units="cm"/>
      <inkml:brushProperty name="height" value="0.035" units="cm"/>
      <inkml:brushProperty name="color" value="#004F8B"/>
    </inkml:brush>
  </inkml:definitions>
  <inkml:trace contextRef="#ctx0" brushRef="#br0">782 106 24575,'-7'-5'0,"-4"3"0,5-3 0,-1-1 0,-4 5 0,4-5 0,-17-5 0,-13 3 0,8-4 0,-5 6 0,21 1 0,1 3 0,-6-3 0,4 5 0,-9-6 0,9 5 0,-4-5 0,6 6 0,-1 0 0,1 0 0,-1 0 0,1 0 0,-6 0 0,-1 0 0,0 0 0,1 0 0,-11 0 0,12 6 0,-23-5 0,25 5 0,-8-6 0,10 0 0,1 0 0,5 5 0,-4-3 0,4 3 0,-5-5 0,5 5 0,-4-3 0,4 3 0,-6-5 0,1 6 0,0-5 0,5 10 0,-4-10 0,4 5 0,0-1 0,1 2 0,1 0 0,3 4 0,-3-4 0,5 5 0,-6-5 0,5 4 0,-4-4 0,-1 5 0,5 0 0,-10 0 0,9 1 0,-3-1 0,5 0 0,0 1 0,-6-1 0,5 0 0,-5 0 0,6 1 0,0-1 0,0 0 0,0 1 0,-5-1 0,3 0 0,-3 0 0,5 1 0,0 4 0,0-3 0,5 9 0,2-15 0,0 14 0,4-19 0,-4 19 0,0-14 0,4 10 0,-5-11 0,7 9 0,-1-13 0,-5 13 0,4-15 0,1 16 0,2-9 0,25 10 0,-26-6 0,41 0 0,-42-5 0,44 4 0,-38-10 0,38 10 0,-38-9 0,21 3 0,-25 1 0,9-5 0,-9 4 0,4-5 0,-6 0 0,0 0 0,0 0 0,1 0 0,-1 0 0,6-5 0,-5 4 0,11-10 0,-11 9 0,10-9 0,-9 10 0,4-5 0,-11 1 0,4 3 0,-5-3 0,7 5 0,-6-6 0,3 5 0,-3-10 0,6 4 0,-7-5 0,11-1 0,-9 6 0,4-4 0,-1 10 0,-4-10 0,5 10 0,-5-10 0,-1 4 0,-1 0 0,-4-4 0,5 4 0,-1 0 0,-3-4 0,3 4 0,1 0 0,-5-4 0,4 4 0,-5-5 0,0-1 0,0 1 0,0 0 0,0-1 0,0 1 0,0-1 0,0 1 0,0 0 0,0-1 0,6 1 0,-5-1 0,5 1 0,-6 0 0,0-1 0,0 1 0,0-1 0,0 1 0,0 0 0,0-1 0,-6 6 0,5-4 0,-5 4 0,1 0 0,3-4 0,-9 10 0,10-10 0,-10 10 0,10-10 0,-10 9 0,9-9 0,-9 10 0,4-10 0,-5 9 0,5-9 0,-4 5 0,4-1 0,-5-4 0,5 4 0,-10-6 0,9 6 0,-10-4 0,6 10 0,-1-10 0,1 10 0,5-10 0,1 9 0,6-3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7:00.524"/>
    </inkml:context>
    <inkml:brush xml:id="br0">
      <inkml:brushProperty name="width" value="0.035" units="cm"/>
      <inkml:brushProperty name="height" value="0.035" units="cm"/>
      <inkml:brushProperty name="color" value="#008C3A"/>
    </inkml:brush>
  </inkml:definitions>
  <inkml:trace contextRef="#ctx0" brushRef="#br0">77 109 24575,'12'0'0,"0"0"0,-5-6 0,15-1 0,-12 1 0,13 0 0,-11 6 0,0 0 0,1 0 0,-1-5 0,11 3 0,-8-3 0,-3 5 0,-13 0 0,-11 0 0,5 5 0,-4 2 0,9 5 0,-9-5 0,10 4 0,-10-10 0,4 5 0,0-1 0,-4-3 0,10 8 0,-10-8 0,9 9 0,-9-10 0,10 10 0,-5-4 0,1 0 0,3 4 0,-3-5 0,-1 1 0,5 4 0,-4-4 0,5 5 0,-6-5 0,5 4 0,-10-10 0,4 5 0,-6-6 0,1 0 0,0 0 0,-1 0 0,6-6 0,-9-1 0,7 1 0,-3-5 0,7 4 0,5-6 0,0 1 0,0-1 0,5 1 0,-4 0 0,10 5 0,-9-4 0,9 9 0,-10-9 0,4 4 0,6-5 0,-8 0 0,8-1 0,-6 6 0,-3-4 0,3 4 0,1 1 0,-5-5 0,10 9 0,-10-9 0,10 10 0,-4-5 0,0 1 0,4 3 0,-4-3 0,5 5 0,-5-6 0,4 5 0,-10 1 0,4 7 0,-5 5 0,-5-5 0,4 4 0,-5-4 0,1-1 0,3 5 0,-20 18 0,13-11 0,-9 16 0,7-27 0,4-2 0,0 1 0,-4-5 0,4 4 0,0 1 0,-4-5 0,15 5 0,-8-12 0,15 5 0,-10-10 0,10 9 0,-4-9 0,11-1 0,-5 4 0,5-3 0,-11 5 0,4 5 0,-10-5 0,5 6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7:02.841"/>
    </inkml:context>
    <inkml:brush xml:id="br0">
      <inkml:brushProperty name="width" value="0.035" units="cm"/>
      <inkml:brushProperty name="height" value="0.035" units="cm"/>
      <inkml:brushProperty name="color" value="#008C3A"/>
    </inkml:brush>
  </inkml:definitions>
  <inkml:trace contextRef="#ctx0" brushRef="#br0">15 35 24575,'12'5'0,"-5"2"0,4 0 0,-10 4 0,10-4 0,-10 5 0,10 0 0,-9 0 0,3 1 0,-5-1 0,0 0 0,0 1 0,0-1 0,0 0 0,0 0 0,-5-5 0,3 4 0,-3-4 0,-1 0 0,5 4 0,-5-5 0,1 1 0,4 4 0,-11-9 0,11 9 0,-4-16 0,5 4 0,0-11 0,0-1 0,5 1 0,-4-1 0,5 1 0,5-17 0,-8 12 0,7-11 0,-4 15 0,-5 1 0,5-1 0,-6 1 0,5 5 0,-3-4 0,3 4 0,0-5 0,-3-1 0,9 6 0,-10-4 0,5 4 0,-12 1 0,5 6 0,-10 1 0,9 10 0,-9 1 0,10 2 0,-10 9 0,9-9 0,-9-2 0,10-1 0,-4-4 0,5 5 0,-6-5 0,5 4 0,-10-5 0,9 7 0,-3-1 0,-1-5 0,5 4 0,-10-10 0,9-1 0,-3-7 0,5-5 0,0-1 0,0 1 0,0 0 0,5-1 0,2 6 0,0-4 0,4 10 0,-10-10 0,10 10 0,-9 0 0,3 14 0,-5-5 0,0 3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17:08.218"/>
    </inkml:context>
    <inkml:brush xml:id="br0">
      <inkml:brushProperty name="width" value="0.035" units="cm"/>
      <inkml:brushProperty name="height" value="0.035" units="cm"/>
      <inkml:brushProperty name="color" value="#008C3A"/>
    </inkml:brush>
  </inkml:definitions>
  <inkml:trace contextRef="#ctx0" brushRef="#br0">47 257 24575,'7'6'0,"-2"0"0,1 1 0,-5 4 0,5-4 0,-6 5 0,0 1 0,0-1 0,-6 0 0,5 0 0,-10-5 0,9 4 0,-9-9 0,10-2 0,-10-2 0,9-9 0,-3 4 0,5-5 0,0-1 0,0 1 0,0 0 0,0-1 0,0 1 0,0-1 0,0 1 0,0 0 0,5 5 0,-3-4 0,9 9 0,-4-3 0,5-1 0,0 5 0,0-5 0,1 6 0,-1 0 0,0 0 0,1 0 0,-1 0 0,0 0 0,-5 6 0,4 1 0,-4 0 0,-1 3 0,0-3 0,-6 6 0,0-1 0,-6-5 0,5 4 0,-10-10 0,4 4 0,0 1 0,-4 1 0,4 0 0,0 3 0,7-8 0,7 3 0,6-5 0,-1 0 0,0 0 0,0 0 0,-5 6 0,4-5 0,-4 5 0,5-6 0,0 0 0,1 0 0,-1 0 0,0 0 0,1 0 0,-1 0 0,-5 5 0,-7-4 0,-7 5 0,-6-6 0,1 0 0,0 0 0,-1 0 0,6-6 0,-4 5 0,4-5 0,0 1 0,-4 4 0,10-10 0,-10 9 0,10-9 0,-5 4 0,1 0 0,3-4 0,-9 4 0,4 1 0,0-6 0,2 6 0,-1-1 0,5-4 0,-10 9 0,4-3 0,-5 10 0,-1-3 0,1 3 0,5 1 0,-4-5 0,4 10 0,-5-10 0,5 10 0,-10 1 0,9-3 0,-4 12 0,1-18 0,15 8 0,-8-16 0,14 3 0,-8-9 0,9 10 0,-4-10 0,-1 4 0,11-11 0,-9 10 0,10-9 0,-6 10 0,0 0 0,1 2 0,-1-1 0,0 5 0,0-5 0,-5 1 0,-1-2 0,-1 0 0,-3-4 0,8 10 0,-8-10 0,9 9 0,-4-3 0,5 5 0,-5 5 0,-2 2 0,1 0 0,-5 4 0,4 1 0,-5 2 0,0 4 0,-5-6 0,-2 0 0,-5 0 0,5 1 0,-4-6 0,4 9 0,0-8 0,1 10 0,6-17 0,0-2 0,0-12 0,6 1 0,1 5 0,0-4 0,20-7 0,-16 3 0,12-9 0,-12 18 0,-10 6 0,5 6 0,-6 7 0,0-1 0,-6-5 0,-1 9 0,0-8 0,-4 5 0,10-2 0,-10-10 0,10-1 0,-10-2 0,9-9 0,-3 5 0,5-7 0,0-5 0,0 4 0,5-9 0,-4 9 0,16-9 0,-14 9 0,8-4 0,-6 11 0,-4-4 0,10 4 0,-4-11 0,0 5 0,4 0 0,-4 8 0,-1 10 0,5-3 0,-9 8 0,3-3 0,12 38 0,-8-13 0,9 21 0,-7-34 0,-10 3 0,5-14 0,-12 4 0,-1-6 0,0-12 0,-4-1 0,10-5 0,-5 0 0,-5-12 0,3 9 0,-4-19 0,6 18 0,6-7 0,0 11 0,0-6 0,0 4 0,6-4 0,-5 6 0,10-1 0,-10 1 0,5-1 0,-1 6 0,-3-4 0,3 5 0,-5-7 0,6 6 0,0 2 0,7 5 0,-7 5 0,0 2 0,-6 5 0,0 6 0,-6-10 0,5 9 0,-4-11 0,-1 1 0,-1-1 0,-5-6 0,-1 5 0,1-3 0,5 9 0,2-5 0,5 7 0,-6-7 0,5 5 0,-5-4 0,1 5 0,3 1 0,-9-1 0,10 0 0,-10-5 0,9 4 0,-9-10 0,10 10 0,-10-9 0,10 9 0,-5-5 0,6 7 0,0-1 0,-5-5 0,3 4 0,-3-4 0,5 5 0,-6 0 0,5 0 0,-5 1 0,1-6 0,9-2 0,-14-5 0,14-5 0,-15 3 0,-12-9 0,1 10 0,-9-5 0,14 6 0,4 0 0,1 0 0,5-5 0,7 3 0,7-3 0,5 5 0,0 0 0,0 0 0,1 0 0,-1 0 0,0 0 0,1 5 0,-1-3 0,0 3 0,0 1 0,1-5 0,10 10 0,-8-10 0,3-1 0,-7-1 0,-5-10 0,1 4 0,4 0 0,-9-4 0,3 4 0,1 0 0,-5-4 0,4 4 0,1 0 0,-10 7 0,8 7 0,-15 0 0,9 4 0,-9-4 0,10 5 0,-10-5 0,4-2 0,-5-5 0,-1 0 0,1 0 0,-1 0 0,7 6 0,-6-5 0,6 5 0,-1-1 0,-4-4 0,15 5 0,-8-6 0,9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3:45.367"/>
    </inkml:context>
    <inkml:brush xml:id="br0">
      <inkml:brushProperty name="width" value="0.035" units="cm"/>
      <inkml:brushProperty name="height" value="0.035" units="cm"/>
      <inkml:brushProperty name="color" value="#004F8B"/>
    </inkml:brush>
  </inkml:definitions>
  <inkml:trace contextRef="#ctx0" brushRef="#br0">701 0 24575,'-4'0'0,"0"0"0,0 0 0,1 0 0,-1 0 0,-3 0 0,2 0 0,-5 0 0,5 0 0,-9 0 0,9 0 0,-14 0 0,13 0 0,-13 0 0,14 0 0,-11 0 0,11 0 0,-10 0 0,10 0 0,-11 0 0,11 0 0,-7 0 0,7 0 0,-5 0 0,5 0 0,-3 0 0,3 0 0,0 2 0,1-2 0,0 2 0,1-2 0,-3 0 0,2 0 0,-1 0 0,-1 0 0,2 0 0,-3 0 0,1 0 0,-5 0 0,4 0 0,-5 0 0,8 0 0,-7 0 0,7 0 0,-7 0 0,7 2 0,-3-2 0,3 2 0,0-2 0,-1 0 0,0 0 0,0 0 0,1 0 0,0 0 0,-4 0 0,3 0 0,-9 0 0,9 0 0,-7 0 0,7 0 0,-7 0 0,7 0 0,-4 0 0,6 0 0,-1 0 0,0 0 0,0 0 0,2 1 0,-3 0 0,3 0 0,-9-1 0,4 0 0,-8 0 0,7 0 0,-2 0 0,6 0 0,1 0 0,-3 0 0,2 0 0,-2 0 0,1 0 0,1 0 0,-3 0 0,3 0 0,-5 0 0,4 0 0,-4 0 0,5 0 0,-1 0 0,1 0 0,0 0 0,2 2 0,-1-2 0,1 2 0,0 0 0,-2-2 0,4 3 0,-3-2 0,2 2 0,-2-2 0,2 2 0,-2-3 0,3 4 0,-2-2 0,2 1 0,0 1 0,0 0 0,0 0 0,0-1 0,0 1 0,0 0 0,0-1 0,0 1 0,-2-2 0,2 2 0,-2-2 0,2 1 0,0 1 0,0 0 0,-1-2 0,0 1 0,-1-4 0,4-1 0,0-1 0,0-2 0,0 3 0,0-2 0,-2 1 0,2-1 0,-2 0 0,0 4 0,-2-1 0,2 4 0,-4-3 0,4 4 0,-2-2 0,0 0 0,2 1 0,-3 2 0,2 0 0,-2 0 0,3-1 0,-2-2 0,0 3 0,2-1 0,-2 3 0,2-3 0,-2 5 0,2-4 0,-3 3 0,2-4 0,-2 4 0,2-4 0,0 4 0,1-3 0,-2 5 0,2-5 0,-2 2 0,2-3 0,-2-2 0,2 1 0,-2-1 0,2 2 0,-1-2 0,0 8 0,-2-8 0,1 14 0,0-12 0,-2 11 0,2-11 0,-2 7 0,2-8 0,1 4 0,1-3 0,-2 3 0,2-2 0,-2 3 0,2-4 0,0 3 0,0-2 0,0 2 0,0-3 0,0 3 0,0-3 0,0 1 0,0-1 0,0 1 0,0 0 0,0 2 0,0-3 0,2 6 0,0-7 0,1 11 0,-1-11 0,2 7 0,-4-6 0,3 3 0,-2-2 0,1 0 0,-2-1 0,1-1 0,0 1 0,2 0 0,-3 0 0,4 1 0,-2-3 0,0 5 0,1-6 0,-2 6 0,2-7 0,-1 7 0,0-5 0,1 5 0,-1-4 0,0 2 0,2-3 0,-4 2 0,3-1 0,-2 1 0,2-2 0,-2 2 0,2-4 0,-3 3 0,4-1 0,-4 2 0,5 0 0,-4 0 0,4-1 0,-3-1 0,2 3 0,-1-4 0,1 4 0,0-4 0,-2 2 0,3-1 0,-4 2 0,5-1 0,-3-1 0,0 2 0,1-4 0,-2 3 0,0 0 0,1-1 0,-1-1 0,0 1 0,2-2 0,-4 4 0,3-4 0,-2 2 0,0-2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3:41.919"/>
    </inkml:context>
    <inkml:brush xml:id="br0">
      <inkml:brushProperty name="width" value="0.035" units="cm"/>
      <inkml:brushProperty name="height" value="0.035" units="cm"/>
      <inkml:brushProperty name="color" value="#004F8B"/>
    </inkml:brush>
  </inkml:definitions>
  <inkml:trace contextRef="#ctx0" brushRef="#br0">606 34 24575,'-2'-1'0,"-1"0"0,0 0 0,0 1 0,1-2 0,-2 1 0,2 0 0,-2 1 0,2-2 0,-1 2 0,-4-4 0,2 4 0,-4-2 0,5 2 0,1 0 0,1-1 0,-2 0 0,2-1 0,-3 2 0,0 0 0,-3-1 0,-2 0 0,0-2 0,1 3 0,3-2 0,3 2 0,-1 0 0,2-2 0,-2 2 0,2-2 0,-1 2 0,-3 0 0,2 0 0,-1 0 0,1 0 0,0-1 0,0 0 0,-1-1 0,1 2 0,-2 0 0,2 0 0,1 0 0,-1 0 0,0 0 0,0 0 0,1 0 0,-1 0 0,0 0 0,0 0 0,1 0 0,-3 0 0,2 0 0,-3 0 0,3 0 0,-5 0 0,4 0 0,-5 2 0,5-2 0,-3 2 0,3-2 0,-2 0 0,3 0 0,-3 0 0,3 0 0,-2 0 0,3 0 0,-1 0 0,0 2 0,0-2 0,1 2 0,-1-2 0,-3 0 0,2 0 0,-2 0 0,3 0 0,0 0 0,2 2 0,-4-2 0,3 2 0,-6-2 0,5 0 0,-2 0 0,3 0 0,-1 0 0,0 0 0,0 0 0,-1 0 0,1 0 0,-2 0 0,-2 0 0,3 0 0,-4 0 0,5 0 0,0 0 0,0 0 0,-3 0 0,3 0 0,-3 1 0,3 0 0,0 0 0,0-1 0,1 0 0,-1 0 0,0 0 0,0 2 0,1-2 0,-1 2 0,0-2 0,2 2 0,-1-2 0,1 3 0,-2-2 0,0 0 0,2 1 0,-1-1 0,0 0 0,0-1 0,-1 0 0,0 2 0,0-2 0,1 2 0,-1-2 0,0 2 0,0-2 0,1 2 0,-1-2 0,0 0 0,2 1 0,-1 0 0,1 0 0,-2-1 0,2 2 0,-2-2 0,2 2 0,0 0 0,-1-2 0,1 2 0,0 0 0,-2-2 0,2 2 0,0-2 0,0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03.308"/>
    </inkml:context>
    <inkml:brush xml:id="br0">
      <inkml:brushProperty name="width" value="0.035" units="cm"/>
      <inkml:brushProperty name="height" value="0.035" units="cm"/>
      <inkml:brushProperty name="color" value="#004F8B"/>
    </inkml:brush>
  </inkml:definitions>
  <inkml:trace contextRef="#ctx0" brushRef="#br0">41 107 24575,'4'-4'0,"-2"-1"0,-1 3 0,1 0 0,-1-2 0,0 2 0,1-1 0,-2-1 0,2 0 0,-2 0 0,0 0 0,2 2 0,-2-1 0,2 1 0,-1 0 0,0-1 0,0 0 0,-1 0 0,2-1 0,-2 0 0,2 0 0,-2 1 0,2 1 0,-2-2 0,2 2 0,-2-2 0,0 1 0,1 0 0,0 0 0,2 1 0,-2-2 0,2 2 0,-3-1 0,2 4 0,-4 1 0,2 2 0,-3 2 0,2-3 0,-2-1 0,2 2 0,-2-2 0,3 2 0,-4-2 0,4 3 0,-3-3 0,0 7 0,1-5 0,-1 5 0,1-6 0,-2 6 0,2-5 0,-1 4 0,2-2 0,-2-2 0,3 1 0,-4 1 0,2-2 0,0 1 0,0-1 0,1-2 0,0 3 0,-2-3 0,2 4 0,-2-1 0,3-1 0,-4 2 0,4-2 0,-2-1 0,2 1 0,-1-2 0,0 5 0,-2-1 0,2 2 0,0 0 0,1-3 0,0 2 0,0-3 0,0 1 0,0-1 0,0 0 0,0-1 0,0 1 0,0 0 0,0-1 0,0 1 0,0 0 0,0 0 0,0-1 0,0 3 0,0-2 0,1 3 0,0-3 0,2 3 0,-2-3 0,2 2 0,-3-3 0,2 1 0,0-2 0,-2 1 0,2 0 0,-1 0 0,0 1 0,2 0 0,-3-1 0,4 1 0,-4 0 0,5 1 0,-4-1 0,6 3 0,-5-4 0,3 5 0,-1-7 0,2 8 0,-4-7 0,6 5 0,-5-4 0,6 3 0,-5-5 0,0 4 0,-1-4 0,-2 2 0,2-3 0,-1 2 0,0 0 0,1-2 0,-1 3 0,2-2 0,-2 2 0,1-3 0,0 2 0,-1 0 0,1-2 0,-1 3 0,2-2 0,1 4 0,-1-4 0,2 4 0,-3-3 0,1 0 0,0 1 0,1-1 0,-2 2 0,2-2 0,-3 0 0,0-1 0,1 0 0,-3 2 0,4-3 0,-2 2 0,0 0 0,1-2 0,-1 2 0,0-1 0,2 0 0,-2 2 0,1-2 0,1 0 0,0 1 0,0-2 0,-2 4 0,4-2 0,-1 0 0,1 1 0,0-3 0,-3 2 0,1 0 0,-1-2 0,-1 2 0,2 0 0,-1-2 0,1 2 0,-2-1 0,1 0 0,0 0 0,2 1 0,-1 0 0,1 0 0,-1 0 0,0-1 0,0 0 0,-1 2 0,1-2 0,-2 2 0,1-3 0,-1 2 0,2 0 0,2 0 0,-2 0 0,3 1 0,-3-3 0,1 4 0,-1-4 0,0 3 0,-1-2 0,1 2 0,0-2 0,1 2 0,-1-3 0,3 4 0,-2-4 0,2 2 0,-5-1 0,3 0 0,-3 0 0,2-1 0,0 0 0,-1 0 0,1 0 0,0 0 0,0 0 0,-2 2 0,1-1 0,-1 0 0,2-1 0,-1 0 0,1 0 0,0 0 0,0 0 0,-1 0 0,1 0 0,0 0 0,0 0 0,-1 0 0,1 0 0,-2-1 0,1 0 0,3-1 0,-2 2 0,3 0 0,-3 0 0,3 0 0,-2 0 0,0-1 0,-2 0 0,-1 0 0,0-1 0,2 2 0,-2-2 0,2 2 0,-2-2 0,1 2 0,-1-2 0,2 2 0,-1 0 0,3 0 0,-2 0 0,3-2 0,-3 2 0,2-3 0,-3 2 0,-1-2 0,2 3 0,-2-2 0,1 2 0,0-2 0,0 2 0,-1-2 0,2 0 0,-1 2 0,1-2 0,-2 1 0,1 0 0,0 0 0,-1-1 0,1 1 0,-3-2 0,4 3 0,-2-4 0,1 4 0,1-2 0,0 2 0,0 0 0,-1 0 0,1 0 0,0 0 0,-1 0 0,3 0 0,-5 0 0,2 2 0,-7-2 0,2 2 0,-2-2 0,1 0 0,-1 0 0,0 0 0,0 0 0,1 0 0,-1 0 0,0 0 0,0 0 0,-3 2 0,3-2 0,-7 2 0,7-2 0,-7 0 0,7 0 0,-4 0 0,5 0 0,-1 0 0,0 0 0,0 0 0,1 0 0,-1 0 0,0 0 0,0 0 0,1 0 0,-1 0 0,0 0 0,0 0 0,1 0 0,-1-2 0,0 2 0,0-2 0,0 2 0,1 0 0,1-2 0,-2 2 0,2-3 0,-2 2 0,-1-2 0,1 2 0,0-2 0,1 3 0,2 0 0,0 2 0,-1 0 0,2 1 0,-2-1 0,0 0 0,2 2 0,-2-2 0,0 0 0,2 1 0,-3-1 0,1 2 0,-1-1 0,-2 1 0,3-2 0,-3 0 0,1-2 0,2 2 0,-2-2 0,2 2 0,-2-2 0,-1 0 0,1 0 0,-2 0 0,3 0 0,-1 0 0,0 0 0,0 0 0,1 0 0,-1 0 0,0 0 0,0 0 0,1 0 0,-1 0 0,0 0 0,0 0 0,1 0 0,-1 0 0,-2 0 0,4-2 0,-5 2 0,1-4 0,0 4 0,-1-2 0,3 2 0,2-2 0,-1 2 0,1-2 0,-2 2 0,0 0 0,-1-1 0,1 0 0,-5 0 0,4 1 0,-4-2 0,5 2 0,0-4 0,1 4 0,1-2 0,-2 2 0,0-2 0,1 2 0,-6-3 0,4 2 0,-11-2 0,11 2 0,-9-2 0,10 3 0,-3-4 0,3 4 0,2-3 0,-2 2 0,2 0 0,-2 1 0,1 0 0,1-2 0,-2 1 0,2 0 0,-2-1 0,1 2 0,-1-2 0,2 0 0,-2 2 0,-3-5 0,1 2 0,-3-2 0,3 1 0,2 0 0,1 2 0,-5-4 0,4 4 0,-2-4 0,3 5 0,1-4 0,-2 4 0,2-4 0,-1 5 0,1-5 0,0 2 0,-2-2 0,4 1 0,-7-3 0,6 3 0,-6-4 0,5 6 0,-2-3 0,2 3 0,-1-4 0,1 3 0,0-3 0,0 2 0,0 0 0,2 1 0,-2 1 0,2-2 0,0 0 0,0 1 0,0-1 0,0 0 0,2 2 0,-2-1 0,2 1 0,-2-2 0,0 0 0,0 0 0,0 1 0,0-1 0,0 0 0,0 0 0,0 0 0,0 1 0,0-1 0,0 0 0,0 0 0,0 1 0,0-1 0,0 0 0,0 0 0,2 2 0,-2 2 0,2 2 0,-2 2 0,0 0 0,3 3 0,-2-3 0,2 3 0,-3-3 0,2-2 0,-2 2 0,2-2 0,-2 1 0,0 1 0,0 0 0,-2-2 0,0-1 0,-2-1 0,1 0 0,-1 0 0,0 2 0,0-1 0,1 0 0,-1-1 0,0 0 0,2 2 0,-1-2 0,-1 4 0,1-2 0,-2 0 0,5 1 0,-2-1 0,2 2 0,0 0 0,0-1 0,0 1 0,0 0 0,4 4 0,-4-3 0,9 9 0,-6-9 0,7 9 0,-5-11 0,0 5 0,0-4 0,-4-3 0,2 0 0,-3-5 0,0 1 0,0-1 0,0-7 0,2 1 0,-2-4 0,2 5 0,-2 1 0,0 3 0,0-11 0,0 11 0,-2-9 0,2 10 0,-2-2 0,2 2 0,0 1 0,0-1 0,0 0 0,0 0 0,0 1 0,2 1 0,-2-2 0,2 2 0,-1 0 0,0-1 0,2 2 0,-3 1 0,4 1 0,-4 2 0,4-1 0,-2 0 0,6 6 0,-3-6 0,2 6 0,-3-7 0,-4 2 0,3-3 0,-2 4 0,2-2 0,-1 0 0,0 1 0,2-1 0,-2 2 0,3 0 0,-3-1 0,3 0 0,-4 0 0,2-3 0,-1 4 0,2-2 0,0 0 0,-2 1 0,1-1 0,-3 2 0,4-2 0,-4 1 0,3-2 0,-2 2 0,2-3 0,1 7 0,0-6 0,6 9 0,-5-9 0,4 6 0,-7-5 0,1 0 0,0 0 0,-1-1 0,1 0 0,-1 1 0,0-1 0,1 0 0,-2 2 0,2-3 0,-1 4 0,2-4 0,-2 3 0,6 1 0,-4-1 0,9 5 0,-8-7 0,7 7 0,-9-5 0,4 1 0,-5-1 0,1-3 0,0 4 0,0-4 0,2 5 0,0-3 0,5 6 0,-5-6 0,3 5 0,-3-7 0,0 5 0,-3-3 0,3 4 0,-3-4 0,2 3 0,-1-4 0,-2 2 0,4-1 0,-4 2 0,4-2 0,-5 1 0,3-2 0,-1 0 0,1 1 0,0-2 0,-1 2 0,0 0 0,1-2 0,-4 2 0,-1-4 0,-2 2 0,-5-5 0,6 2 0,-4-1 0,5 3 0,-7-4 0,4 3 0,-10-8 0,10 9 0,-11-7 0,9 5 0,-10-7 0,9 6 0,-9-7 0,12 10 0,-2-6 0,4 6 0,-3-4 0,2 5 0,-7-7 0,8 4 0,-3 0 0,4 1 0,-2 0 0,0 0 0,-3-3 0,2 2 0,-5-3 0,7 3 0,-12-6 0,11 6 0,-8-3 0,6 4 0,2-1 0,-1 2 0,-1-1 0,4 0 0,-3 0 0,3 0 0,-2 1 0,0-1 0,0-2 0,1 2 0,-3-2 0,2 4 0,-2-3 0,4 0 0,1 0 0,1-1 0,0 0 0,0 0 0,1 2 0,1 1 0,2 1 0,0 0 0,0 0 0,3 1 0,-3 1 0,8 5 0,1 3 0,3 2 0,24 14 0,-12-7 0,8 3 0,-21-10 0,-10-9 0,-4 0 0,2-3 0,-3 4 0,2-2 0,-2 1 0,2-1 0,-2 2 0,4-4 0,-2 3 0,1-2 0,6 4 0,-4-3 0,4 2 0,-6-1 0,1-2 0,0 2 0,0-1 0,1 2 0,-1-2 0,8 5 0,-7-6 0,12 7 0,-11-7 0,3 4 0,-6-5 0,-1 2 0,2-2 0,-1 0 0,-1 2 0,2-2 0,-6 2 0,4-6 0,-6 3 0,4-4 0,-2 3 0,1 0 0,-1-4 0,-2 3 0,0-4 0,2 3 0,-1 2 0,2-2 0,-1 2 0,1 0 0,0-1 0,-4-1 0,3 0 0,-2-2 0,1 4 0,2-1 0,-2 3 0,3-4 0,-4 1 0,4-2 0,-2 0 0,0 3 0,2-2 0,-2 2 0,2-1 0,0-1 0,0 0 0,0 0 0,0 1 0,0-1 0,0 0 0,0 0 0,0 1 0,0-1 0,0 0 0,0 0 0,0 1 0,0-1 0,0-2 0,0 2 0,0-3 0,0 3 0,0-3 0,0 3 0,0-2 0,2 4 0,-2-1 0,2 1 0,-2-2 0,0 0 0,2 0 0,-2 1 0,2-1 0,-1-2 0,2 4 0,-1-3 0,1 3 0,-3-2 0,4 2 0,-4-1 0,3 2 0,-2-2 0,2 1 0,-1 0 0,0-2 0,2 4 0,-4-3 0,3 2 0,-1-1 0,2 2 0,0 0 0,-2-1 0,1 0 0,-1 0 0,2 1 0,-2 1 0,1 0 0,-2 2 0,-1 1 0,-1 0 0,-2 0 0,1 4 0,-2-6 0,0 9 0,1-10 0,-1 8 0,2-7 0,0 4 0,0-4 0,2 1 0,-2-1 0,1 2 0,0-1 0,-2 0 0,2 0 0,-2-1 0,3 2 0,-2-1 0,2 1 0,0 0 0,-2-2 0,2 3 0,-2-3 0,1 4 0,0-3 0,0 1 0,1 0 0,0-4 0,0-5 0,0 0 0,1-2 0,1 0 0,0 4 0,0-4 0,-2 3 0,2 2 0,-2-3 0,2 3 0,-1-4 0,0 2 0,0 1 0,1 1 0,-1-2 0,0 2 0,1 0 0,-2-1 0,2 1 0,0 0 0,-2-2 0,2 2 0,-1 0 0,0-1 0,2 2 0,-1 0 0,0-1 0,1 2 0,0-4 0,0 4 0,4-4 0,-2 4 0,5-3 0,-7 1 0,10-2 0,-9 2 0,13 0 0,-12 2 0,11-2 0,-11 2 0,5-2 0,-6 2 0,2 0 0,-3 0 0,1 0 0,0 0 0,-1 0 0,1 0 0,2-1 0,-2 0 0,1 0 0,-3-1 0,1 1 0,-2-2 0,2 1 0,-1-2 0,2 0 0,-2 1 0,1 1 0,-2-2 0,2 4 0,-3-3 0,4 2 0,-4-2 0,4 1 0,-2 0 0,1-2 0,1 2 0,0 0 0,-2-1 0,1 1 0,-2-2 0,2 2 0,-3-2 0,2 2 0,-2-1 0,2 0 0,-2 0 0,2 1 0,-2-2 0,0 1 0,0-1 0,0 0 0,0 0 0,1 2 0,0-1 0,0 1 0,-1-2 0,0 0 0,2 2 0,-2-1 0,2 1 0,-2-2 0,2 2 0,-2-2 0,2 2 0,0 0 0,-2-1 0,2 1 0,-1-2 0,1-1 0,0 0 0,2 0 0,-4 1 0,3 2 0,-2-1 0,0 1 0,1-5 0,0 0 0,0 0 0,2 3 0,-4 1 0,2 1 0,-2-2 0,0 0 0,0 0 0,1 2 0,0-1 0,0 1 0,-1-2 0,0 0 0,0 1 0,0-1 0,0 0 0,0 0 0,2 2 0,-2-1 0,4 2 0,-4-2 0,2 1 0,-1 0 0,2 0 0,-1 1 0,1 0 0,-1 0 0,2 1 0,-1 0 0,1 0 0,0 0 0,0 0 0,-1 0 0,1 0 0,0 0 0,0 0 0,-2 1 0,1 0 0,7 2 0,-4-3 0,8 2 0,-10-2 0,0 2 0,-1-2 0,-1 2 0,0-1 0,1 0 0,-1 0 0,2-1 0,-2 2 0,2-2 0,-4 4 0,3-4 0,-2 4 0,2-4 0,-1 3 0,2-2 0,-2 2 0,1-3 0,-2 4 0,4-2 0,-3 1 0,3 1 0,-3 0 0,0 0 0,0-2 0,-2 1 0,2-1 0,-1 0 0,0 1 0,1 0 0,-2 0 0,1-1 0,0 2 0,0-2 0,1 0 0,-2 1 0,2-1 0,0 0 0,-2 2 0,2-2 0,-2 1 0,1-1 0,0 2 0,0-2 0,1 2 0,-1-1 0,0 1 0,1-2 0,-2 1 0,4-2 0,-4 2 0,2-1 0,-1 2 0,0 0 0,0-1 0,-1 1 0,0 0 0,0 0 0,2-1 0,-2 1 0,2 0 0,-2-1 0,2-1 0,-2 2 0,2-2 0,-2 2 0,0-1 0,1-1 0,0 2 0,1-2 0,-2 1 0,0 1 0,1 0 0,0 0 0,0-1 0,-1 1 0,2 0 0,-2 0 0,2-1 0,-2 1 0,0 0 0,0-1 0,0 1 0,0 0 0,0 0 0,0-1 0,0 1 0,0 0 0,0 0 0,0-1 0,0 1 0,0 0 0,0-1 0,-2 1 0,2 0 0,-2 0 0,1-2 0,0 1 0,-1-1 0,2 2 0,-1-2 0,0 1 0,0-1 0,-1 2 0,2 0 0,-2-1 0,0-1 0,2 2 0,-2-2 0,2 2 0,0-1 0,0 1 0,0 0 0,0 0 0,0-1 0,0 1 0,0 0 0,0-1 0,0 1 0,2-2 0,-2 2 0,2-2 0,-2 1 0,0 1 0,2-2 0,-2-2 0,2-2 0,-2-2 0,-2-1 0,2 1 0,-2-2 0,2 1 0,0 1 0,0-5 0,0 4 0,2-5 0,-2 5 0,2-2 0,-2 3 0,0 1 0,0-1 0,0 0 0,0 0 0,0 0 0,0 1 0,1-1 0,0 0 0,0 0 0,-2 2 0,0-1 0,0 1 0,-1 0 0,1-2 0,0 2 0,1-1 0,0-1 0,0 0 0,0 0 0,-2 2 0,2-1 0,-2 1 0,0 6 0,2-2 0,-3 10 0,2-7 0,-2 0 0,2-2 0,0-1 0,-1 2 0,2 0 0,-2 0 0,2-1 0,0 1 0,0 0 0,0-1 0,0 1 0,0 0 0,-2 0 0,2-1 0,-2 4 0,2-2 0,0 2 0,0-3 0,0-1 0,0 1 0,0 0 0,0 0 0,0-1 0,2-1 0,-2 2 0,2-6 0,-4 0 0,2-2 0,-3-3 0,2 3 0,-1-2 0,2 3 0,0-1 0,0 0 0,0 0 0,0-1 0,0 1 0,0-3 0,0 2 0,0 0 0,0 1 0,0 1 0,0-1 0,0 0 0,0 0 0,0 0 0,0 1 0,-1-1 0,0 0 0,0 0 0,-1 2 0,2-1 0,-2 1 0,2-2 0,0 0 0,0 1 0,0-1 0,2 2 0,-2-2 0,3 4 0,-2-3 0,0 1 0,1-1 0,-2 0 0,4 3 0,-2-2 0,0 0 0,1 2 0,-2-3 0,2 2 0,-3-2 0,4 2 0,-4-2 0,2 1 0,-1 0 0,0-1 0,0 0 0,1 1 0,-1-1 0,0 1 0,1 0 0,-2-1 0,2 0 0,0 1 0,-2-1 0,3 1 0,-2-2 0,0 0 0,1 2 0,-2-1 0,4 3 0,-4-4 0,3 4 0,-2 0 0,1 2 0,-2 2 0,0-1 0,0 1 0,1 1 0,0 0 0,0 0 0,-1-1 0,0-1 0,0 1 0,0 0 0,0 0 0,0-1 0,0 1 0,2-2 0,-2 1 0,2-1 0,-2 2 0,0 0 0,0 0 0,0-1 0,0 1 0,0 0 0,0 0 0,2-2 0,-2 1 0,2-1 0,-2 2 0,1-2 0,0 1 0,0-1 0,1 0 0,-2 2 0,2-2 0,-2 1 0,0 1 0,0 0 0,0 0 0,0-1 0,0 1 0,0 0 0,0-1 0,0 1 0,0 0 0,0 0 0,0-1 0,-2 1 0,2 0 0,-2-1 0,1 0 0,0 0 0,0-1 0,1 2 0,-2-2 0,2 1 0,-2-1 0,0 2 0,2 0 0,-2-1 0,0-1 0,2 2 0,-2-2 0,2 1 0,-1 0 0,0 0 0,0-1 0,-1 0 0,1 1 0,0-1 0,1 2 0,-2-2 0,2 1 0,-2 0 0,0-1 0,2 1 0,-2-1 0,1 0 0,0 1 0,0-1 0,-1 1 0,1 0 0,0-1 0,-1 0 0,2 1 0,-2-1 0,0 0 0,2 2 0,-2-2 0,1 0 0,0 1 0,-2-1 0,2 2 0,-2-2 0,3 1 0,-4-2 0,4 2 0,-3-3 0,2 4 0,-2-4 0,2 4 0,-2-4 0,3 3 0,-4-2 0,4 2 0,-4-3 0,4 4 0,-3-4 0,2 3 0,-2-1 0,1 1 0,0 0 0,-2-3 0,4 4 0,-3-4 0,2 3 0,-2-2 0,3 2 0,-4-3 0,2 2 0,0 0 0,-1-2 0,1 2 0,-2-1 0,0 0 0,0 2 0,1-2 0,-3 0 0,2-1 0,0 2 0,1-2 0,1 2 0,-2-2 0,2 2 0,-1-2 0,0 2 0,0-2 0,-1 1 0,0 0 0,0 0 0,2 1 0,-3-1 0,3 0 0,-4-1 0,4 2 0,-1-2 0,-1 2 0,0-2 0,-1 2 0,1-2 0,2 3 0,-2-2 0,2 0 0,0 1 0,2-2 0,2 2 0,0-4 0,2 2 0,-4-3 0,3 2 0,-2-2 0,2 2 0,-3-2 0,4 3 0,-2-2 0,0 0 0,1 2 0,-1-2 0,0 1 0,2 0 0,-2-2 0,1 2 0,1-2 0,-2 1 0,2 0 0,-4-1 0,3 2 0,-1-1 0,0 1 0,2 0 0,-2 0 0,0-1 0,1 2 0,-1-2 0,0 0 0,2 2 0,-4-3 0,3 2 0,-1-2 0,2 1 0,0-2 0,-2 2 0,0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05.584"/>
    </inkml:context>
    <inkml:brush xml:id="br0">
      <inkml:brushProperty name="width" value="0.035" units="cm"/>
      <inkml:brushProperty name="height" value="0.035" units="cm"/>
      <inkml:brushProperty name="color" value="#004F8B"/>
    </inkml:brush>
  </inkml:definitions>
  <inkml:trace contextRef="#ctx0" brushRef="#br0">53 113 24575,'-2'2'0,"1"0"0,-1 0 0,2 2 0,-4-4 0,4 3 0,-4-2 0,2 0 0,0-2 0,-1 0 0,2-2 0,-2 2 0,3-2 0,-2 1 0,0 0 0,2-1 0,-2 1 0,1-1 0,0 0 0,0 1 0,1-2 0,-2 2 0,1-1 0,0 1 0,1-2 0,0 0 0,1 2 0,0-1 0,0 1 0,-1-2 0,0 0 0,2 2 0,-1-1 0,0 1 0,1 0 0,-2-2 0,2 2 0,-2-2 0,2 2 0,-2-1 0,2 1 0,-2-2 0,1 2 0,0-1 0,0 1 0,-1-2 0,0 0 0,0 0 0,2 2 0,-2-1 0,2 1 0,0 0 0,-2-2 0,3 4 0,-2-3 0,1 0 0,-2 3 0,-4 2 0,2 2 0,-4 0 0,4-1 0,-1-2 0,2 2 0,-2-3 0,3 4 0,-4-4 0,4 3 0,-3-2 0,2 2 0,-1-1 0,1 0 0,0 2 0,0-2 0,-1 0 0,2 1 0,-4-3 0,4 4 0,-2-2 0,2 2 0,-1-2 0,0-1 0,-1-1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26.914"/>
    </inkml:context>
    <inkml:brush xml:id="br0">
      <inkml:brushProperty name="width" value="0.035" units="cm"/>
      <inkml:brushProperty name="height" value="0.035" units="cm"/>
      <inkml:brushProperty name="color" value="#004F8B"/>
    </inkml:brush>
  </inkml:definitions>
  <inkml:trace contextRef="#ctx0" brushRef="#br0">563 290 24575,'2'-1'0,"1"0"0,-3-2 0,4 2 0,-4-2 0,3 3 0,-1-4 0,2 4 0,-2-3 0,2 2 0,-2-1 0,1 2 0,-1-1 0,2 0 0,-4-2 0,3 3 0,0-2 0,-1 0 0,1 2 0,-3-3 0,2 0 0,-2 0 0,0-1 0,0 0 0,0 0 0,0 1 0,0-1 0,2 2 0,-2-2 0,2 2 0,-2-1 0,1 0 0,0 0 0,0 1 0,1 0 0,-2-1 0,2 1 0,0-1 0,-2 0 0,2 1 0,-2-2 0,0 0 0,2 2 0,-2-1 0,2 1 0,-2-2 0,0 0 0,0 1 0,0-1 0,0 0 0,1 2 0,0-1 0,0 1 0,-1-2 0,0 0 0,2 2 0,-2-1 0,2 1 0,-2-2 0,0 0 0,0 0 0,0 1 0,0-1 0,0 0 0,0 0 0,0 1 0,0-1 0,0 0 0,0 0 0,-2 2 0,2-1 0,-3 2 0,2-2 0,-2 3 0,-1-4 0,2 2 0,-5-2 0,6 1 0,-4 1 0,3 0 0,0 0 0,-1 2 0,2-4 0,-2 4 0,1-2 0,0 1 0,-2 0 0,2 0 0,0-1 0,-1 2 0,1-2 0,-2 2 0,2-2 0,-2 2 0,2-2 0,-1 2 0,-1-2 0,0 2 0,0-2 0,2 1 0,-3 0 0,3 0 0,-4 1 0,3 0 0,-3-2 0,2 1 0,-2-2 0,3 3 0,-1-2 0,0 2 0,0 0 0,1 0 0,-3-2 0,2 2 0,-1-2 0,1 2 0,0-1 0,0 0 0,1 0 0,-1 1 0,2-2 0,-2 1 0,1 0 0,-2 1 0,2-2 0,-1 2 0,2-2 0,-2 2 0,1 0 0,-1 0 0,0 0 0,0-2 0,1 2 0,-1-2 0,0 2 0,0 0 0,1 0 0,-1 0 0,0 0 0,0 0 0,1 0 0,-1 0 0,0 0 0,0 0 0,1-1 0,-1 0 0,0-1 0,0 2 0,0 0 0,1 0 0,-1 0 0,0 0 0,0 0 0,2-1 0,-1 0 0,1 0 0,-2 1 0,0 0 0,1 0 0,-1 0 0,2-2 0,-2 2 0,1-2 0,-1 2 0,-2 0 0,2 0 0,1 0 0,-1 0 0,0 0 0,0 0 0,2-2 0,-1 2 0,1-2 0,-2 2 0,4 0 0,2 0 0,2 0 0,1-1 0,-1 0 0,0-1 0,1 1 0,-1 0 0,1 0 0,-1 1 0,2 0 0,-2 0 0,6 0 0,-5 0 0,9 0 0,-9 0 0,10 0 0,-10 0 0,11 0 0,-11 0 0,8 1 0,-8 0 0,9 0 0,-9-1 0,9 2 0,-9-2 0,5 2 0,-6-2 0,3 0 0,-3 0 0,3 2 0,-3-2 0,2 2 0,-3-2 0,1 0 0,0 2 0,0-2 0,-1 2 0,4-1 0,-2 1 0,4 0 0,-5 0 0,3 0 0,-3-2 0,0 3 0,-1-2 0,-1 0 0,2-1 0,-2 2 0,1-1 0,-1 0 0,2-1 0,0 2 0,-1-2 0,1 2 0,0 0 0,1-2 0,-1 2 0,2-1 0,-3 0 0,1 0 0,-2 1 0,2-2 0,-2 2 0,1-2 0,1 0 0,-2 2 0,-2-2 0,-2 2 0,-2-2 0,1 0 0,-1 0 0,0 0 0,0 0 0,-4 0 0,2 0 0,-9 0 0,0-2 0,2 2 0,-1-2 0,7 2 0,2-2 0,-9 0 0,9 0 0,-12-1 0,3 1 0,-4-2 0,5 2 0,4-1 0,6 2 0,-1 0 0,-2-1 0,2 1 0,-1 0 0,1-1 0,-5 2 0,4-4 0,-9 4 0,9-2 0,-3 2 0,5-1 0,0 0 0,1-1 0,-2 2 0,1 0 0,0 2 0,0-1 0,3 2 0,-4-1 0,4 2 0,-3-2 0,2 1 0,-1-1 0,2 2 0,0 0 0,-1-2 0,0 1 0,0-1 0,1 2 0,0-1 0,0 1 0,-2-2 0,0 0 0,0 0 0,-1-2 0,0 2 0,0-4 0,1 0 0,-2 0 0,4-2 0,-4 4 0,4-3 0,-3 2 0,2-2 0,0 1 0,1-2 0,0 0 0,0 1 0,1 0 0,0 3 0,-1 2 0,-2 1 0,0 0 0,-2-3 0,2 4 0,-2-4 0,2 3 0,-1-1 0,1 0 0,-2 0 0,0 0 0,4-2 0,0 2 0,2-4 0,2 2 0,-2-2 0,0 0 0,1 2 0,-1-2 0,2 2 0,0-1 0,-1 0 0,1-2 0,0 2 0,-1 0 0,1 1 0,0 0 0,0 0 0,-1 0 0,3-2 0,-2 2 0,5-2 0,-5 2 0,3 0 0,-3 0 0,0 0 0,-1 0 0,1 0 0,0 0 0,0 0 0,-1 0 0,1 0 0,0 0 0,-1 0 0,3 0 0,-2 0 0,3 2 0,-3-2 0,2 2 0,-3-2 0,1 0 0,0 1 0,-1 0 0,6 2 0,-4-2 0,5 0 0,-5-1 0,0 2 0,-1-2 0,-1 2 0,-1 0 0,3-2 0,-2 2 0,2-2 0,-3 1 0,2 0 0,-2 0 0,6 1 0,-3-2 0,6 4 0,-7-4 0,1 2 0,-1-2 0,-2 2 0,1-2 0,-1 2 0,2-2 0,0 0 0,-2 1 0,1 0 0,-1 0 0,2-1 0,0 0 0,1 2 0,-1-2 0,2 2 0,-4 0 0,-1 0 0,-2 0 0,0 1 0,-2-2 0,-2 7 0,-2-5 0,0 6 0,1-7 0,3 1 0,-1-2 0,0 0 0,0-1 0,-4 0 0,3 0 0,-11-1 0,11 0 0,-16-2 0,15 2 0,-6-2 0,-3-1 0,10 2 0,-17-3 0,13 3 0,-3 0 0,7-2 0,2 4 0,1-2 0,-2 2 0,2-1 0,-2 0 0,2-1 0,-1 2 0,-1 0 0,0 0 0,2-1 0,-1 0 0,4 0 0,1 1 0,2 0 0,3 0 0,-3 0 0,2 0 0,-3 0 0,1 0 0,0 0 0,0 0 0,-1 0 0,-1 1 0,8 1 0,-6 0 0,13 2 0,-12-4 0,6 3 0,-8-2 0,1 1 0,0-2 0,-2 1 0,1 0 0,1 0 0,0-1 0,6 2 0,-5 0 0,6 0 0,-7 0 0,0-1 0,-1 0 0,-1 0 0,2 1 0,-1-1 0,1 0 0,-2 1 0,3-2 0,-2 4 0,2-4 0,-1 2 0,-2-1 0,1 1 0,-1 2 0,2-2 0,1 5 0,-2-4 0,3 5 0,-5-3 0,4-2 0,-4 1 0,0-2 0,-1 1 0,0 1 0,0 0 0,0 0 0,-1-2 0,0 1 0,-2-1 0,1 2 0,0-1 0,-2-1 0,4 2 0,-3-4 0,1 4 0,-1-2 0,0 1 0,1-1 0,0 2 0,0-2 0,1 0 0,0 1 0,-2-2 0,2-1 0,0-3 0,1 0 0,1-3 0,0 2 0,2 0 0,-1-1 0,4-1 0,-4 0 0,5-1 0,-7 3 0,5 1 0,-4-1 0,2 2 0,-2-2 0,2 2 0,-3-1 0,4 0 0,-4 0 0,2 1 0,-2-2 0,0 0 0,0 1 0,0-1 0,0 0 0,1 2 0,0-1 0,0 1 0,1-2 0,-2 3 0,2 2 0,-2 3 0,0-1 0,0 1 0,-5 6 0,4-4 0,-6 4 0,7-6 0,-4 1 0,2-1 0,0 2 0,-1-4 0,2 1 0,0-1 0,-1 2 0,0-2 0,-2 3 0,2-3 0,-1 5 0,1-4 0,0 2 0,-2-5 0,4 4 0,-2-2 0,1 0 0,0 1 0,-2-2 0,2 2 0,0-1 0,-1 0 0,2 1 0,-2-1 0,0 0 0,2 2 0,-3-4 0,2 3 0,-1 0 0,1-1 0,0 1 0,-2-3 0,1 4 0,-2-4 0,0 3 0,1-2 0,-1 0 0,0 1 0,0-1 0,1 0 0,-1-1 0,0 0 0,-1 2 0,0-2 0,-2 4 0,3-4 0,-3 2 0,3-2 0,-3 0 0,3 0 0,-5 1 0,4 0 0,-4 0 0,5-1 0,-3 2 0,3-2 0,-5 2 0,6 0 0,-10 0 0,9 0 0,-13 1 0,12-1 0,-13 2 0,13-2 0,-9 1 0,10-2 0,-7 2 0,7-3 0,-2 4 0,4-2 0,2 2 0,0-1 0,0 1 0,0 0 0,0-1 0,0 1 0,2-2 0,-1 2 0,0-2 0,-1 1 0,0 1 0,2-2 0,-2 1 0,2 0 0,-2 0 0,2 1 0,-2 0 0,3 1 0,-2-1 0,0 2 0,-1-3 0,2-1 0,-2 2 0,2-1 0,-2 2 0,0 0 0,0-1 0,0-1 0,0 1 0,-2-2 0,2 2 0,-2-2 0,1 0 0,0 1 0,0-1 0,-1 0 0,2 1 0,-2 0 0,2 0 0,0 1 0,0 0 0,-2-2 0,2 1 0,-2-1 0,2 2 0,0 0 0,0-1 0,0 1 0,0 0 0,2 1 0,-2-1 0,3 2 0,-2-6 0,1 0 0,-2-4 0,1 2 0,0-2 0,2-4 0,-3 2 0,4-3 0,-1 1 0,0 1 0,0-2 0,-1 0 0,-2 5 0,2-2 0,-2 3 0,2-1 0,-2 0 0,5-5 0,-4 4 0,5-8 0,-5 8 0,6-6 0,-6 7 0,2-2 0,-3 3 0,0-1 0,0 0 0,-2 0 0,2 1 0,-3 1 0,2-2 0,-2 4 0,1-2 0,-2 2 0,0 0 0,0 0 0,1 0 0,-1 0 0,2 2 0,-3 2 0,2 0 0,-2 3 0,1-3 0,0 3 0,2-3 0,-1 1 0,2-1 0,-2 2 0,3-2 0,-4-1 0,4 1 0,-3-4 0,0 2 0,1-1 0,-3 1 0,0 2 0,-2-2 0,0 0 0,5 0 0,-1-2 0,1 2 0,-2-1 0,-3 1 0,2 0 0,-2 2 0,2-4 0,-6 5 0,4-4 0,-7 2 0,9-3 0,-2 0 0,3 0 0,1 0 0,-1 0 0,0 0 0,0 0 0,-1-1 0,1 0 0,-7-4 0,8 3 0,-9-4 0,11 2 0,-6 2 0,7-1 0,-3 1 0,2-2 0,-2 0 0,2 1 0,-2 1 0,3-2 0,-2 2 0,2-2 0,-2 2 0,2-1 0,-2 1 0,1-2 0,0 0 0,-1 1 0,2-1 0,-1 2 0,0-2 0,0 2 0,1-1 0,-2-3 0,2 2 0,-4 0 0,2 1 0,0 1 0,2 0 0,2 0 0,2 2 0,0 0 0,-1 0 0,1 0 0,0 0 0,-1 0 0,1 0 0,0 0 0,0 0 0,-2 2 0,1-2 0,-1 2 0,2-2 0,0 0 0,-1 0 0,1 0 0,1 1 0,0 0 0,2 0 0,-3-1 0,-1 2 0,1-2 0,3 2 0,-2-2 0,3 2 0,-4-2 0,0 2 0,0-2 0,-1 0 0,1 0 0,0 0 0,0 0 0,-1 0 0,1 0 0,0 0 0,-1 0 0,-1-2 0,2 2 0,-2-2 0,2 2 0,-1 0 0,-1-2 0,2 2 0,-4-3 0,2 1 0,-2-2 0,0 0 0,0 0 0,0 1 0,0-1 0,0 0 0,0 0 0,0 1 0,-2 0 0,2 0 0,-2 1 0,2-2 0,0 0 0,0 1 0,0-1 0,0 0 0,0 0 0,0 1 0,0-1 0,0 0 0,2 0 0,-2 1 0,3 1 0,-2-2 0,2 4 0,-2-4 0,2 4 0,-3-3 0,4 2 0,-4-2 0,3 2 0,-2-2 0,2 3 0,-3-4 0,4 4 0,-4-3 0,3 2 0,0 0 0,-1-1 0,1 1 0,-3-2 0,4 3 0,-4-4 0,3 4 0,-1-2 0,2 1 0,0 0 0,1-2 0,-1 1 0,3-2 0,-2 2 0,-2-1 0,1 2 0,-2-1 0,0 1 0,1 0 0,-1 0 0,0-1 0,2 2 0,-2-2 0,0 0 0,1 2 0,-3-4 0,4 4 0,-2-2 0,0 1 0,1 0 0,-1 0 0,0-1 0,2 2 0,-2-2 0,0 0 0,1 2 0,-3-4 0,4 4 0,-4-3 0,3 2 0,-2-2 0,1 1 0,-2-2 0,1 2 0,0-1 0,0 1 0,-1-2 0,0 0 0,0 0 0,0 0 0,0 1 0,0-1 0,0 4 0,2-2 0,-2 6 0,2-1 0,-2 1 0,0 5 0,0-4 0,-2 2 0,2-4 0,-2 1 0,2 0 0,0 0 0,0 1 0,0-1 0,-1 2 0,0-3 0,-1 1 0,2 0 0,-1 1 0,-1-1 0,-2 5 0,2-5 0,-3 5 0,2-6 0,-2 5 0,3-5 0,-2 2 0,4-1 0,-3-2 0,2 1 0,-2-1 0,3 2 0,-4-4 0,2 5 0,-2-4 0,2 4 0,-1-5 0,3 4 0,-4-2 0,4 1 0,-4-1 0,2 2 0,0-2 0,-1 2 0,2-1 0,-2-1 0,3 2 0,-4-4 0,4 3 0,-2-1 0,1 1 0,0 0 0,-2-1 0,2 2 0,-2-2 0,3 1 0,-4-3 0,4 4 0,-3-4 0,0 2 0,1-1 0,-1 0 0,3 2 0,-4-2 0,2 0 0,-2 1 0,1-2 0,-1 4 0,0-4 0,2 3 0,-1-2 0,1 0 0,-2-1 0,2 2 0,-2-1 0,2 0 0,-3 1 0,2 0 0,-2 0 0,5 1 0,-2-1 0,1 0 0,-1 2 0,-2-4 0,0 2 0,0-1 0,0 0 0,-1 1 0,1-2 0,-5 1 0,4 0 0,-2 2 0,4-3 0,-1 2 0,0-2 0,-1 0 0,0 0 0,-5 0 0,5 0 0,-7 0 0,7 0 0,-5 0 0,7-2 0,-2 0 0,7 0 0,0-1 0,0 1 0,6-4 0,-5 4 0,8-3 0,-7 4 0,1 0 0,-1 1 0,0 0 0,-1 0 0,8 3 0,-6-1 0,9 4 0,-10-4 0,3 0 0,-5-1 0,2 0 0,-4 2 0,3-3 0,-2 4 0,2-1 0,-1 0 0,4 5 0,-4-5 0,1 4 0,-3-3 0,0 0 0,0-1 0,0 1 0,2-2 0,0 5 0,0-4 0,2 5 0,-2-5 0,1 0 0,1-3 0,3 3 0,-4 0 0,23 24 0,-18-20-6784,15 20 6784,-19-26 0,0 3 0,-1-3 0,6 6 0,-6-8 0,2 4 0,-5-7 6784,-4 0-6784,4 1 0,-2-1 0,-3-7 0,4 6 0,-7-10 0,7 10 0,-4-4 0,3 7 0,0-2 0,-2 2 0,4-1 0,-3-1 0,1-3 0,-1 2 0,0-7 0,1 7 0,-2-7 0,0 7 0,1-4 0,-1 5 0,-1-3 0,2 3 0,0-1 0,1 2 0,2 3 0,-2 2 0,2 2 0,0 0 0,0 0 0,-3 8 0,0-8 0,-1 7 0,1-10 0,1 4 0,-2-4 0,0 2 0,1-3 0,-1 0 0,0 0 0,0 0 0,1 0 0,-3 0 0,2 0 0,-2-2 0,3 2 0,1-4 0,2 4 0,2-2 0,0 1 0,1 0 0,2-4 0,0 4 0,9-7 0,-9 7 0,7-9 0,-9 7 0,-2-4 0,-3 5 0,-2 0 0,1 2 0,-1 0 0,0 0 0,0 0 0,1 0 0,-3 0 0,2 0 0,0-2 0,4 0 0,1-1 0,2 0 0,2-3 0,-2 3 0,4-3 0,1-2 0,4 1 0,0-1 0,4-2 0,-11 9 0,3-7 0,-5 5 0,0-1 0,-3 1 0,4 1 0,-4-2 0,2 1 0,-1-1 0,0 0 0,5-6 0,-4 4 0,7-8 0,-7 10 0,6-3 0,-7 6 0,2 2 0,-3 2 0,-2 1 0,0 0 0,0-1 0,-13 14 0,9-8 0,-10 9 0,10-15 0,2-3 0,2-2 0,-1 0 0,3-1 0,-2 1 0,0-2 0,2-2 0,-2 2 0,1 1 0,2-4 0,-2 4 0,5-6 0,-1 7 0,1-3 0,4-1 0,2-2 0,0 2 0,7-1 0,-11 7 0,6-2 0,-8 2 0,-1 2 0,-1 0 0,-2 2 0,2-2 0,-2 1 0,2-1 0,-2 2 0,0 0 0,-2-2 0,0 1 0,-2-3 0,2 4 0,1-6 0,4 2 0,-1-4 0,4 0 0,31-4 0,-25 4 0,24-2 0,-5-1 0,-21 5 0,22-4 0,-28 6 0,5-2 0,-8 1 0,3 1 0,-5 3 0,-1 0 0,2 1 0,-5 3 0,2-2 0,-6 5 0,6-6 0,-5 4 0,6-6 0,-5 1 0,2-3 0,-3 2 0,3-2 0,-7 0 0,7 0 0,-7-2 0,9 0 0,-4 0 0,3-3 0,0 4 0,-1-9 0,1-1 0,2 0 0,4-5 0,-2 12 0,9-5 0,-6 5 0,7-3 0,-6 4 0,7-2 0,-7 5 0,5-4 0,-5 4 0,2-2 0,-4 4 0,1-2 0,-3 4 0,5-2 0,-4 1 0,2 6 0,-3-4 0,-3 10 0,1-11 0,-9 11 0,6-13 0,-4 6 0,6-8 0,-1 2 0,-2 0 0,2-2 0,-1 2 0,-4-2 0,4 0 0,-9 0 0,9 0 0,-5 0 0,6 0 0,-2-4 0,2 4 0,1-11 0,1 8 0,0-7 0,2 6 0,1-2 0,0 2 0,2 2 0,-1-1 0,4-1 0,-2 2 0,1-3 0,1 3 0,-2-1 0,9 2 0,-7 1 0,11 0 0,-12 0 0,7 3 0,-7-2 0,2 6 0,-5-5 0,-1 5 0,-1-3 0,0 2 0,0-3 0,-1-1 0,-1 3 0,0-2 0,-3 4 0,2-5 0,-2 3 0,1-3 0,0 0 0,0 0 0,2-4 0,1 0 0,1-1 0,0-1 0,1-2 0,0 2 0,7-6 0,-5 5 0,11-9 0,-9 11 0,5-6 0,-6 9 0,8-2 0,-6 2 0,4 3 0,-6-2 0,1 9 0,-2-6 0,0 9 0,-3-8 0,-3 5 0,2-5 0,-6 0 0,5-3 0,-4 1 0,2-2 0,1 0 0,-1-1 0,2-1 0,-2-1 0,4-2 0,-2 0 0,2 0 0,0 1 0,0-1 0,0 0 0,2 0 0,0 1 0,2 1 0,-2-2 0,1 4 0,-1-2 0,0 4 0,0 0 0,-2 2 0,0 1 0,0-1 0,-3 3 0,2-3 0,-8 5 0,7-6 0,-7 5 0,5-5 0,-7 2 0,6-3 0,-12 1 0,11-2 0,-19 0 0,18-1 0,-26 0 0,26 0 0,-24 0 0,25 0 0,-13 0 0,18 0 0,-2 0 0,8 0 0,-1 0 0,2 0 0,-4-1 0,1 0 0,2-2 0,0 3 0,2-2 0,-3 0 0,-1 2 0,1-4 0,0 4 0,-1-3 0,5 1 0,-1-4 0,1 4 0,-1-3 0,-3 4 0,-2 1 0,1 1 0,-2 2 0,0-1 0,-1 2 0,2 1 0,-1-1 0,0 2 0,-1 1 0,-5 1 0,2-2 0,-6 2 0,5-7 0,1 4 0,-1-5 0,2 2 0,0 0 0,-1-2 0,1 2 0,-1-4 0,3 0 0,3 0 0,-1-2 0,4 1 0,-5-2 0,6 2 0,-6-1 0,2 1 0,-3-2 0,4 2 0,-4-1 0,2 2 0,-1 0 0,0-1 0,0 1 0,1 0 0,-2-2 0,4 1 0,-4-2 0,3-2 0,-2 3 0,1-1 0,-1 3 0,0-3 0,0 2 0,1-4 0,-2 3 0,4-2 0,-4 3 0,2-1 0,-2 0 0,0 0 0,0 1 0,0-1 0,0 0 0,0 0 0,0 4 0,0 2 0,-2 0 0,2 3 0,-2-3 0,2 2 0,-2-2 0,2 1 0,-2 0 0,-1 4 0,-1 0 0,-1 1 0,2-1 0,1-5 0,2 2 0,-3-4 0,2 3 0,0 0 0,-1-1 0,2 1 0,-2-1 0,0 0 0,2 1 0,-4-1 0,4 2 0,-3-2 0,2 2 0,-2-2 0,2 1 0,-2-1 0,1 3 0,0-2 0,-1 1 0,2-1 0,0-1 0,-1 0 0,1 1 0,-2-2 0,3 2 0,-4-1 0,4 2 0,-2 0 0,1-2 0,0 1 0,-1-1 0,1 0 0,-1 3 0,0-2 0,-2 2 0,2-3 0,0 1 0,-1-2 0,2 2 0,-2-3 0,3 4 0,-4-2 0,4 2 0,-4-2 0,2 1 0,-1-3 0,1 4 0,-2-4 0,2 3 0,-3-1 0,0 1 0,-3 0 0,3-3 0,-2 4 0,3-4 0,1 2 0,-1-1 0,0 0 0,-5 4 0,4-3 0,-9 4 0,9-4 0,-7 1 0,8-3 0,-7 4 0,7-4 0,-3 2 0,4-1 0,0 0 0,1 0 0,-2-1 0,2 2 0,-1-1 0,1 0 0,-2-1 0,0 0 0,0 0 0,2 2 0,-4-2 0,4 4 0,-9-2 0,9 1 0,-10 1 0,11 0 0,-6-2 0,5 0 0,-1-2 0,-1 0 0,0 0 0,0 0 0,-3 0 0,3 0 0,-4 0 0,5 0 0,1-2 0,-2 1 0,-3-2 0,2 1 0,-4 0 0,6 0 0,1 1 0,-4 0 0,4-1 0,-3 2 0,1 0 0,0 0 0,0 0 0,1 0 0,2 0 0,0 2 0,4-1 0,-2 2 0,0-4 0,-4 0 0,2-3 0,-4 2 0,0-4 0,0 4 0,-4-6 0,8 7 0,0-2 0,5 3 0,-2 1 0,1 0 0,-2 2 0,5-1 0,-3 0 0,3 2 0,-3-4 0,4 5 0,-4-2 0,12 4 0,-11-3 0,8 1 0,-8-3 0,3 1 0,-3-2 0,0 2 0,-1-2 0,-1 0 0,2-1 0,0 0 0,-1 0 0,8 4 0,-6-4 0,12 7 0,-12-6 0,6 2 0,-7-1 0,3-2 0,-5 4 0,5-4 0,-5 2 0,2-2 0,1 0 0,-1 0 0,0-2 0,-2 0 0,-2-2 0,1 2 0,0-1 0,1 1 0,-1-1 0,0 0 0,2 3 0,-3-4 0,5 2 0,-2 0 0,4-1 0,-3 2 0,1 0 0,-3-1 0,2 2 0,-2-2 0,0 0 0,1 2 0,-1-2 0,2 2 0,-2-1 0,10-2 0,-8 1 0,21-3 0,-20 3 0,22-5 0,-21 4 0,6-2 0,-7 5 0,-2-2 0,0 2 0,-1-2 0,2 2 0,-2-2 0,1 2 0,-1-1 0,2 0 0,-2 0 0,0-1 0,1 2 0,-2-4 0,0 2 0,1 0 0,-2-1 0,4 2 0,-4-2 0,3 2 0,-2-2 0,2 3 0,-2-4 0,5 2 0,-3-1 0,4 0 0,-3 2 0,-2-1 0,1 2 0,1-2 0,0 0 0,8 0 0,-7 0 0,6-1 0,-7 2 0,-1 0 0,1 1 0,-2-2 0,1 2 0,-1-4 0,2 4 0,2-2 0,-4 1 0,3 0 0,-5-2 0,4 2 0,-2 0 0,2 1 0,-1 0 0,1 0 0,0 0 0,-1 0 0,3 0 0,-4-2 0,3 2 0,-3-2 0,2 2 0,0 0 0,3 0 0,-3 0 0,3 0 0,-3 0 0,0 0 0,0 0 0,-2-2 0,1 0 0,-3-2 0,2 1 0,-2-1 0,0 0 0,0 0 0,-2 2 0,0 1 0,-1 1 0,-1 1 0,0 1 0,0 0 0,2 2 0,-1-4 0,-21 10 0,-12-1 0,4 1 0,-14 0 0,39-8 0,-19 3 0,21-2 0,-7 0 0,8-3 0,0 4 0,0-4 0,2 3 0,-1-2 0,-1 2 0,0-3 0,0 2 0,-3 0 0,3-2 0,-8 2 0,6-2 0,-4 1 0,6 0 0,0 2 0,1-2 0,2 2 0,-2-3 0,3 4 0,-4-4 0,4 3 0,-4-2 0,2 2 0,-1-2 0,1 2 0,-3-1 0,4 2 0,-4-2 0,4 1 0,-2-3 0,-1 4 0,0-4 0,-5 3 0,5-2 0,-7 2 0,8-1 0,-5 0 0,7 2 0,-4-4 0,3 2 0,-2-2 0,0 0 0,1 0 0,-1 0 0,0 0 0,0 0 0,1 0 0,-1 0 0,0 0 0,0 1 0,1 0 0,-1 0 0,0-1 0,2 2 0,-1-1 0,-3-2 0,3-1 0,-2 0 0,5 1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7:46.043"/>
    </inkml:context>
    <inkml:brush xml:id="br0">
      <inkml:brushProperty name="width" value="0.035" units="cm"/>
      <inkml:brushProperty name="height" value="0.035" units="cm"/>
    </inkml:brush>
  </inkml:definitions>
  <inkml:trace contextRef="#ctx0" brushRef="#br0">24 106 24575,'4'3'0,"3"-2"0,-3 5 0,3-2 0,1 4 0,-1-1 0,10 13 0,-7-9 0,7 9 0,-13-12 0,2-4 0,8 18 0,-4-13 0,10 24 0,-12-27 0,3 20 0,-4-22 0,-3 12 0,0-12 0,-1 7 0,-2-3 0,2 2 0,-3-9 0,-3 1 0,2-8 0,-3 2 0,1 0 0,2-3 0,-18-13 0,15 8 0,-29-28 0,29 28 0,-29-25 0,29 27 0,-23-17 0,25 18 0,-11-2 0,12 4 0,-6 7 0,7-7 0,-4 3 0,1 0 0,2-3 0,-9 0 0,9-1 0,-9-3 0,9 4 0,-6 3 0,7-3 0,-4 9 0,4-1 0,0 6 0,0 1 0,0-1 0,10 17 0,-7-13 0,10 16 0,-13-25 0,4 0 0,-4-9 0,0-1 0,0 1 0,0-17 0,3 6 0,1-11 0,3 18 0,1 4 0,-1 7 0,-3 3 0,2 1 0,-1 7 0,2-3 0,3 9 0,-5-8 0,5 15 0,-9-15 0,5 18 0,-5-17 0,9 17 0,-8-17 0,4 7 0,-3-13 0,-2-4 0,2-4 0,1 0 0,0-6 0,0 5 0,6-12 0,-9 7 0,9-10 0,-6 11 0,7-12 0,-7 12 0,6-1 0,-9 10 0,2 4 0,-3 3 0,0 0 0,0 10 0,0-7 0,0 14 0,0-15 0,0 8 0,0-16 0,0 2 0,0-11 0,0 1 0,0 0 0,0-1 0,0 1 0,0-4 0,0 3 0,0-3 0,4-3 0,-4 5 0,10-11 0,-8 11 0,7-2 0,-8 11 0,3 4 0,-4 3 0,0 1 0,0 6 0,0-5 0,0 4 0,0-5 0,0 9 0,0-7 0,0 13 0,0-14 0,0 8 0,0-15 0,3 3 0,-2-11 0,2 2 0,-3-4 0,10-9 0,-8 7 0,18-17 0,-18 17 0,18-14 0,-15 19 0,12-8 0,-9 12 0,0 1 0,-5 4 0,0 0 0,-2 2 0,2 8 0,-3-4 0,-3 14 0,2-16 0,-5 6 0,5-6 0,-6-4 0,6-4 0,-2-4 0,3-4 0,3 4 0,-2-2 0,2 1 0,1 1 0,3-9 0,1 7 0,6-14 0,-6 14 0,6-10 0,-9 11 0,5-3 0,-6 5 0,0 6 0,2-2 0,-5 6 0,2-3 0,-3 3 0,0 0 0,0 1 0,-6 2 0,4-2 0,-11 3 0,8-7 0,-2 3 0,0-7 0,3 4 0,0-8 0,1 0 0,3-3 0,0-1 0,6-12 0,-4 9 0,17-19 0,-12 20 0,20-14 0,-18 18 0,12-3 0,-13 9 0,-1 3 0,0-2 0,-7 8 0,4-4 0,-4 16 0,0-12 0,0 15 0,0-15 0,-10 11 0,4-11 0,-18 5 0,14-10 0,-10 3 0,12-7 0,0 0 0,2 0 0,5-7 0,-2 3 0,3-10 0,0 5 0,0-15 0,0 14 0,6-14 0,-1 15 0,12-8 0,-8 12 0,8-5 0,-9 10 0,3-4 0,-4 4 0,7 7 0,-5-6 0,5 9 0,-7-9 0,-3 6 0,3-7 0,-3 7 0,3-6 0,-3 5 0,9 1 0,-10 2 0,6 1 0,-9-3 0,0 1 0,0-1 0,-3-3 0,-1-1 0,-4 1 0,1-4 0,3 0 0,1-4 0,3-3 0,0 0 0,3-11 0,1 12 0,13-20 0,-7 22 0,7-12 0,-10 15 0,-3-6 0,3 7 0,-3-4 0,0 8 0,-1 0 0,-3 3 0,0 0 0,0 10 0,0-7 0,-6 17 0,1-21 0,-3 11 0,2-13 0,5 3 0,-6-3 0,7 3 0,-7-7 0,0 7 0,-2-6 0,-8 5 0,8-5 0,-5 2 0,10-6 0,1-1 0,3-3 0,3 2 0,-2-1 0,15-5 0,-9 5 0,16-7 0,-14 9 0,5 0 0,-7 1 0,1 3 0,-1 0 0,0 0 0,1 3 0,-1-2 0,0 9 0,0-5 0,-2 8 0,-2-4 0,-3 1 0,0-3 0,0-6 0,3-2 0,1-9 0,3 5 0,-2-5 0,24-1 0,-13 2 0,16-1 0,-18 9 0,-10 6 0,-1 2 0,-3 0 0,0 1 0,-3-1 0,2 0 0,-9 4 0,5-6 0,-9 4 0,9-5 0,-5 0 0,6 0 0,0-8 0,1 0 0,3-3 0,0 0 0,13-14 0,-10 10 0,23-19 0,-19 23 0,13-12 0,-15 20 0,1-3 0,-6 9 0,-3 0 0,2 1 0,-2-1 0,0 0 0,2 1 0,-6-4 0,6 2 0,-2-2 0,-13 20 0,12-13 0,-29 23 0,29-25 0,-19 9 0,18-14 0,-3 2 0,2-5 0,2 2 0,0-6 0,0-1 0,8-4 0,0 1 0,22-7 0,-13 8 0,13-4 0,-18 10 0,-1 0 0,20 0 0,-15 0 0,15 0 0,-20 0 0,14 10 0,-11-7 0,11 10 0,-17-9 0,-1 3 0,-3 0 0,-3 1 0,-2-4 0,1 2 0,-2-5 0,2 2 0,0 1 0,-3-4 0,3 0 0,0-4 0,1-3 0,6 3 0,7-6 0,-4 5 0,23-9 0,-21 9 0,16-1 0,-17 6 0,1 0 0,-1 0 0,0 0 0,1 0 0,-1 0 0,0 0 0,-3 3 0,0 1 0,-4 3 0,0 0 0,-4 1 0,0-4 0,-10 12 0,5-13 0,-15 17 0,15-15 0,-15 5 0,15-6 0,-2-4 0,8-4 0,3-3 0,6-1 0,-1 4 0,12-9 0,-8 11 0,21-11 0,-22 9 0,38-1 0,-36 2 0,33 3 0,-33 0 0,4 0 0,-11 3 0,-10-2 0,3 2 0,-4 1 0,-5 0 0,3 0 0,-7 2 0,9-5 0,-3 2 0,4-3 0,0 0 0,-1 0 0,-2-6 0,1 4 0,-5-14 0,9 10 0,-4-14 0,8 10 0,-3-10 0,4 11 0,0-5 0,0 13 0,0 2 0,0 6 0,-3-3 0,-1 3 0,-3-6 0,-11 8 0,9-7 0,-38 4 0,32-6 0,-51 0 0,51 0 0,-45-6 0,47 4 0,-34-17 0,35 12 0,-31-23 0,31 22 0,-22-18 0,28 20 0,-7-4 0,12 3 0,-2 3 0,3-4 0,0 1 0,3 3 0,-2-3 0,6 3 0,-7-3 0,7 3 0,-6-3 0,2 3 0,-3 3 0,0 2 0,-7 6 0,6 1 0,-9-4 0,6-1 0,0 0 0,-3-2 0,3 2 0,-3-3 0,-1 4 0,1-4 0,-1 4 0,-19-8 0,15 4 0,-15-4 0,23 1 0,-3 2 0,6-5 0,1 5 0,1-6 0,6 6 0,-3-5 0,16-2 0,-6 4 0,27-6 0,-26 9 0,15-2 0,-22 3 0,3 0 0,-7 3 0,-1 1 0,-3 3 0,0 1 0,0-1 0,0 0 0,-3 0 0,2 1 0,-6-1 0,3-3 0,-3-1 0,0-3 0,-1 0 0,4-3 0,1-1 0,3-3 0,0-1 0,0 1 0,3 0 0,1 2 0,13-4 0,-10 4 0,15-6 0,-16 7 0,5 4 0,-5 1 0,-5 5 0,2 1 0,-3 2 0,0 4 0,0-4 0,-6 4 0,1-8 0,-9 5 0,9-6 0,-15 0 0,14-1 0,-12-3 0,11 0 0,0 0 0,3-3 0,-3-1 0,6-3 0,-5-4 0,5 3 0,-3-3 0,8 7 0,-3 1 0,2 3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28.721"/>
    </inkml:context>
    <inkml:brush xml:id="br0">
      <inkml:brushProperty name="width" value="0.035" units="cm"/>
      <inkml:brushProperty name="height" value="0.035" units="cm"/>
      <inkml:brushProperty name="color" value="#004F8B"/>
    </inkml:brush>
  </inkml:definitions>
  <inkml:trace contextRef="#ctx0" brushRef="#br0">68 0 24575,'-2'2'0,"0"0"0,1 0 0,0 1 0,0-1 0,-1 0 0,2 2 0,-4 0 0,2-2 0,0 3 0,0-3 0,2 2 0,-1-2 0,0 1 0,0-1 0,1 2 0,-2-2 0,1 1 0,0-1 0,1 2 0,0 0 0,-2-2 0,2 1 0,-2-1 0,2 2 0,0 0 0,-2-2 0,2 1 0,-3 1 0,2 0 0,0 1 0,1-1 0,0 0 0,-2 0 0,1-1 0,-2 3 0,3-2 0,-2 1 0,2-1 0,-2-2 0,2 1 0,-2-1 0,2 2 0,-1 1 0,0 0 0,-2 0 0,2-1 0,0-1 0,1 1 0,-2-2 0,2 2 0,-2-2 0,2 1 0,0 1 0,-2 1 0,2 0 0,-2 0 0,1-3 0,0 1 0,-1-1 0,2 2 0,0 0 0,0 0 0,0-1 0,0 1 0,0 0 0,0-1 0,0 1 0,0 0 0,0 0 0,0-1 0,0 1 0,0 0 0,0 0 0,0-1 0,0 1 0,0 0 0,0-1 0,0 1 0,0 0 0,0 0 0,0-1 0,2-1 0,-1 2 0,0-2 0,-1 2 0,3 1 0,-2-1 0,4 3 0,-4-3 0,0 2 0,1-4 0,-2 1 0,2-1 0,-2 2 0,0 0 0,0-4 0,0-2 0,0-2 0,0-2 0,0 1 0,0-6 0,2 0 0,-2 2 0,2 4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30.471"/>
    </inkml:context>
    <inkml:brush xml:id="br0">
      <inkml:brushProperty name="width" value="0.035" units="cm"/>
      <inkml:brushProperty name="height" value="0.035" units="cm"/>
      <inkml:brushProperty name="color" value="#004F8B"/>
    </inkml:brush>
  </inkml:definitions>
  <inkml:trace contextRef="#ctx0" brushRef="#br0">94 0 24575,'-4'2'0,"-1"-2"0,5 3 0,-2-1 0,0 1 0,2 0 0,-3-3 0,2 4 0,0-2 0,-1 0 0,2 1 0,-4-1 0,2 3 0,-2 0 0,1 3 0,-1-5 0,2 4 0,0-5 0,0 2 0,2-1 0,-2 1 0,2 0 0,-1 0 0,-1 3 0,-1-3 0,0 6 0,3-5 0,-4 5 0,4-5 0,-3 0 0,2-1 0,-2-1 0,2 1 0,0 4 0,-1-4 0,2 3 0,-2-3 0,-1 6 0,2-5 0,-4 7 0,3-7 0,0 3 0,0-3 0,0 2 0,2-3 0,-2 1 0,2-1 0,0 0 0,-2-2 0,2 1 0,-2-1 0,2 2 0,0 1 0,0-1 0,0 2 0,0-3 0,0 3 0,0-2 0,0 1 0,0-1 0,0 0 0,0-1 0,0 3 0,0-2 0,0 1 0,0-1 0,0 0 0,0 0 0,0 1 0,0-1 0,2 5 0,0 2 0,2-2 0,-2 1 0,0-6 0,-1-2 0,0 3 0,0-3 0,1 5 0,0-3 0,3 7 0,-2-6 0,5 8 0,-7-8 0,8 9 0,-7-9 0,7 10 0,-5-9 0,5 6 0,-6-8 0,2 1 0,-5-1 0,2 0 0,-1-1 0,1-1 0,0 2 0,2-2 0,-4 1 0,3 1 0,0 0 0,2 1 0,-3-1 0,7 3 0,-8-2 0,6-2 0,-7 1 0,3-4 0,-2 3 0,2-2 0,-3 2 0,4-2 0,-2 2 0,1-1 0,0 2 0,0-2 0,-1 1 0,2-3 0,-2 4 0,1-4 0,-3 3 0,5 1 0,-2-1 0,2 3 0,-1-5 0,-2 4 0,1-3 0,-1 0 0,1 2 0,0-2 0,-1 0 0,3 1 0,-2-1 0,2 0 0,-3 0 0,2-2 0,-1 1 0,1 0 0,0 1 0,-1-1 0,1 0 0,0 0 0,-2 1 0,1-2 0,-1 2 0,2-2 0,0 0 0,0 0 0,-1 0 0,1 0 0,0 0 0,1 0 0,-1 0 0,2 0 0,1 2 0,-3-2 0,3 3 0,-5-2 0,0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34.165"/>
    </inkml:context>
    <inkml:brush xml:id="br0">
      <inkml:brushProperty name="width" value="0.035" units="cm"/>
      <inkml:brushProperty name="height" value="0.035" units="cm"/>
      <inkml:brushProperty name="color" value="#004F8B"/>
    </inkml:brush>
  </inkml:definitions>
  <inkml:trace contextRef="#ctx0" brushRef="#br0">63 5 24575,'2'2'0,"-2"1"0,3-3 0,-2 4 0,2-4 0,-3 3 0,4-2 0,0 2 0,0-2 0,3 2 0,-3-1 0,1 0 0,-1 0 0,0-2 0,-2 1 0,1 0 0,-1 0 0,2-1 0,-2 2 0,1-2 0,-1 2 0,2-2 0,0 0 0,-1 0 0,1 0 0,0 2 0,0-2 0,-1 2 0,1-2 0,0 0 0,1 0 0,-1 0 0,7 0 0,-6 0 0,7 0 0,-8 0 0,3 0 0,-3 0 0,0 0 0,-1 0 0,1 0 0,2 0 0,-2 0 0,-1 1 0,1 0 0,-2 1 0,1-2 0,1 0 0,0 0 0,0 0 0,1 1 0,-1 0 0,3 0 0,-3-1 0,3 0 0,-2 0 0,3 2 0,0-2 0,0 2 0,-1-2 0,-3 0 0,-2 2 0,1-2 0,-1 2 0,4-1 0,-2 0 0,3 0 0,-3-1 0,1 0 0,-1 0 0,0 2 0,-1-2 0,1 2 0,0-2 0,-2-2 0,1 2 0,-2-3 0,0 1 0,1 0 0,-2-2 0,2 2 0,0 0 0,-2-1 0,3 2 0,-2-2 0,2 2 0,-2-2 0,2 3 0,-3-4 0,4 4 0,-2-2 0,0 1 0,3 0 0,-3 0 0,4 1 0,-4-2 0,1 1 0,-1 0 0,2 1 0,-1 0 0,1 0 0,0 0 0,-4 0 0,0 1 0,-4 0 0,0 1 0,2-1 0,-1 0 0,1 0 0,-2-1 0,2 2 0,-1-2 0,1 2 0,-2-2 0,0 0 0,0 0 0,2 2 0,-1-2 0,-3 2 0,2-2 0,-5 0 0,5 0 0,-5 0 0,4 0 0,-3 0 0,4 0 0,-2 0 0,2 0 0,-4 0 0,3 0 0,-9 0 0,9 0 0,-9-2 0,9 2 0,-11-2 0,11 2 0,-7 0 0,9-2 0,-3 2 0,3-2 0,-4 2 0,3 0 0,-5-2 0,5 2 0,-12-2 0,10 2 0,-11-1 0,12 0 0,-5-2 0,5 3 0,0-2 0,1 2 0,1 0 0,0-2 0,-2 2 0,3-2 0,-9 0 0,6 2 0,-7-2 0,8 2 0,-8-1 0,7 0 0,-4-2 0,5 3 0,0-2 0,1 2 0,-1 0 0,0 0 0,-1 0 0,0 0 0,-3 0 0,3 0 0,-2 0 0,3 0 0,2-2 0,-1 2 0,1-2 0,-2 2 0,0 0 0,0 0 0,-1 0 0,2 2 0,2-2 0,1 3 0,3-2 0,-2 2 0,2-2 0,-1 0 0,0 1 0,8 2 0,-6-2 0,6 1 0,-8-1 0,2-2 0,-2 2 0,2-2 0,-1 0 0,3 2 0,-2-2 0,4 4 0,-3-4 0,9 2 0,-9-1 0,12 0 0,-12 0 0,7 1 0,-7-2 0,2 2 0,-3-2 0,-1 2 0,6-2 0,-6 2 0,9-1 0,-7 0 0,2 0 0,-4-1 0,1 2 0,0-1 0,0 0 0,-1-1 0,3 0 0,-4 2 0,8-2 0,-7 2 0,13-2 0,-13 2 0,7-2 0,-8 2 0,2-2 0,2 0 0,-2 0 0,1 0 0,-1 1 0,-1 0 0,1 0 0,0-1 0,0 0 0,-1 0 0,1 0 0,0 0 0,0 2 0,-1-2 0,6 2 0,-4-2 0,5 0 0,-6 0 0,7 2 0,-6-2 0,7 2 0,-8-2 0,10 0 0,-9 0 0,12 2 0,-11-2 0,7 2 0,-8-2 0,2 0 0,-3 0 0,-1 0 0,1 0 0,0 0 0,0 0 0,-1-2 0,1 1 0,0 0 0,1 1 0,-1 0 0,2 0 0,-3 0 0,1 0 0,0 0 0,0 0 0,-2-2 0,1 2 0,-1-2 0,0 0 0,1 2 0,-2-3 0,2 2 0,-2-2 0,0 2 0,-1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4:36.450"/>
    </inkml:context>
    <inkml:brush xml:id="br0">
      <inkml:brushProperty name="width" value="0.035" units="cm"/>
      <inkml:brushProperty name="height" value="0.035" units="cm"/>
      <inkml:brushProperty name="color" value="#004F8B"/>
    </inkml:brush>
  </inkml:definitions>
  <inkml:trace contextRef="#ctx0" brushRef="#br0">1 175 24575,'4'0'0,"0"0"0,-2-1 0,4 0 0,-4-2 0,4 3 0,-4-2 0,2 2 0,8-2 0,-8 0 0,13 0 0,-14 0 0,9 1 0,-7-1 0,2 0 0,-5-2 0,1 2 0,-3-2 0,4 2 0,-2 1 0,0-1 0,1 2 0,-1-2 0,4 0 0,-2 2 0,1-2 0,-1 0 0,-2 0 0,1 0 0,-2-1 0,0 1 0,1 0 0,-2-2 0,4 2 0,-4-1 0,3-3 0,1 0 0,0 0 0,0 1 0,-1 3 0,-2-1 0,2 2 0,-2-2 0,0 1 0,1 0 0,-2-2 0,4 4 0,-4-4 0,2 2 0,-2-1 0,1 1 0,0-2 0,0 2 0,-1-2 0,2 2 0,-2-1 0,2 1 0,0 0 0,-2-2 0,2 2 0,-1 0 0,0-1 0,1 1 0,-1 0 0,0-2 0,0 2 0,1 0 0,-2-1 0,2 1 0,0 0 0,-2-2 0,3 4 0,-2-3 0,2 2 0,-2-2 0,0 4 0,-3 1 0,2 4 0,-3-2 0,2 1 0,-2-5 0,3 4 0,-5-1 0,4 2 0,-4-2 0,4 1 0,-2-2 0,3 1 0,-4 1 0,2-2 0,-2 3 0,2-2 0,-1 0 0,2 1 0,-2-2 0,3 1 0,-4 0 0,4 0 0,-3-3 0,2 4 0,-2-4 0,2 3 0,-2-2 0,3 2 0,-4-3 0,4 4 0,-3-4 0,2 3 0,-2-2 0,2 2 0,-2-2 0,1 2 0,-2-3 0,0 2 0,2 0 0,-1-2 0,-1 2 0,2-1 0,-7 0 0,6 0 0,-7 1 0,5-1 0,-2 2 0,4-3 0,-1 2 0,0-2 0,-1 0 0,0 0 0,-2 0 0,5 2 0,-3-2 0,-1 2 0,0-2 0,-1 1 0,1 0 0,2 0 0,1-1 0,-1 0 0,0 0 0,2 2 0,2-2 0,2 2 0,2-2 0,-1 0 0,1 0 0,10-2 0,-8 2 0,6-3 0,-9 2 0,-1 0 0,2 1 0,-2-2 0,2 1 0,-4-2 0,3 3 0,-2-4 0,2 4 0,-1-2 0,2 1 0,1 0 0,-1 0 0,2-1 0,-3 1 0,1 0 0,-2-1 0,2 2 0,-4-4 0,2 2 0,-2 0 0,0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2.805"/>
    </inkml:context>
    <inkml:brush xml:id="br0">
      <inkml:brushProperty name="width" value="0.035" units="cm"/>
      <inkml:brushProperty name="height" value="0.035" units="cm"/>
    </inkml:brush>
  </inkml:definitions>
  <inkml:trace contextRef="#ctx0" brushRef="#br0">217 649 24575,'0'-11'0,"0"2"0,0-3 0,0 4 0,0-3 0,0 2 0,-4 1 0,0-17 0,-4 12 0,-11-45 0,8 27 0,-9-14 0,0-2 0,7 9-4804,-13-22 4804,19 45 0,-12-47 0,11 41-1275,-8-30 1,0 2 1274,9 31 0,-8-26 0,11 41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4.190"/>
    </inkml:context>
    <inkml:brush xml:id="br0">
      <inkml:brushProperty name="width" value="0.035" units="cm"/>
      <inkml:brushProperty name="height" value="0.035" units="cm"/>
    </inkml:brush>
  </inkml:definitions>
  <inkml:trace contextRef="#ctx0" brushRef="#br0">25 777 24575,'-4'-8'0,"3"0"0,-2 0 0,3 0 0,0 0 0,0-11 0,-4 12 0,3-11 0,-2-76 0,3 64 0,-1-31 0,-1-19 0,1 18-1230,0 27 1230,-1-32 0,1 5 0,1 47 0,0-12 0,0 11 0,7-42 0,-2 34-491,3-30 0,-4 50 0,-4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7:56:44.920"/>
    </inkml:context>
    <inkml:brush xml:id="br0">
      <inkml:brushProperty name="width" value="0.035" units="cm"/>
      <inkml:brushProperty name="height" value="0.035" units="cm"/>
    </inkml:brush>
  </inkml:definitions>
  <inkml:trace contextRef="#ctx0" brushRef="#br0">0 825 24575,'0'-8'0,"0"0"0,0 0 0,0 0 0,0 0 0,7-15 0,-1 8 0,30-47 0,-15 30 0,12-17 0,0-2 0,-6 13 0,14-24 0,1 0 0,-17 28 0,25-35 0,1 1 0,-24 33-1357,21-24 0,-3 2 0,-28 35 1,22-25-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6:41.275"/>
    </inkml:context>
    <inkml:brush xml:id="br0">
      <inkml:brushProperty name="width" value="0.035" units="cm"/>
      <inkml:brushProperty name="height" value="0.035" units="cm"/>
    </inkml:brush>
  </inkml:definitions>
  <inkml:trace contextRef="#ctx0" brushRef="#br0">352 781 24575,'-11'0'0,"4"-5"0,-3 4 0,9-9 0,-9 9 0,9-9 0,-4 3 0,0-9 0,-2 8 0,1-7 0,1 9 0,-5-20 0,2-5 0,-11-18 0,-3-2 0,4 7 0,-15-44 0,-1 3-6784,16 52 6784,-1-21 0,1 6 0,8 36 0,-21-64-1122,18 48 0,-17-43 1,30 65-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6:42.358"/>
    </inkml:context>
    <inkml:brush xml:id="br0">
      <inkml:brushProperty name="width" value="0.035" units="cm"/>
      <inkml:brushProperty name="height" value="0.035" units="cm"/>
    </inkml:brush>
  </inkml:definitions>
  <inkml:trace contextRef="#ctx0" brushRef="#br0">1 758 24575,'5'-6'0,"-4"-4"0,9 9 0,-4-9 0,0 3 0,4 1 0,2-14 0,10-14 0,-3 11-579,-3-12 579,-6 29 0,11-51 0,-6 30-3296,14-41 0,-2-3 3296,-13 30-2205,18-51 1,1 0 2204,-21 53-480,4-16 1,-1 9 0,-10 39 0,-5 2-1</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6:44.086"/>
    </inkml:context>
    <inkml:brush xml:id="br0">
      <inkml:brushProperty name="width" value="0.035" units="cm"/>
      <inkml:brushProperty name="height" value="0.035" units="cm"/>
    </inkml:brush>
  </inkml:definitions>
  <inkml:trace contextRef="#ctx0" brushRef="#br0">0 0 24575,'12'5'0,"-1"-4"0,-5 9 0,4-8 0,-9 8 0,9-9 0,6 24 0,-7-15 0,11 11 0,-19-16 0,4-5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07:49.465"/>
    </inkml:context>
    <inkml:brush xml:id="br0">
      <inkml:brushProperty name="width" value="0.035" units="cm"/>
      <inkml:brushProperty name="height" value="0.035" units="cm"/>
    </inkml:brush>
  </inkml:definitions>
  <inkml:trace contextRef="#ctx0" brushRef="#br0">223 233 24575,'0'7'0,"-3"-2"0,2 1 0,-2-2 0,0 0 0,2 3 0,-3-3 0,1 3 0,-1-3 0,-3 9 0,-1-7 0,1 11 0,3-9 0,-3-1 0,6 0 0,-5-6 0,2 2 0,0-6 0,-23-15 0,18 11 0,-38-29 0,35 31 0,-12-18 0,18 19 0,2 0 0,0-3 0,-3 3 0,6-3 0,-5 3 0,5-6 0,-2 5 0,6-3 0,1 8 0,0 4 0,-1 4 0,0-1 0,5 23 0,-3-17 0,4 24 0,-8-35 0,2 4 0,-3-17 0,0 3 0,0-3 0,4-22 0,-3 19 0,2-23 0,-3 29 0,3 0 0,-2 8 0,2 4 0,0 13 0,-2-7 0,2 17 0,-3-17 0,0 13 0,0-14 0,-3 2 0,2-11 0,-5-1 0,5-16 0,-2 11 0,3-28 0,0 23 0,0-26 0,3 26 0,-2-9 0,2 19 0,-3 1 0,0 8 0,0-1 0,0 0 0,0 1 0,0-1 0,0 10 0,0-7 0,0 13 0,0-14 0,-3 5 0,-1-10 0,-1 3 0,-1-6 0,5-1 0,-2-4 0,-1-14 0,4 8 0,-4-20 0,1 19 0,-1-26 0,0 26 0,1-19 0,3 21 0,-4-12 0,3 12 0,-5-5 0,5 7 0,-2-1 0,3 7 0,0 5 0,0 5 0,0 1 0,0 7 0,0-7 0,3 20 0,1-19 0,0 9 0,-1-13 0,1-3 0,0 0 0,0-8 0,2 3 0,-2-12 0,0 8 0,3-16 0,-3 9 0,0-3 0,-1 4 0,-3 4 0,0 0 0,4 6 0,-4 1 0,4 8 0,-1 2 0,-2-2 0,9 19 0,-6-15 0,7 21 0,-7-23 0,6 10 0,-9-12 0,6-4 0,-7-5 0,0-6 0,-3 3 0,2-12 0,-2 9 0,3-20 0,0 17 0,-4-17 0,3 17 0,-2-14 0,3 15 0,0-5 0,-3 10 0,2-2 0,-2 2 0,3-4 0,-4 4 0,4-3 0,-4 3 0,4-3 0,0 0 0,0-1 0,4 4 0,-4 4 0,7 4 0,-6 3 0,5-3 0,-2 13 0,4-14 0,12 43 0,-13-35 0,13 22 0,-19-26 0,5-3 0,-5 3 0,12 13 0,-7-9 0,7 9 0,-8-12 0,-2-1 0,-3 0 0,0 1 0,0-1 0,0 0 0,0 1 0,3-4 0,-2-1 0,2-3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11-16T18:26:44.639"/>
    </inkml:context>
    <inkml:brush xml:id="br0">
      <inkml:brushProperty name="width" value="0.035" units="cm"/>
      <inkml:brushProperty name="height" value="0.035" units="cm"/>
    </inkml:brush>
  </inkml:definitions>
  <inkml:trace contextRef="#ctx0" brushRef="#br0">1 1 24575,'6'11'0,"4"-5"0,1 9 0,-3-7 0,6 3 0,3 19 0,-4-19 0,9 20 0,-16-19 0,9 9 0,-8-8 0,4 9 0,-6-16 0,-5-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_rels/notesMaster10.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18/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16/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0.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0727244-25DA-4FDD-ADED-482C09915D8A}" type="slidenum">
              <a:rPr lang="en-GB" smtClean="0"/>
              <a:t>1</a:t>
            </a:fld>
            <a:endParaRPr lang="en-GB"/>
          </a:p>
        </p:txBody>
      </p:sp>
    </p:spTree>
    <p:extLst>
      <p:ext uri="{BB962C8B-B14F-4D97-AF65-F5344CB8AC3E}">
        <p14:creationId xmlns:p14="http://schemas.microsoft.com/office/powerpoint/2010/main" val="1879672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r>
              <a:rPr lang="en-GB"/>
              <a:t>https://www.freepik.com/free-ai-image/photorealistic-timber-house-interior-with-wooden-decor-furnishings_152371631.htm</a:t>
            </a:r>
          </a:p>
        </p:txBody>
      </p:sp>
      <p:sp>
        <p:nvSpPr>
          <p:cNvPr id="4" name="Slide Number Placeholder 3"/>
          <p:cNvSpPr>
            <a:spLocks noGrp="1"/>
          </p:cNvSpPr>
          <p:nvPr>
            <p:ph type="sldNum" sz="quarter" idx="5"/>
          </p:nvPr>
        </p:nvSpPr>
        <p:spPr/>
        <p:txBody>
          <a:bodyPr/>
          <a:lstStyle/>
          <a:p>
            <a:fld id="{80727244-25DA-4FDD-ADED-482C09915D8A}" type="slidenum">
              <a:rPr lang="en-GB" smtClean="0"/>
              <a:t>2</a:t>
            </a:fld>
            <a:endParaRPr lang="en-GB"/>
          </a:p>
        </p:txBody>
      </p:sp>
    </p:spTree>
    <p:extLst>
      <p:ext uri="{BB962C8B-B14F-4D97-AF65-F5344CB8AC3E}">
        <p14:creationId xmlns:p14="http://schemas.microsoft.com/office/powerpoint/2010/main" val="186085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US"/>
          </a:p>
          <a:p>
            <a:r>
              <a:rPr lang="en-US"/>
              <a:t>“65% of older adults…”</a:t>
            </a:r>
          </a:p>
          <a:p>
            <a:r>
              <a:rPr lang="en-US"/>
              <a:t>https://agsjournals.onlinelibrary.wiley.com/doi/10.1111/jgs.12848?utm_source=chatgpt.com</a:t>
            </a:r>
          </a:p>
          <a:p>
            <a:endParaRPr lang="en-US"/>
          </a:p>
          <a:p>
            <a:r>
              <a:rPr lang="en-US"/>
              <a:t>https://pmc.ncbi.nlm.nih.gov/articles/PMC8666269/</a:t>
            </a:r>
            <a:endParaRPr lang="en-001"/>
          </a:p>
        </p:txBody>
      </p:sp>
      <p:sp>
        <p:nvSpPr>
          <p:cNvPr id="4" name="Slide Number Placeholder 3"/>
          <p:cNvSpPr>
            <a:spLocks noGrp="1"/>
          </p:cNvSpPr>
          <p:nvPr>
            <p:ph type="sldNum" sz="quarter" idx="5"/>
          </p:nvPr>
        </p:nvSpPr>
        <p:spPr/>
        <p:txBody>
          <a:bodyPr/>
          <a:lstStyle/>
          <a:p>
            <a:fld id="{80727244-25DA-4FDD-ADED-482C09915D8A}" type="slidenum">
              <a:rPr lang="en-GB" smtClean="0"/>
              <a:t>4</a:t>
            </a:fld>
            <a:endParaRPr lang="en-GB"/>
          </a:p>
        </p:txBody>
      </p:sp>
    </p:spTree>
    <p:extLst>
      <p:ext uri="{BB962C8B-B14F-4D97-AF65-F5344CB8AC3E}">
        <p14:creationId xmlns:p14="http://schemas.microsoft.com/office/powerpoint/2010/main" val="1258402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b="1"/>
              <a:t>2. “Up to ~50% of older adults rely on arm support or another person to stand”</a:t>
            </a:r>
          </a:p>
          <a:p>
            <a:r>
              <a:rPr lang="en-US" b="1"/>
              <a:t>Source:</a:t>
            </a:r>
            <a:br>
              <a:rPr lang="en-US"/>
            </a:br>
            <a:r>
              <a:rPr lang="en-US"/>
              <a:t>Janssen, W. G. M., et al. (2002). </a:t>
            </a:r>
            <a:r>
              <a:rPr lang="en-US" i="1"/>
              <a:t>Determinants of sit-to-stand ability in the elderly.</a:t>
            </a:r>
            <a:br>
              <a:rPr lang="en-US"/>
            </a:br>
            <a:r>
              <a:rPr lang="en-US"/>
              <a:t>Archives of Physical Medicine and Rehabilitation.</a:t>
            </a:r>
            <a:br>
              <a:rPr lang="en-US"/>
            </a:br>
            <a:r>
              <a:rPr lang="en-US"/>
              <a:t>🔗 https://doi.org/10.1053/apmr.2002.33115</a:t>
            </a:r>
          </a:p>
          <a:p>
            <a:endParaRPr lang="en-US"/>
          </a:p>
          <a:p>
            <a:r>
              <a:rPr lang="en-US" b="1"/>
              <a:t>“&gt;70% of adults with knee osteoarthritis report pain during the sit-to-stand movement”</a:t>
            </a:r>
          </a:p>
          <a:p>
            <a:r>
              <a:rPr lang="en-US" b="1"/>
              <a:t>Source:</a:t>
            </a:r>
            <a:br>
              <a:rPr lang="en-US"/>
            </a:br>
            <a:r>
              <a:rPr lang="en-US" err="1"/>
              <a:t>Mundermann</a:t>
            </a:r>
            <a:r>
              <a:rPr lang="en-US"/>
              <a:t>, A., et al. (2014). </a:t>
            </a:r>
            <a:r>
              <a:rPr lang="en-US" i="1"/>
              <a:t>Knee loading during the sit-to-stand movement and its association with pain in people with knee osteoarthritis.</a:t>
            </a:r>
            <a:br>
              <a:rPr lang="en-US"/>
            </a:br>
            <a:r>
              <a:rPr lang="en-US"/>
              <a:t>Osteoarthritis and Cartilage.</a:t>
            </a:r>
            <a:br>
              <a:rPr lang="en-US"/>
            </a:br>
            <a:r>
              <a:rPr lang="en-US"/>
              <a:t>🔗 https://doi.org/10.1016/j.joca.2014.01.004</a:t>
            </a:r>
          </a:p>
          <a:p>
            <a:endParaRPr lang="en-US"/>
          </a:p>
          <a:p>
            <a:endParaRPr lang="en-001"/>
          </a:p>
        </p:txBody>
      </p:sp>
      <p:sp>
        <p:nvSpPr>
          <p:cNvPr id="4" name="Slide Number Placeholder 3"/>
          <p:cNvSpPr>
            <a:spLocks noGrp="1"/>
          </p:cNvSpPr>
          <p:nvPr>
            <p:ph type="sldNum" sz="quarter" idx="5"/>
          </p:nvPr>
        </p:nvSpPr>
        <p:spPr/>
        <p:txBody>
          <a:bodyPr/>
          <a:lstStyle/>
          <a:p>
            <a:fld id="{80727244-25DA-4FDD-ADED-482C09915D8A}" type="slidenum">
              <a:rPr lang="en-GB" smtClean="0"/>
              <a:t>5</a:t>
            </a:fld>
            <a:endParaRPr lang="en-GB"/>
          </a:p>
        </p:txBody>
      </p:sp>
    </p:spTree>
    <p:extLst>
      <p:ext uri="{BB962C8B-B14F-4D97-AF65-F5344CB8AC3E}">
        <p14:creationId xmlns:p14="http://schemas.microsoft.com/office/powerpoint/2010/main" val="4200027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r>
              <a:rPr lang="en-US" dirty="0"/>
              <a:t>On the </a:t>
            </a:r>
            <a:r>
              <a:rPr lang="en-US" b="1" dirty="0"/>
              <a:t>Existing Solutions</a:t>
            </a:r>
            <a:r>
              <a:rPr lang="en-US" dirty="0"/>
              <a:t> slide you want the viewer to very quickly understand what each competing device is, what it does well, where it falls short, and why your concept is different. Right now you only show a photo and the price; consider adding concise labels and a few key facts for each:</a:t>
            </a:r>
          </a:p>
          <a:p>
            <a:r>
              <a:rPr lang="en-US" b="1" dirty="0"/>
              <a:t>Name &amp; type</a:t>
            </a:r>
            <a:r>
              <a:rPr lang="en-US" dirty="0"/>
              <a:t> – Identify the product and its lift mechanism. For example:</a:t>
            </a:r>
            <a:br>
              <a:rPr lang="en-US" dirty="0"/>
            </a:br>
            <a:r>
              <a:rPr lang="en-US" dirty="0"/>
              <a:t>• </a:t>
            </a:r>
            <a:r>
              <a:rPr lang="en-US" i="1" dirty="0" err="1"/>
              <a:t>SitnStand</a:t>
            </a:r>
            <a:r>
              <a:rPr lang="en-US" i="1" dirty="0"/>
              <a:t> Lift Assist Compact</a:t>
            </a:r>
            <a:r>
              <a:rPr lang="en-US" dirty="0"/>
              <a:t> – a battery‑powered “lift chair in a bag” with vertical‑lift air bladders and a two‑button remote.</a:t>
            </a:r>
            <a:br>
              <a:rPr lang="en-US" dirty="0"/>
            </a:br>
            <a:r>
              <a:rPr lang="en-US" dirty="0"/>
              <a:t>• </a:t>
            </a:r>
            <a:r>
              <a:rPr lang="en-US" i="1" dirty="0" err="1"/>
              <a:t>Carex</a:t>
            </a:r>
            <a:r>
              <a:rPr lang="en-US" i="1" dirty="0"/>
              <a:t> Uplift Seat Assist</a:t>
            </a:r>
            <a:r>
              <a:rPr lang="en-US" dirty="0"/>
              <a:t> – a non‑electric pneumatic seat that gently lifts up to 70 % of the user’s weight.</a:t>
            </a:r>
            <a:br>
              <a:rPr lang="en-US" dirty="0"/>
            </a:br>
            <a:r>
              <a:rPr lang="en-US" dirty="0"/>
              <a:t>• </a:t>
            </a:r>
            <a:r>
              <a:rPr lang="en-US" i="1" dirty="0"/>
              <a:t>Manual Lift Cushion (</a:t>
            </a:r>
            <a:r>
              <a:rPr lang="en-US" i="1" dirty="0" err="1"/>
              <a:t>GoSupps</a:t>
            </a:r>
            <a:r>
              <a:rPr lang="en-US" i="1" dirty="0"/>
              <a:t>/WZDMZYL)</a:t>
            </a:r>
            <a:r>
              <a:rPr lang="en-US" dirty="0"/>
              <a:t> – a self‑powered hydro‑pneumatic cushion with adjustable weight settings up to 340 lb.</a:t>
            </a:r>
          </a:p>
          <a:p>
            <a:r>
              <a:rPr lang="en-US" b="1" dirty="0"/>
              <a:t>Key specs</a:t>
            </a:r>
            <a:r>
              <a:rPr lang="en-US" dirty="0"/>
              <a:t> – Show capacity, weight and how it’s powered. For instance, note that the </a:t>
            </a:r>
            <a:r>
              <a:rPr lang="en-US" dirty="0" err="1"/>
              <a:t>SitnStand</a:t>
            </a:r>
            <a:r>
              <a:rPr lang="en-US" dirty="0"/>
              <a:t> weighs ~3 kg and runs on a rechargeable battery, while the </a:t>
            </a:r>
            <a:r>
              <a:rPr lang="en-US" dirty="0" err="1"/>
              <a:t>Carex</a:t>
            </a:r>
            <a:r>
              <a:rPr lang="en-US" dirty="0"/>
              <a:t> seat is spring‑assisted and doesn’t need electricity; the </a:t>
            </a:r>
            <a:r>
              <a:rPr lang="en-US" dirty="0" err="1"/>
              <a:t>GoSupps</a:t>
            </a:r>
            <a:r>
              <a:rPr lang="en-US" dirty="0"/>
              <a:t> cushion uses a gas spring and folds to 48 × 43 × 5 cm.</a:t>
            </a:r>
          </a:p>
          <a:p>
            <a:r>
              <a:rPr lang="en-US" b="1" dirty="0"/>
              <a:t>Pros &amp; cons</a:t>
            </a:r>
            <a:r>
              <a:rPr lang="en-US" dirty="0"/>
              <a:t> – </a:t>
            </a:r>
            <a:r>
              <a:rPr lang="en-US" dirty="0" err="1"/>
              <a:t>Summarise</a:t>
            </a:r>
            <a:r>
              <a:rPr lang="en-US" dirty="0"/>
              <a:t> one or two strengths and weaknesses per product. Examples:</a:t>
            </a:r>
            <a:br>
              <a:rPr lang="en-US" dirty="0"/>
            </a:br>
            <a:r>
              <a:rPr lang="en-US" dirty="0"/>
              <a:t>• </a:t>
            </a:r>
            <a:r>
              <a:rPr lang="en-US" dirty="0" err="1"/>
              <a:t>SitnStand</a:t>
            </a:r>
            <a:r>
              <a:rPr lang="en-US" dirty="0"/>
              <a:t>: portable and comfortable but high price and needs regular charging.</a:t>
            </a:r>
            <a:br>
              <a:rPr lang="en-US" dirty="0"/>
            </a:br>
            <a:r>
              <a:rPr lang="en-US" dirty="0"/>
              <a:t>• </a:t>
            </a:r>
            <a:r>
              <a:rPr lang="en-US" dirty="0" err="1"/>
              <a:t>Carex</a:t>
            </a:r>
            <a:r>
              <a:rPr lang="en-US" dirty="0"/>
              <a:t>: affordable and non‑electric, but heavy to move and still requires significant upper‑body strength.</a:t>
            </a:r>
            <a:br>
              <a:rPr lang="en-US" dirty="0"/>
            </a:br>
            <a:r>
              <a:rPr lang="en-US" dirty="0"/>
              <a:t>• Manual Lift Cushion: supports heavy users and doesn’t require power, but it’s bulky (≈4.2 kg) and raises the seat height, reducing legroom.</a:t>
            </a:r>
          </a:p>
          <a:p>
            <a:r>
              <a:rPr lang="en-US" b="1" dirty="0"/>
              <a:t>User feedback</a:t>
            </a:r>
            <a:r>
              <a:rPr lang="en-US" dirty="0"/>
              <a:t> – If you have space, include a star rating or a statistic from reviews (e.g., 3.4/5 average rating on one model) or a brief quote highlighting issues such as discomfort or the need for arm strength.</a:t>
            </a:r>
          </a:p>
          <a:p>
            <a:r>
              <a:rPr lang="en-US" b="1" dirty="0"/>
              <a:t>Positioning graphic</a:t>
            </a:r>
            <a:r>
              <a:rPr lang="en-US" dirty="0"/>
              <a:t> – A simple 2×2 matrix or icons comparing price vs portability can visually reinforce where each product sits and hint at the gap your design fills.</a:t>
            </a:r>
          </a:p>
          <a:p>
            <a:r>
              <a:rPr lang="en-US" dirty="0"/>
              <a:t>Ending with a short “Gap in the Market” call‑out (e.g., </a:t>
            </a:r>
            <a:r>
              <a:rPr lang="en-US" i="1" dirty="0"/>
              <a:t>“No portable, adjustable cushion that offers smooth lift without heavy batteries or high price”</a:t>
            </a:r>
            <a:r>
              <a:rPr lang="en-US" dirty="0"/>
              <a:t>) will set up the segue into your own solution.</a:t>
            </a:r>
          </a:p>
          <a:p>
            <a:endParaRPr lang="en-AU" dirty="0"/>
          </a:p>
        </p:txBody>
      </p:sp>
      <p:sp>
        <p:nvSpPr>
          <p:cNvPr id="4" name="Slide Number Placeholder 3"/>
          <p:cNvSpPr>
            <a:spLocks noGrp="1"/>
          </p:cNvSpPr>
          <p:nvPr>
            <p:ph type="sldNum" sz="quarter" idx="5"/>
          </p:nvPr>
        </p:nvSpPr>
        <p:spPr/>
        <p:txBody>
          <a:bodyPr/>
          <a:lstStyle/>
          <a:p>
            <a:fld id="{80727244-25DA-4FDD-ADED-482C09915D8A}" type="slidenum">
              <a:rPr lang="en-GB" smtClean="0"/>
              <a:t>7</a:t>
            </a:fld>
            <a:endParaRPr lang="en-GB"/>
          </a:p>
        </p:txBody>
      </p:sp>
    </p:spTree>
    <p:extLst>
      <p:ext uri="{BB962C8B-B14F-4D97-AF65-F5344CB8AC3E}">
        <p14:creationId xmlns:p14="http://schemas.microsoft.com/office/powerpoint/2010/main" val="1304244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ighlight>
                  <a:srgbClr val="2F3D4A"/>
                </a:highlight>
              </a:rPr>
              <a:t>Our mission as DESN2000 UNSW students is to create a portable, joint-friendly sit-to-stand assist device that reduces knee, hip and back load, restores confidence and independence for older adults, and is affordable and practical for everyday homes.</a:t>
            </a:r>
          </a:p>
          <a:p>
            <a:endParaRPr lang="en-AU"/>
          </a:p>
        </p:txBody>
      </p:sp>
      <p:sp>
        <p:nvSpPr>
          <p:cNvPr id="4" name="Slide Number Placeholder 3"/>
          <p:cNvSpPr>
            <a:spLocks noGrp="1"/>
          </p:cNvSpPr>
          <p:nvPr>
            <p:ph type="sldNum" sz="quarter" idx="5"/>
          </p:nvPr>
        </p:nvSpPr>
        <p:spPr/>
        <p:txBody>
          <a:bodyPr/>
          <a:lstStyle/>
          <a:p>
            <a:fld id="{80727244-25DA-4FDD-ADED-482C09915D8A}" type="slidenum">
              <a:rPr lang="en-GB" smtClean="0"/>
              <a:t>9</a:t>
            </a:fld>
            <a:endParaRPr lang="en-GB"/>
          </a:p>
        </p:txBody>
      </p:sp>
    </p:spTree>
    <p:extLst>
      <p:ext uri="{BB962C8B-B14F-4D97-AF65-F5344CB8AC3E}">
        <p14:creationId xmlns:p14="http://schemas.microsoft.com/office/powerpoint/2010/main" val="1739076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80727244-25DA-4FDD-ADED-482C09915D8A}" type="slidenum">
              <a:rPr lang="en-GB" smtClean="0"/>
              <a:t>10</a:t>
            </a:fld>
            <a:endParaRPr lang="en-GB"/>
          </a:p>
        </p:txBody>
      </p:sp>
    </p:spTree>
    <p:extLst>
      <p:ext uri="{BB962C8B-B14F-4D97-AF65-F5344CB8AC3E}">
        <p14:creationId xmlns:p14="http://schemas.microsoft.com/office/powerpoint/2010/main" val="19332749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80727244-25DA-4FDD-ADED-482C09915D8A}" type="slidenum">
              <a:rPr lang="en-GB" smtClean="0"/>
              <a:t>10</a:t>
            </a:fld>
            <a:endParaRPr lang="en-GB"/>
          </a:p>
        </p:txBody>
      </p:sp>
    </p:spTree>
    <p:extLst>
      <p:ext uri="{BB962C8B-B14F-4D97-AF65-F5344CB8AC3E}">
        <p14:creationId xmlns:p14="http://schemas.microsoft.com/office/powerpoint/2010/main" val="1933274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727244-25DA-4FDD-ADED-482C09915D8A}" type="slidenum">
              <a:rPr lang="en-GB" smtClean="0"/>
              <a:t>13</a:t>
            </a:fld>
            <a:endParaRPr lang="en-GB"/>
          </a:p>
        </p:txBody>
      </p:sp>
    </p:spTree>
    <p:extLst>
      <p:ext uri="{BB962C8B-B14F-4D97-AF65-F5344CB8AC3E}">
        <p14:creationId xmlns:p14="http://schemas.microsoft.com/office/powerpoint/2010/main" val="2800037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oal:</a:t>
            </a:r>
            <a:r>
              <a:rPr lang="en-US"/>
              <a:t> Show assembly, safety, and maintenance have been considered.</a:t>
            </a:r>
          </a:p>
          <a:p>
            <a:r>
              <a:rPr lang="en-US" b="1"/>
              <a:t>Include:</a:t>
            </a:r>
            <a:endParaRPr lang="en-US"/>
          </a:p>
          <a:p>
            <a:r>
              <a:rPr lang="en-US"/>
              <a:t>Overview:</a:t>
            </a:r>
          </a:p>
          <a:p>
            <a:r>
              <a:rPr lang="en-US"/>
              <a:t>“Bolted connections for adjustability, maintenance, and easy assembly.”</a:t>
            </a:r>
          </a:p>
          <a:p>
            <a:r>
              <a:rPr lang="en-US"/>
              <a:t>Table:</a:t>
            </a:r>
          </a:p>
          <a:p>
            <a:pPr lvl="1"/>
            <a:r>
              <a:rPr lang="en-US"/>
              <a:t>Joint location | Fastener type (e.g. M8 bolt + locknut) | Reason.</a:t>
            </a:r>
          </a:p>
          <a:p>
            <a:r>
              <a:rPr lang="en-US"/>
              <a:t>Points to cover:</a:t>
            </a:r>
          </a:p>
          <a:p>
            <a:pPr lvl="1"/>
            <a:r>
              <a:rPr lang="en-US"/>
              <a:t>Why bolts instead of welds in certain areas (adjustability, transport).</a:t>
            </a:r>
          </a:p>
          <a:p>
            <a:pPr lvl="1"/>
            <a:r>
              <a:rPr lang="en-US"/>
              <a:t>Load paths: shear vs tension in bolts (simple sketch).</a:t>
            </a:r>
          </a:p>
          <a:p>
            <a:pPr lvl="1"/>
            <a:r>
              <a:rPr lang="en-US"/>
              <a:t>Safety measures:</a:t>
            </a:r>
          </a:p>
          <a:p>
            <a:pPr lvl="2"/>
            <a:r>
              <a:rPr lang="en-US"/>
              <a:t>Lock washers, </a:t>
            </a:r>
            <a:r>
              <a:rPr lang="en-US" err="1"/>
              <a:t>nyloc</a:t>
            </a:r>
            <a:r>
              <a:rPr lang="en-US"/>
              <a:t> nuts, thread locker.</a:t>
            </a:r>
          </a:p>
          <a:p>
            <a:pPr lvl="2"/>
            <a:r>
              <a:rPr lang="en-US"/>
              <a:t>Min edge distances and plate thickness.</a:t>
            </a:r>
          </a:p>
          <a:p>
            <a:r>
              <a:rPr lang="en-US"/>
              <a:t>Assembly logic:</a:t>
            </a:r>
          </a:p>
          <a:p>
            <a:pPr lvl="1"/>
            <a:r>
              <a:rPr lang="en-US"/>
              <a:t>How many different bolt sizes? (</a:t>
            </a:r>
            <a:r>
              <a:rPr lang="en-US" err="1"/>
              <a:t>Standardising</a:t>
            </a:r>
            <a:r>
              <a:rPr lang="en-US"/>
              <a:t> to reduce confusion.)</a:t>
            </a:r>
          </a:p>
          <a:p>
            <a:pPr lvl="1"/>
            <a:r>
              <a:rPr lang="en-US"/>
              <a:t>Tools needed (e.g. single spanner size).</a:t>
            </a:r>
          </a:p>
          <a:p>
            <a:r>
              <a:rPr lang="en-US"/>
              <a:t>Optional visual:</a:t>
            </a:r>
          </a:p>
          <a:p>
            <a:pPr lvl="1"/>
            <a:r>
              <a:rPr lang="en-US"/>
              <a:t>Exploded CAD view showing how components and fasteners come together.</a:t>
            </a:r>
          </a:p>
          <a:p>
            <a:endParaRPr lang="en-AU"/>
          </a:p>
        </p:txBody>
      </p:sp>
      <p:sp>
        <p:nvSpPr>
          <p:cNvPr id="4" name="Slide Number Placeholder 3"/>
          <p:cNvSpPr>
            <a:spLocks noGrp="1"/>
          </p:cNvSpPr>
          <p:nvPr>
            <p:ph type="sldNum" sz="quarter" idx="5"/>
          </p:nvPr>
        </p:nvSpPr>
        <p:spPr/>
        <p:txBody>
          <a:bodyPr/>
          <a:lstStyle/>
          <a:p>
            <a:fld id="{80727244-25DA-4FDD-ADED-482C09915D8A}" type="slidenum">
              <a:rPr lang="en-GB" smtClean="0"/>
              <a:t>26</a:t>
            </a:fld>
            <a:endParaRPr lang="en-GB"/>
          </a:p>
        </p:txBody>
      </p:sp>
    </p:spTree>
    <p:extLst>
      <p:ext uri="{BB962C8B-B14F-4D97-AF65-F5344CB8AC3E}">
        <p14:creationId xmlns:p14="http://schemas.microsoft.com/office/powerpoint/2010/main" val="478893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EBC4C-A618-39DD-A004-6F099E7521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A76177B-D510-70F6-1D00-4FCAE62283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648EFF-9FC7-4F9C-94A3-EA5AC7C69724}"/>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1589C630-0B09-53E1-31C9-BABEB07096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651915-DC9A-8D6C-F485-926681312B5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62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7BD0-2508-909C-716B-4E68C7E4E6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A178145-3E79-6BD3-70F0-F691CA1290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4619B2-6441-48C8-7E6B-4ABE242E6A4A}"/>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62FC68C0-EDE2-C1FD-F7FD-BD969B56B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FA48DB-4380-CE54-ACD9-5559F8133184}"/>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467430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506D35-54B1-A678-851B-FCA645D284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C2D8D1-8933-43E3-68F5-4D65C467A2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BDD04-642A-2CEF-ACD9-5D419188C95C}"/>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B5E33EDA-94B8-5637-5166-9F58C6948B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870ABD-3C03-215E-3BA0-CF733B94545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98803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68F5C24A-9409-42F1-AFD4-D88E5171A316}" type="datetime1">
              <a:rPr lang="en-GB" smtClean="0"/>
              <a:t>18/11/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68F5C24A-9409-42F1-AFD4-D88E5171A316}" type="datetime1">
              <a:rPr lang="en-GB" smtClean="0"/>
              <a:t>16/11/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3EA54FF3-9659-441D-886C-9DA4B7C21964}" type="datetime1">
              <a:rPr lang="en-GB" smtClean="0"/>
              <a:t>18/11/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3EA54FF3-9659-441D-886C-9DA4B7C21964}" type="datetime1">
              <a:rPr lang="en-GB" smtClean="0"/>
              <a:t>16/11/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1CBE0393-4DC3-4B15-8652-4766F50BDB94}" type="datetime1">
              <a:rPr lang="en-GB" smtClean="0"/>
              <a:t>18/11/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1CBE0393-4DC3-4B15-8652-4766F50BDB94}" type="datetime1">
              <a:rPr lang="en-GB" smtClean="0"/>
              <a:t>16/11/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8DB746B6-5631-4AC1-900D-706E9B0D7B63}" type="datetime1">
              <a:rPr lang="en-GB" smtClean="0"/>
              <a:t>18/11/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8DB746B6-5631-4AC1-900D-706E9B0D7B63}" type="datetime1">
              <a:rPr lang="en-GB" smtClean="0"/>
              <a:t>16/11/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3613351D-D414-4628-B6BA-F3CF23231103}" type="datetime1">
              <a:rPr lang="en-GB" smtClean="0"/>
              <a:t>18/11/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r>
              <a:rPr lang="en-GB"/>
              <a:t>Designed by One Skill</a:t>
            </a:r>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3613351D-D414-4628-B6BA-F3CF23231103}" type="datetime1">
              <a:rPr lang="en-GB" smtClean="0"/>
              <a:t>16/11/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r>
              <a:rPr lang="en-GB"/>
              <a:t>Designed by One Skill</a:t>
            </a:r>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11CD3F00-CE47-4FAC-9296-264952B2AD7B}" type="datetime1">
              <a:rPr lang="en-GB" smtClean="0"/>
              <a:t>18/11/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r>
              <a:rPr lang="en-GB"/>
              <a:t>Designed by One Skill</a:t>
            </a:r>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11CD3F00-CE47-4FAC-9296-264952B2AD7B}" type="datetime1">
              <a:rPr lang="en-GB" smtClean="0"/>
              <a:t>16/11/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r>
              <a:rPr lang="en-GB"/>
              <a:t>Designed by One Skill</a:t>
            </a:r>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05F8160D-F348-4767-A573-6056422869C1}" type="datetime1">
              <a:rPr lang="en-GB" smtClean="0"/>
              <a:t>18/11/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r>
              <a:rPr lang="en-GB"/>
              <a:t>Designed by One Skill</a:t>
            </a:r>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68" userDrawn="1">
          <p15:clr>
            <a:srgbClr val="FBAE40"/>
          </p15:clr>
        </p15:guide>
        <p15:guide id="4" pos="784" userDrawn="1">
          <p15:clr>
            <a:srgbClr val="FBAE40"/>
          </p15:clr>
        </p15:guide>
        <p15:guide id="5" pos="1392" userDrawn="1">
          <p15:clr>
            <a:srgbClr val="FBAE40"/>
          </p15:clr>
        </p15:guide>
        <p15:guide id="6" pos="2008" userDrawn="1">
          <p15:clr>
            <a:srgbClr val="FBAE40"/>
          </p15:clr>
        </p15:guide>
        <p15:guide id="7" pos="2616" userDrawn="1">
          <p15:clr>
            <a:srgbClr val="FBAE40"/>
          </p15:clr>
        </p15:guide>
        <p15:guide id="8" pos="3232" userDrawn="1">
          <p15:clr>
            <a:srgbClr val="FBAE40"/>
          </p15:clr>
        </p15:guide>
        <p15:guide id="9" pos="3840" userDrawn="1">
          <p15:clr>
            <a:srgbClr val="FBAE40"/>
          </p15:clr>
        </p15:guide>
        <p15:guide id="10" pos="4448" userDrawn="1">
          <p15:clr>
            <a:srgbClr val="FBAE40"/>
          </p15:clr>
        </p15:guide>
        <p15:guide id="11" pos="5064" userDrawn="1">
          <p15:clr>
            <a:srgbClr val="FBAE40"/>
          </p15:clr>
        </p15:guide>
        <p15:guide id="12" pos="5672" userDrawn="1">
          <p15:clr>
            <a:srgbClr val="FBAE40"/>
          </p15:clr>
        </p15:guide>
        <p15:guide id="13" pos="6288" userDrawn="1">
          <p15:clr>
            <a:srgbClr val="FBAE40"/>
          </p15:clr>
        </p15:guide>
        <p15:guide id="14" pos="6896" userDrawn="1">
          <p15:clr>
            <a:srgbClr val="FBAE40"/>
          </p15:clr>
        </p15:guide>
        <p15:guide id="15" pos="7512" userDrawn="1">
          <p15:clr>
            <a:srgbClr val="FBAE40"/>
          </p15:clr>
        </p15:guide>
        <p15:guide id="16" orient="horz" userDrawn="1">
          <p15:clr>
            <a:srgbClr val="FBAE40"/>
          </p15:clr>
        </p15:guide>
        <p15:guide id="17" orient="horz" pos="4320" userDrawn="1">
          <p15:clr>
            <a:srgbClr val="FBAE40"/>
          </p15:clr>
        </p15:guide>
        <p15:guide id="18" orient="horz" pos="168" userDrawn="1">
          <p15:clr>
            <a:srgbClr val="FBAE40"/>
          </p15:clr>
        </p15:guide>
        <p15:guide id="19" orient="horz" pos="2160" userDrawn="1">
          <p15:clr>
            <a:srgbClr val="FBAE40"/>
          </p15:clr>
        </p15:guide>
        <p15:guide id="20" orient="horz" pos="4152"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05F8160D-F348-4767-A573-6056422869C1}" type="datetime1">
              <a:rPr lang="en-GB" smtClean="0"/>
              <a:t>16/11/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r>
              <a:rPr lang="en-GB"/>
              <a:t>Designed by One Skill</a:t>
            </a:r>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68" userDrawn="1">
          <p15:clr>
            <a:srgbClr val="FBAE40"/>
          </p15:clr>
        </p15:guide>
        <p15:guide id="4" pos="784" userDrawn="1">
          <p15:clr>
            <a:srgbClr val="FBAE40"/>
          </p15:clr>
        </p15:guide>
        <p15:guide id="5" pos="1392" userDrawn="1">
          <p15:clr>
            <a:srgbClr val="FBAE40"/>
          </p15:clr>
        </p15:guide>
        <p15:guide id="6" pos="2008" userDrawn="1">
          <p15:clr>
            <a:srgbClr val="FBAE40"/>
          </p15:clr>
        </p15:guide>
        <p15:guide id="7" pos="2616" userDrawn="1">
          <p15:clr>
            <a:srgbClr val="FBAE40"/>
          </p15:clr>
        </p15:guide>
        <p15:guide id="8" pos="3232" userDrawn="1">
          <p15:clr>
            <a:srgbClr val="FBAE40"/>
          </p15:clr>
        </p15:guide>
        <p15:guide id="9" pos="3840" userDrawn="1">
          <p15:clr>
            <a:srgbClr val="FBAE40"/>
          </p15:clr>
        </p15:guide>
        <p15:guide id="10" pos="4448" userDrawn="1">
          <p15:clr>
            <a:srgbClr val="FBAE40"/>
          </p15:clr>
        </p15:guide>
        <p15:guide id="11" pos="5064" userDrawn="1">
          <p15:clr>
            <a:srgbClr val="FBAE40"/>
          </p15:clr>
        </p15:guide>
        <p15:guide id="12" pos="5672" userDrawn="1">
          <p15:clr>
            <a:srgbClr val="FBAE40"/>
          </p15:clr>
        </p15:guide>
        <p15:guide id="13" pos="6288" userDrawn="1">
          <p15:clr>
            <a:srgbClr val="FBAE40"/>
          </p15:clr>
        </p15:guide>
        <p15:guide id="14" pos="6896" userDrawn="1">
          <p15:clr>
            <a:srgbClr val="FBAE40"/>
          </p15:clr>
        </p15:guide>
        <p15:guide id="15" pos="7512" userDrawn="1">
          <p15:clr>
            <a:srgbClr val="FBAE40"/>
          </p15:clr>
        </p15:guide>
        <p15:guide id="16" orient="horz" userDrawn="1">
          <p15:clr>
            <a:srgbClr val="FBAE40"/>
          </p15:clr>
        </p15:guide>
        <p15:guide id="17" orient="horz" pos="4320" userDrawn="1">
          <p15:clr>
            <a:srgbClr val="FBAE40"/>
          </p15:clr>
        </p15:guide>
        <p15:guide id="18" orient="horz" pos="168" userDrawn="1">
          <p15:clr>
            <a:srgbClr val="FBAE40"/>
          </p15:clr>
        </p15:guide>
        <p15:guide id="19" orient="horz" pos="2160" userDrawn="1">
          <p15:clr>
            <a:srgbClr val="FBAE40"/>
          </p15:clr>
        </p15:guide>
        <p15:guide id="20" orient="horz" pos="41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5442BB48-99BB-40C1-9AA6-5303F798AB6D}" type="datetime1">
              <a:rPr lang="en-GB" smtClean="0"/>
              <a:t>18/11/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5442BB48-99BB-40C1-9AA6-5303F798AB6D}" type="datetime1">
              <a:rPr lang="en-GB" smtClean="0"/>
              <a:t>16/11/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5329-AAE3-3E58-F378-BAD4CB611D8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EA91E4-A116-2E09-B4CB-D5DBA73A20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7879D2-C552-EF51-DACF-B6C7FB7544FE}"/>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F89E4186-D9C6-7254-A6CF-085AE5DAFD5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687F46-1A54-4E99-9F0F-02FD07BA3CD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11814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1302C429-8E84-42A2-8E8C-AC5D38A08E5A}" type="datetime1">
              <a:rPr lang="en-GB" smtClean="0"/>
              <a:t>18/11/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1302C429-8E84-42A2-8E8C-AC5D38A08E5A}" type="datetime1">
              <a:rPr lang="en-GB" smtClean="0"/>
              <a:t>16/11/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E964B02-EE58-467E-B191-C850F2619705}" type="datetime1">
              <a:rPr lang="en-GB" smtClean="0"/>
              <a:t>18/11/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E964B02-EE58-467E-B191-C850F2619705}" type="datetime1">
              <a:rPr lang="en-GB" smtClean="0"/>
              <a:t>16/11/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550B8236-A10F-4128-9405-4158C4F29211}" type="datetime1">
              <a:rPr lang="en-GB" smtClean="0"/>
              <a:t>18/11/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550B8236-A10F-4128-9405-4158C4F29211}" type="datetime1">
              <a:rPr lang="en-GB" smtClean="0"/>
              <a:t>16/11/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82D31-7C3E-9B21-11F3-04D042B2C4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70517DC-0E3B-090C-D59E-CF4189BB41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89B8AB-AECE-460D-ECF1-F71B5A9CB3EB}"/>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657B0EE6-6B9F-C899-8CB2-BFC4C22F30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DB339F-44CD-99B1-E8A1-DB352F647225}"/>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0575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AB0E-B469-C409-AFFA-2E7D54D738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69159B5-6998-F676-C099-A3B516B920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A2BB8FA-7C7D-AAC3-03E6-C37C8DBCB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59741E-FA99-DDFE-22EC-ED37E8EFED2F}"/>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6" name="Footer Placeholder 5">
            <a:extLst>
              <a:ext uri="{FF2B5EF4-FFF2-40B4-BE49-F238E27FC236}">
                <a16:creationId xmlns:a16="http://schemas.microsoft.com/office/drawing/2014/main" id="{699B26E2-8080-3035-BA21-383ACED9E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C850BC-FE52-B1FF-6350-3E751999EFA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330832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B7F57-39D5-C614-4045-8C236549A5C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21B197E-557E-4427-9EBC-537882EF5A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809BE-7F98-0816-D773-19E230279A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63C4FD4-A360-787F-3521-F4F124068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10C97-2AF6-44DB-A7CA-9349559F72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AEE5B7E-BF9D-4409-F287-34E5C844F22B}"/>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8" name="Footer Placeholder 7">
            <a:extLst>
              <a:ext uri="{FF2B5EF4-FFF2-40B4-BE49-F238E27FC236}">
                <a16:creationId xmlns:a16="http://schemas.microsoft.com/office/drawing/2014/main" id="{F2F544D2-2FFC-E60C-6746-D35B7B40D45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CC603DE-1205-4F8E-BC80-C26DD541292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770636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D14-B560-5502-8FA7-7C5ED24758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3E143C-9D80-7B20-53F1-F62F1622C8A2}"/>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4" name="Footer Placeholder 3">
            <a:extLst>
              <a:ext uri="{FF2B5EF4-FFF2-40B4-BE49-F238E27FC236}">
                <a16:creationId xmlns:a16="http://schemas.microsoft.com/office/drawing/2014/main" id="{423224EA-D8AD-8467-6FA2-551B21B89E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D5502-98CE-1730-CF44-A6E43451D70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6746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D3DF59-3DE8-1391-6796-F8628072A2C5}"/>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3" name="Footer Placeholder 2">
            <a:extLst>
              <a:ext uri="{FF2B5EF4-FFF2-40B4-BE49-F238E27FC236}">
                <a16:creationId xmlns:a16="http://schemas.microsoft.com/office/drawing/2014/main" id="{3E1741E8-5687-ABAE-BFDA-ABFB4E3F95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E1F92D4-5F01-F416-5AB8-5946FF38D62C}"/>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059175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414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80FC-954B-3902-44DA-728C90F766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C7B6F3C-2639-35E1-B777-330AF3DBB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163C5E-D09C-57C5-2EC2-70882C8667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F375C-4470-09D6-15BE-9BF9331F0EC2}"/>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6" name="Footer Placeholder 5">
            <a:extLst>
              <a:ext uri="{FF2B5EF4-FFF2-40B4-BE49-F238E27FC236}">
                <a16:creationId xmlns:a16="http://schemas.microsoft.com/office/drawing/2014/main" id="{DE8796F1-3EE7-BE1C-93CC-2135E5BBDC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C2ACCB-8014-917F-BE76-14490BABA76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014191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65C55-DE59-AD45-2ED2-29A7911569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E21D154-BEFF-4042-8137-4CE2589046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5F2CF-5E0E-84D9-7794-1E1EC50C4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3EA2CF-FF4B-F037-DBB0-1AE8C8E06AA6}"/>
              </a:ext>
            </a:extLst>
          </p:cNvPr>
          <p:cNvSpPr>
            <a:spLocks noGrp="1"/>
          </p:cNvSpPr>
          <p:nvPr>
            <p:ph type="dt" sz="half" idx="10"/>
          </p:nvPr>
        </p:nvSpPr>
        <p:spPr/>
        <p:txBody>
          <a:bodyPr/>
          <a:lstStyle/>
          <a:p>
            <a:fld id="{9D50113B-307E-4BCC-B109-BBD51B521CA0}" type="datetimeFigureOut">
              <a:rPr lang="en-GB" smtClean="0"/>
              <a:t>18/11/2025</a:t>
            </a:fld>
            <a:endParaRPr lang="en-GB"/>
          </a:p>
        </p:txBody>
      </p:sp>
      <p:sp>
        <p:nvSpPr>
          <p:cNvPr id="6" name="Footer Placeholder 5">
            <a:extLst>
              <a:ext uri="{FF2B5EF4-FFF2-40B4-BE49-F238E27FC236}">
                <a16:creationId xmlns:a16="http://schemas.microsoft.com/office/drawing/2014/main" id="{0D4DDD2A-A5F6-F1C5-05E8-64CD9D51A7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3BC7A3-B58F-13B7-9995-D27EF38245E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2217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40.xml"/><Relationship Id="rId7" Type="http://schemas.openxmlformats.org/officeDocument/2006/relationships/slideLayout" Target="../slideLayouts/slideLayout180.xml"/><Relationship Id="rId12" Type="http://schemas.openxmlformats.org/officeDocument/2006/relationships/theme" Target="../theme/theme20.xml"/><Relationship Id="rId2" Type="http://schemas.openxmlformats.org/officeDocument/2006/relationships/slideLayout" Target="../slideLayouts/slideLayout130.xml"/><Relationship Id="rId1" Type="http://schemas.openxmlformats.org/officeDocument/2006/relationships/slideLayout" Target="../slideLayouts/slideLayout120.xml"/><Relationship Id="rId6" Type="http://schemas.openxmlformats.org/officeDocument/2006/relationships/slideLayout" Target="../slideLayouts/slideLayout170.xml"/><Relationship Id="rId11" Type="http://schemas.openxmlformats.org/officeDocument/2006/relationships/slideLayout" Target="../slideLayouts/slideLayout220.xml"/><Relationship Id="rId5" Type="http://schemas.openxmlformats.org/officeDocument/2006/relationships/slideLayout" Target="../slideLayouts/slideLayout160.xml"/><Relationship Id="rId10" Type="http://schemas.openxmlformats.org/officeDocument/2006/relationships/slideLayout" Target="../slideLayouts/slideLayout210.xml"/><Relationship Id="rId4" Type="http://schemas.openxmlformats.org/officeDocument/2006/relationships/slideLayout" Target="../slideLayouts/slideLayout150.xml"/><Relationship Id="rId9"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50F0E9-14D8-C13A-164C-5578C2FAD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BF6759-8623-0D18-E856-4DECD53A00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B6CE54-4744-A76E-1786-3567DF9AFE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50113B-307E-4BCC-B109-BBD51B521CA0}" type="datetimeFigureOut">
              <a:rPr lang="en-GB" smtClean="0"/>
              <a:t>18/11/2025</a:t>
            </a:fld>
            <a:endParaRPr lang="en-GB"/>
          </a:p>
        </p:txBody>
      </p:sp>
      <p:sp>
        <p:nvSpPr>
          <p:cNvPr id="5" name="Footer Placeholder 4">
            <a:extLst>
              <a:ext uri="{FF2B5EF4-FFF2-40B4-BE49-F238E27FC236}">
                <a16:creationId xmlns:a16="http://schemas.microsoft.com/office/drawing/2014/main" id="{B98C2A40-3DF3-1B62-CB90-5CF5DDD2B2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CF77C0B-632A-3E36-411B-34F99CAAF3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14E427-6CF7-43B6-97E6-2AF54BA7AF6B}" type="slidenum">
              <a:rPr lang="en-GB" smtClean="0"/>
              <a:t>‹#›</a:t>
            </a:fld>
            <a:endParaRPr lang="en-GB"/>
          </a:p>
        </p:txBody>
      </p:sp>
    </p:spTree>
    <p:extLst>
      <p:ext uri="{BB962C8B-B14F-4D97-AF65-F5344CB8AC3E}">
        <p14:creationId xmlns:p14="http://schemas.microsoft.com/office/powerpoint/2010/main" val="37868012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5E39B9-08EC-4F45-925B-8D107A3A0A96}" type="datetime1">
              <a:rPr lang="en-GB" smtClean="0"/>
              <a:t>18/11/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Designed by One Skill</a:t>
            </a:r>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5E39B9-08EC-4F45-925B-8D107A3A0A96}" type="datetime1">
              <a:rPr lang="en-GB" smtClean="0"/>
              <a:t>16/11/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Designed by One Skill</a:t>
            </a:r>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notesSlide" Target="../notesSlides/notesSlide1.xml"/><Relationship Id="rId16" Type="http://schemas.openxmlformats.org/officeDocument/2006/relationships/image" Target="../media/image14.png"/><Relationship Id="rId20" Type="http://schemas.openxmlformats.org/officeDocument/2006/relationships/image" Target="../media/image18.svg"/><Relationship Id="rId1" Type="http://schemas.openxmlformats.org/officeDocument/2006/relationships/slideLayout" Target="../slideLayouts/slideLayout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3.svg"/><Relationship Id="rId15" Type="http://schemas.openxmlformats.org/officeDocument/2006/relationships/image" Target="../media/image13.sv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image" Target="../media/image2.png"/><Relationship Id="rId9" Type="http://schemas.openxmlformats.org/officeDocument/2006/relationships/image" Target="../media/image7.svg"/><Relationship Id="rId1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16.png"/><Relationship Id="rId3" Type="http://schemas.openxmlformats.org/officeDocument/2006/relationships/image" Target="../media/image1.png"/><Relationship Id="rId7" Type="http://schemas.microsoft.com/office/2017/06/relationships/model3d" Target="../media/model3d1.glb"/><Relationship Id="rId12"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29.svg"/><Relationship Id="rId10" Type="http://schemas.openxmlformats.org/officeDocument/2006/relationships/image" Target="../media/image57.png"/><Relationship Id="rId4" Type="http://schemas.openxmlformats.org/officeDocument/2006/relationships/image" Target="../media/image28.png"/><Relationship Id="rId9" Type="http://schemas.openxmlformats.org/officeDocument/2006/relationships/image" Target="../media/image56.png"/></Relationships>
</file>

<file path=ppt/slides/_rels/slide100.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70.xml"/><Relationship Id="rId1" Type="http://schemas.openxmlformats.org/officeDocument/2006/relationships/slideLayout" Target="../slideLayouts/slideLayout180.xml"/><Relationship Id="rId5" Type="http://schemas.openxmlformats.org/officeDocument/2006/relationships/image" Target="../media/image29.svg"/><Relationship Id="rId4" Type="http://schemas.openxmlformats.org/officeDocument/2006/relationships/image" Target="../media/image280.png"/></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28.png"/><Relationship Id="rId7" Type="http://schemas.openxmlformats.org/officeDocument/2006/relationships/image" Target="../media/image54.png"/><Relationship Id="rId12" Type="http://schemas.openxmlformats.org/officeDocument/2006/relationships/image" Target="../media/image58.png"/><Relationship Id="rId2" Type="http://schemas.openxmlformats.org/officeDocument/2006/relationships/image" Target="../media/image1.png"/><Relationship Id="rId1" Type="http://schemas.openxmlformats.org/officeDocument/2006/relationships/slideLayout" Target="../slideLayouts/slideLayout18.xml"/><Relationship Id="rId6" Type="http://schemas.microsoft.com/office/2017/06/relationships/model3d" Target="../media/model3d1.glb"/><Relationship Id="rId11" Type="http://schemas.openxmlformats.org/officeDocument/2006/relationships/image" Target="../media/image16.png"/><Relationship Id="rId5" Type="http://schemas.openxmlformats.org/officeDocument/2006/relationships/image" Target="../media/image55.png"/><Relationship Id="rId10" Type="http://schemas.openxmlformats.org/officeDocument/2006/relationships/image" Target="../media/image59.jpeg"/><Relationship Id="rId4" Type="http://schemas.openxmlformats.org/officeDocument/2006/relationships/image" Target="../media/image29.svg"/><Relationship Id="rId9" Type="http://schemas.openxmlformats.org/officeDocument/2006/relationships/image" Target="../media/image580.png"/></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8.png"/><Relationship Id="rId7"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60.png"/><Relationship Id="rId5" Type="http://schemas.microsoft.com/office/2017/06/relationships/model3d" Target="../media/model3d1.glb"/><Relationship Id="rId4" Type="http://schemas.openxmlformats.org/officeDocument/2006/relationships/image" Target="../media/image29.svg"/></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1.png"/><Relationship Id="rId7"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58.png"/><Relationship Id="rId11" Type="http://schemas.openxmlformats.org/officeDocument/2006/relationships/image" Target="../media/image64.png"/><Relationship Id="rId5" Type="http://schemas.openxmlformats.org/officeDocument/2006/relationships/image" Target="../media/image29.svg"/><Relationship Id="rId10" Type="http://schemas.microsoft.com/office/2017/06/relationships/model3d" Target="../media/model3d1.glb"/><Relationship Id="rId4" Type="http://schemas.openxmlformats.org/officeDocument/2006/relationships/image" Target="../media/image28.png"/><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1.png"/><Relationship Id="rId1" Type="http://schemas.openxmlformats.org/officeDocument/2006/relationships/slideLayout" Target="../slideLayouts/slideLayout18.xml"/><Relationship Id="rId4" Type="http://schemas.openxmlformats.org/officeDocument/2006/relationships/image" Target="../media/image32.svg"/></Relationships>
</file>

<file path=ppt/slides/_rels/slide140.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image" Target="../media/image410.png"/><Relationship Id="rId1" Type="http://schemas.openxmlformats.org/officeDocument/2006/relationships/slideLayout" Target="../slideLayouts/slideLayout180.xml"/><Relationship Id="rId4" Type="http://schemas.openxmlformats.org/officeDocument/2006/relationships/image" Target="../media/image32.sv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13" Type="http://schemas.microsoft.com/office/2007/relationships/hdphoto" Target="../media/hdphoto6.wdp"/><Relationship Id="rId3" Type="http://schemas.openxmlformats.org/officeDocument/2006/relationships/image" Target="../media/image31.png"/><Relationship Id="rId7" Type="http://schemas.openxmlformats.org/officeDocument/2006/relationships/image" Target="../media/image68.png"/><Relationship Id="rId12" Type="http://schemas.openxmlformats.org/officeDocument/2006/relationships/image" Target="../media/image66.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67.png"/><Relationship Id="rId11" Type="http://schemas.microsoft.com/office/2007/relationships/hdphoto" Target="../media/hdphoto5.wdp"/><Relationship Id="rId5" Type="http://schemas.openxmlformats.org/officeDocument/2006/relationships/image" Target="../media/image16.png"/><Relationship Id="rId15" Type="http://schemas.microsoft.com/office/2007/relationships/hdphoto" Target="../media/hdphoto7.wdp"/><Relationship Id="rId10" Type="http://schemas.openxmlformats.org/officeDocument/2006/relationships/image" Target="../media/image65.png"/><Relationship Id="rId4" Type="http://schemas.openxmlformats.org/officeDocument/2006/relationships/image" Target="../media/image32.svg"/><Relationship Id="rId9" Type="http://schemas.openxmlformats.org/officeDocument/2006/relationships/image" Target="../media/image58.png"/><Relationship Id="rId14" Type="http://schemas.openxmlformats.org/officeDocument/2006/relationships/image" Target="../media/image70.png"/></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58.png"/><Relationship Id="rId3" Type="http://schemas.openxmlformats.org/officeDocument/2006/relationships/image" Target="../media/image31.png"/><Relationship Id="rId7" Type="http://schemas.openxmlformats.org/officeDocument/2006/relationships/image" Target="../media/image71.png"/><Relationship Id="rId12" Type="http://schemas.microsoft.com/office/2007/relationships/hdphoto" Target="../media/hdphoto7.wdp"/><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16.png"/><Relationship Id="rId11" Type="http://schemas.openxmlformats.org/officeDocument/2006/relationships/image" Target="../media/image70.png"/><Relationship Id="rId5" Type="http://schemas.openxmlformats.org/officeDocument/2006/relationships/image" Target="../media/image73.png"/><Relationship Id="rId15" Type="http://schemas.microsoft.com/office/2007/relationships/hdphoto" Target="../media/hdphoto5.wdp"/><Relationship Id="rId10" Type="http://schemas.microsoft.com/office/2007/relationships/hdphoto" Target="../media/hdphoto6.wdp"/><Relationship Id="rId4" Type="http://schemas.openxmlformats.org/officeDocument/2006/relationships/image" Target="../media/image32.svg"/><Relationship Id="rId9" Type="http://schemas.openxmlformats.org/officeDocument/2006/relationships/image" Target="../media/image66.png"/><Relationship Id="rId14" Type="http://schemas.openxmlformats.org/officeDocument/2006/relationships/image" Target="../media/image65.pn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5.png"/><Relationship Id="rId3" Type="http://schemas.openxmlformats.org/officeDocument/2006/relationships/image" Target="../media/image31.png"/><Relationship Id="rId7" Type="http://schemas.openxmlformats.org/officeDocument/2006/relationships/image" Target="../media/image77.png"/><Relationship Id="rId12" Type="http://schemas.microsoft.com/office/2007/relationships/hdphoto" Target="../media/hdphoto7.wdp"/><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76.png"/><Relationship Id="rId11" Type="http://schemas.openxmlformats.org/officeDocument/2006/relationships/image" Target="../media/image70.png"/><Relationship Id="rId5" Type="http://schemas.openxmlformats.org/officeDocument/2006/relationships/image" Target="../media/image16.png"/><Relationship Id="rId10" Type="http://schemas.openxmlformats.org/officeDocument/2006/relationships/image" Target="../media/image58.png"/><Relationship Id="rId4" Type="http://schemas.openxmlformats.org/officeDocument/2006/relationships/image" Target="../media/image32.svg"/><Relationship Id="rId9" Type="http://schemas.microsoft.com/office/2007/relationships/hdphoto" Target="../media/hdphoto6.wdp"/><Relationship Id="rId14" Type="http://schemas.microsoft.com/office/2007/relationships/hdphoto" Target="../media/hdphoto5.wdp"/></Relationships>
</file>

<file path=ppt/slides/_rels/slide18.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70.png"/><Relationship Id="rId3" Type="http://schemas.openxmlformats.org/officeDocument/2006/relationships/image" Target="../media/image31.png"/><Relationship Id="rId7" Type="http://schemas.openxmlformats.org/officeDocument/2006/relationships/image" Target="../media/image79.png"/><Relationship Id="rId12" Type="http://schemas.microsoft.com/office/2007/relationships/hdphoto" Target="../media/hdphoto5.wdp"/><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72.png"/><Relationship Id="rId11" Type="http://schemas.openxmlformats.org/officeDocument/2006/relationships/image" Target="../media/image65.png"/><Relationship Id="rId5" Type="http://schemas.openxmlformats.org/officeDocument/2006/relationships/image" Target="../media/image16.png"/><Relationship Id="rId15" Type="http://schemas.openxmlformats.org/officeDocument/2006/relationships/image" Target="../media/image58.png"/><Relationship Id="rId10" Type="http://schemas.microsoft.com/office/2007/relationships/hdphoto" Target="../media/hdphoto6.wdp"/><Relationship Id="rId4" Type="http://schemas.openxmlformats.org/officeDocument/2006/relationships/image" Target="../media/image32.svg"/><Relationship Id="rId9" Type="http://schemas.openxmlformats.org/officeDocument/2006/relationships/image" Target="../media/image66.png"/><Relationship Id="rId14" Type="http://schemas.microsoft.com/office/2007/relationships/hdphoto" Target="../media/hdphoto7.wdp"/></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hdphoto" Target="../media/hdphoto5.wdp"/><Relationship Id="rId3" Type="http://schemas.openxmlformats.org/officeDocument/2006/relationships/image" Target="../media/image31.png"/><Relationship Id="rId7" Type="http://schemas.openxmlformats.org/officeDocument/2006/relationships/image" Target="../media/image82.png"/><Relationship Id="rId12" Type="http://schemas.openxmlformats.org/officeDocument/2006/relationships/image" Target="../media/image65.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81.png"/><Relationship Id="rId11" Type="http://schemas.microsoft.com/office/2007/relationships/hdphoto" Target="../media/hdphoto7.wdp"/><Relationship Id="rId5" Type="http://schemas.openxmlformats.org/officeDocument/2006/relationships/image" Target="../media/image16.png"/><Relationship Id="rId10" Type="http://schemas.openxmlformats.org/officeDocument/2006/relationships/image" Target="../media/image70.png"/><Relationship Id="rId4" Type="http://schemas.openxmlformats.org/officeDocument/2006/relationships/image" Target="../media/image32.svg"/><Relationship Id="rId9" Type="http://schemas.microsoft.com/office/2007/relationships/hdphoto" Target="../media/hdphoto6.wdp"/><Relationship Id="rId14" Type="http://schemas.openxmlformats.org/officeDocument/2006/relationships/image" Target="../media/image58.png"/></Relationships>
</file>

<file path=ppt/slides/_rels/slide2.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29.svg"/><Relationship Id="rId26" Type="http://schemas.openxmlformats.org/officeDocument/2006/relationships/image" Target="../media/image33.png"/><Relationship Id="rId39" Type="http://schemas.openxmlformats.org/officeDocument/2006/relationships/image" Target="../media/image39.svg"/><Relationship Id="rId34" Type="http://schemas.openxmlformats.org/officeDocument/2006/relationships/image" Target="../media/image37.png"/><Relationship Id="rId7" Type="http://schemas.openxmlformats.org/officeDocument/2006/relationships/image" Target="../media/image20.png"/><Relationship Id="rId12" Type="http://schemas.openxmlformats.org/officeDocument/2006/relationships/slide" Target="slide8.xml"/><Relationship Id="rId17" Type="http://schemas.openxmlformats.org/officeDocument/2006/relationships/image" Target="../media/image28.png"/><Relationship Id="rId25" Type="http://schemas.openxmlformats.org/officeDocument/2006/relationships/image" Target="../media/image32.svg"/><Relationship Id="rId33" Type="http://schemas.openxmlformats.org/officeDocument/2006/relationships/image" Target="../media/image36.svg"/><Relationship Id="rId38" Type="http://schemas.openxmlformats.org/officeDocument/2006/relationships/image" Target="../media/image38.png"/><Relationship Id="rId2" Type="http://schemas.openxmlformats.org/officeDocument/2006/relationships/notesSlide" Target="../notesSlides/notesSlide2.xml"/><Relationship Id="rId16" Type="http://schemas.openxmlformats.org/officeDocument/2006/relationships/slide" Target="slide6.xml"/><Relationship Id="rId29"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194.png"/><Relationship Id="rId11" Type="http://schemas.openxmlformats.org/officeDocument/2006/relationships/image" Target="../media/image24.png"/><Relationship Id="rId24" Type="http://schemas.openxmlformats.org/officeDocument/2006/relationships/image" Target="../media/image31.png"/><Relationship Id="rId32" Type="http://schemas.openxmlformats.org/officeDocument/2006/relationships/image" Target="../media/image35.png"/><Relationship Id="rId37" Type="http://schemas.openxmlformats.org/officeDocument/2006/relationships/image" Target="../media/image16.png"/><Relationship Id="rId5" Type="http://schemas.openxmlformats.org/officeDocument/2006/relationships/slide" Target="slide30.xml"/><Relationship Id="rId15" Type="http://schemas.openxmlformats.org/officeDocument/2006/relationships/image" Target="../media/image27.png"/><Relationship Id="rId23" Type="http://schemas.openxmlformats.org/officeDocument/2006/relationships/image" Target="../media/image300.png"/><Relationship Id="rId28" Type="http://schemas.openxmlformats.org/officeDocument/2006/relationships/image" Target="../media/image330.png"/><Relationship Id="rId36" Type="http://schemas.openxmlformats.org/officeDocument/2006/relationships/image" Target="../media/image370.png"/><Relationship Id="rId10" Type="http://schemas.openxmlformats.org/officeDocument/2006/relationships/image" Target="../media/image23.svg"/><Relationship Id="rId19" Type="http://schemas.openxmlformats.org/officeDocument/2006/relationships/image" Target="../media/image30.png"/><Relationship Id="rId31" Type="http://schemas.openxmlformats.org/officeDocument/2006/relationships/image" Target="../media/image340.png"/><Relationship Id="rId4" Type="http://schemas.openxmlformats.org/officeDocument/2006/relationships/image" Target="../media/image19.png"/><Relationship Id="rId9" Type="http://schemas.openxmlformats.org/officeDocument/2006/relationships/image" Target="../media/image22.png"/><Relationship Id="rId14" Type="http://schemas.openxmlformats.org/officeDocument/2006/relationships/image" Target="../media/image26.svg"/><Relationship Id="rId22" Type="http://schemas.openxmlformats.org/officeDocument/2006/relationships/slide" Target="slide100.xml"/><Relationship Id="rId27" Type="http://schemas.openxmlformats.org/officeDocument/2006/relationships/slide" Target="slide140.xml"/><Relationship Id="rId30" Type="http://schemas.openxmlformats.org/officeDocument/2006/relationships/slide" Target="slide230.xml"/><Relationship Id="rId35" Type="http://schemas.openxmlformats.org/officeDocument/2006/relationships/slide" Target="slide280.xml"/><Relationship Id="rId8" Type="http://schemas.openxmlformats.org/officeDocument/2006/relationships/image" Target="../media/image21.svg"/><Relationship Id="rId3" Type="http://schemas.openxmlformats.org/officeDocument/2006/relationships/image" Target="../media/image1.png"/></Relationships>
</file>

<file path=ppt/slides/_rels/slide20.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5.wdp"/><Relationship Id="rId3" Type="http://schemas.openxmlformats.org/officeDocument/2006/relationships/image" Target="../media/image31.png"/><Relationship Id="rId7" Type="http://schemas.openxmlformats.org/officeDocument/2006/relationships/image" Target="../media/image66.png"/><Relationship Id="rId12" Type="http://schemas.openxmlformats.org/officeDocument/2006/relationships/image" Target="../media/image65.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74.png"/><Relationship Id="rId11" Type="http://schemas.microsoft.com/office/2007/relationships/hdphoto" Target="../media/hdphoto7.wdp"/><Relationship Id="rId5" Type="http://schemas.openxmlformats.org/officeDocument/2006/relationships/image" Target="../media/image16.png"/><Relationship Id="rId10" Type="http://schemas.openxmlformats.org/officeDocument/2006/relationships/image" Target="../media/image70.png"/><Relationship Id="rId4" Type="http://schemas.openxmlformats.org/officeDocument/2006/relationships/image" Target="../media/image32.svg"/><Relationship Id="rId9" Type="http://schemas.openxmlformats.org/officeDocument/2006/relationships/image" Target="../media/image58.png"/></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5.png"/><Relationship Id="rId3" Type="http://schemas.openxmlformats.org/officeDocument/2006/relationships/image" Target="../media/image31.png"/><Relationship Id="rId7" Type="http://schemas.openxmlformats.org/officeDocument/2006/relationships/image" Target="../media/image85.png"/><Relationship Id="rId12" Type="http://schemas.microsoft.com/office/2007/relationships/hdphoto" Target="../media/hdphoto7.wdp"/><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84.png"/><Relationship Id="rId11" Type="http://schemas.openxmlformats.org/officeDocument/2006/relationships/image" Target="../media/image70.png"/><Relationship Id="rId5" Type="http://schemas.openxmlformats.org/officeDocument/2006/relationships/image" Target="../media/image16.png"/><Relationship Id="rId10" Type="http://schemas.openxmlformats.org/officeDocument/2006/relationships/image" Target="../media/image58.png"/><Relationship Id="rId4" Type="http://schemas.openxmlformats.org/officeDocument/2006/relationships/image" Target="../media/image32.svg"/><Relationship Id="rId9" Type="http://schemas.microsoft.com/office/2007/relationships/hdphoto" Target="../media/hdphoto6.wdp"/><Relationship Id="rId14" Type="http://schemas.microsoft.com/office/2007/relationships/hdphoto" Target="../media/hdphoto5.wdp"/></Relationships>
</file>

<file path=ppt/slides/_rels/slide22.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5.wdp"/><Relationship Id="rId3" Type="http://schemas.openxmlformats.org/officeDocument/2006/relationships/image" Target="../media/image31.png"/><Relationship Id="rId7" Type="http://schemas.openxmlformats.org/officeDocument/2006/relationships/image" Target="../media/image66.png"/><Relationship Id="rId12" Type="http://schemas.openxmlformats.org/officeDocument/2006/relationships/image" Target="../media/image65.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78.png"/><Relationship Id="rId11" Type="http://schemas.microsoft.com/office/2007/relationships/hdphoto" Target="../media/hdphoto7.wdp"/><Relationship Id="rId5" Type="http://schemas.openxmlformats.org/officeDocument/2006/relationships/image" Target="../media/image16.png"/><Relationship Id="rId10" Type="http://schemas.openxmlformats.org/officeDocument/2006/relationships/image" Target="../media/image70.png"/><Relationship Id="rId4" Type="http://schemas.openxmlformats.org/officeDocument/2006/relationships/image" Target="../media/image32.svg"/><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3.png"/><Relationship Id="rId7" Type="http://schemas.openxmlformats.org/officeDocument/2006/relationships/image" Target="../media/image88.png"/><Relationship Id="rId2" Type="http://schemas.openxmlformats.org/officeDocument/2006/relationships/image" Target="../media/image79.jpeg"/><Relationship Id="rId1" Type="http://schemas.openxmlformats.org/officeDocument/2006/relationships/slideLayout" Target="../slideLayouts/slideLayout18.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4.svg"/></Relationships>
</file>

<file path=ppt/slides/_rels/slide23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70.png"/><Relationship Id="rId7" Type="http://schemas.openxmlformats.org/officeDocument/2006/relationships/image" Target="../media/image910.png"/><Relationship Id="rId2" Type="http://schemas.openxmlformats.org/officeDocument/2006/relationships/image" Target="../media/image480.jpeg"/><Relationship Id="rId1" Type="http://schemas.openxmlformats.org/officeDocument/2006/relationships/slideLayout" Target="../slideLayouts/slideLayout180.xml"/><Relationship Id="rId6" Type="http://schemas.openxmlformats.org/officeDocument/2006/relationships/image" Target="../media/image87.svg"/><Relationship Id="rId5" Type="http://schemas.openxmlformats.org/officeDocument/2006/relationships/image" Target="../media/image890.png"/><Relationship Id="rId4" Type="http://schemas.openxmlformats.org/officeDocument/2006/relationships/image" Target="../media/image84.svg"/></Relationships>
</file>

<file path=ppt/slides/_rels/slide24.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6.png"/><Relationship Id="rId7" Type="http://schemas.openxmlformats.org/officeDocument/2006/relationships/image" Target="../media/image90.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93.png"/><Relationship Id="rId5" Type="http://schemas.openxmlformats.org/officeDocument/2006/relationships/image" Target="../media/image39.sv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91.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95.png"/><Relationship Id="rId5" Type="http://schemas.openxmlformats.org/officeDocument/2006/relationships/image" Target="../media/image39.sv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6.png"/><Relationship Id="rId3" Type="http://schemas.openxmlformats.org/officeDocument/2006/relationships/image" Target="../media/image1.png"/><Relationship Id="rId7" Type="http://schemas.microsoft.com/office/2007/relationships/hdphoto" Target="../media/hdphoto9.wdp"/><Relationship Id="rId12" Type="http://schemas.openxmlformats.org/officeDocument/2006/relationships/image" Target="../media/image970.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39.svg"/><Relationship Id="rId10" Type="http://schemas.openxmlformats.org/officeDocument/2006/relationships/image" Target="../media/image96.png"/><Relationship Id="rId4" Type="http://schemas.openxmlformats.org/officeDocument/2006/relationships/image" Target="../media/image38.png"/><Relationship Id="rId9" Type="http://schemas.microsoft.com/office/2007/relationships/hdphoto" Target="../media/hdphoto10.wdp"/></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00.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99.png"/><Relationship Id="rId5" Type="http://schemas.openxmlformats.org/officeDocument/2006/relationships/image" Target="../media/image98.png"/><Relationship Id="rId4" Type="http://schemas.microsoft.com/office/2017/06/relationships/model3d" Target="../media/model3d1.glb"/></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1.png"/><Relationship Id="rId1" Type="http://schemas.openxmlformats.org/officeDocument/2006/relationships/slideLayout" Target="../slideLayouts/slideLayout18.xml"/><Relationship Id="rId6" Type="http://schemas.microsoft.com/office/2007/relationships/hdphoto" Target="../media/hdphoto11.wdp"/><Relationship Id="rId5" Type="http://schemas.openxmlformats.org/officeDocument/2006/relationships/image" Target="../media/image101.png"/><Relationship Id="rId4" Type="http://schemas.openxmlformats.org/officeDocument/2006/relationships/image" Target="../media/image36.svg"/></Relationships>
</file>

<file path=ppt/slides/_rels/slide280.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image" Target="../media/image410.png"/><Relationship Id="rId1" Type="http://schemas.openxmlformats.org/officeDocument/2006/relationships/slideLayout" Target="../slideLayouts/slideLayout180.xml"/><Relationship Id="rId6" Type="http://schemas.microsoft.com/office/2007/relationships/hdphoto" Target="../media/hdphoto80.wdp"/><Relationship Id="rId5" Type="http://schemas.openxmlformats.org/officeDocument/2006/relationships/image" Target="../media/image105.png"/><Relationship Id="rId4" Type="http://schemas.openxmlformats.org/officeDocument/2006/relationships/image" Target="../media/image36.svg"/></Relationships>
</file>

<file path=ppt/slides/_rels/slide29.xml.rels><?xml version="1.0" encoding="UTF-8" standalone="yes"?>
<Relationships xmlns="http://schemas.openxmlformats.org/package/2006/relationships"><Relationship Id="rId117" Type="http://schemas.openxmlformats.org/officeDocument/2006/relationships/customXml" Target="../ink/ink58.xml"/><Relationship Id="rId21" Type="http://schemas.openxmlformats.org/officeDocument/2006/relationships/customXml" Target="../ink/ink9.xml"/><Relationship Id="rId42" Type="http://schemas.openxmlformats.org/officeDocument/2006/relationships/image" Target="../media/image124.png"/><Relationship Id="rId63" Type="http://schemas.openxmlformats.org/officeDocument/2006/relationships/customXml" Target="../ink/ink30.xml"/><Relationship Id="rId84" Type="http://schemas.openxmlformats.org/officeDocument/2006/relationships/image" Target="../media/image145.png"/><Relationship Id="rId138" Type="http://schemas.openxmlformats.org/officeDocument/2006/relationships/image" Target="../media/image171.png"/><Relationship Id="rId159" Type="http://schemas.openxmlformats.org/officeDocument/2006/relationships/customXml" Target="../ink/ink79.xml"/><Relationship Id="rId170" Type="http://schemas.openxmlformats.org/officeDocument/2006/relationships/image" Target="../media/image187.png"/><Relationship Id="rId107" Type="http://schemas.openxmlformats.org/officeDocument/2006/relationships/customXml" Target="../ink/ink53.xml"/><Relationship Id="rId11" Type="http://schemas.openxmlformats.org/officeDocument/2006/relationships/customXml" Target="../ink/ink4.xml"/><Relationship Id="rId32" Type="http://schemas.openxmlformats.org/officeDocument/2006/relationships/image" Target="../media/image119.png"/><Relationship Id="rId53" Type="http://schemas.openxmlformats.org/officeDocument/2006/relationships/customXml" Target="../ink/ink25.xml"/><Relationship Id="rId74" Type="http://schemas.openxmlformats.org/officeDocument/2006/relationships/image" Target="../media/image140.png"/><Relationship Id="rId128" Type="http://schemas.openxmlformats.org/officeDocument/2006/relationships/image" Target="../media/image166.png"/><Relationship Id="rId149" Type="http://schemas.openxmlformats.org/officeDocument/2006/relationships/customXml" Target="../ink/ink74.xml"/><Relationship Id="rId5" Type="http://schemas.openxmlformats.org/officeDocument/2006/relationships/customXml" Target="../ink/ink1.xml"/><Relationship Id="rId95" Type="http://schemas.openxmlformats.org/officeDocument/2006/relationships/customXml" Target="../ink/ink47.xml"/><Relationship Id="rId160" Type="http://schemas.openxmlformats.org/officeDocument/2006/relationships/image" Target="../media/image182.png"/><Relationship Id="rId181" Type="http://schemas.openxmlformats.org/officeDocument/2006/relationships/customXml" Target="../ink/ink90.xml"/><Relationship Id="rId22" Type="http://schemas.openxmlformats.org/officeDocument/2006/relationships/image" Target="../media/image114.png"/><Relationship Id="rId43" Type="http://schemas.openxmlformats.org/officeDocument/2006/relationships/customXml" Target="../ink/ink20.xml"/><Relationship Id="rId64" Type="http://schemas.openxmlformats.org/officeDocument/2006/relationships/image" Target="../media/image135.png"/><Relationship Id="rId118" Type="http://schemas.openxmlformats.org/officeDocument/2006/relationships/image" Target="../media/image161.png"/><Relationship Id="rId139" Type="http://schemas.openxmlformats.org/officeDocument/2006/relationships/customXml" Target="../ink/ink69.xml"/><Relationship Id="rId85" Type="http://schemas.openxmlformats.org/officeDocument/2006/relationships/customXml" Target="../ink/ink41.xml"/><Relationship Id="rId150" Type="http://schemas.openxmlformats.org/officeDocument/2006/relationships/image" Target="../media/image177.png"/><Relationship Id="rId171" Type="http://schemas.openxmlformats.org/officeDocument/2006/relationships/customXml" Target="../ink/ink85.xml"/><Relationship Id="rId12" Type="http://schemas.openxmlformats.org/officeDocument/2006/relationships/image" Target="../media/image109.png"/><Relationship Id="rId33" Type="http://schemas.openxmlformats.org/officeDocument/2006/relationships/customXml" Target="../ink/ink15.xml"/><Relationship Id="rId108" Type="http://schemas.openxmlformats.org/officeDocument/2006/relationships/image" Target="../media/image156.png"/><Relationship Id="rId129" Type="http://schemas.openxmlformats.org/officeDocument/2006/relationships/customXml" Target="../ink/ink64.xml"/><Relationship Id="rId54" Type="http://schemas.openxmlformats.org/officeDocument/2006/relationships/image" Target="../media/image130.png"/><Relationship Id="rId75" Type="http://schemas.openxmlformats.org/officeDocument/2006/relationships/customXml" Target="../ink/ink36.xml"/><Relationship Id="rId96" Type="http://schemas.openxmlformats.org/officeDocument/2006/relationships/image" Target="../media/image150.png"/><Relationship Id="rId140" Type="http://schemas.openxmlformats.org/officeDocument/2006/relationships/image" Target="../media/image172.png"/><Relationship Id="rId161" Type="http://schemas.openxmlformats.org/officeDocument/2006/relationships/customXml" Target="../ink/ink80.xml"/><Relationship Id="rId182" Type="http://schemas.openxmlformats.org/officeDocument/2006/relationships/image" Target="../media/image193.png"/><Relationship Id="rId6" Type="http://schemas.openxmlformats.org/officeDocument/2006/relationships/image" Target="../media/image106.png"/><Relationship Id="rId23" Type="http://schemas.openxmlformats.org/officeDocument/2006/relationships/customXml" Target="../ink/ink10.xml"/><Relationship Id="rId119" Type="http://schemas.openxmlformats.org/officeDocument/2006/relationships/customXml" Target="../ink/ink59.xml"/><Relationship Id="rId44" Type="http://schemas.openxmlformats.org/officeDocument/2006/relationships/image" Target="../media/image125.png"/><Relationship Id="rId60" Type="http://schemas.openxmlformats.org/officeDocument/2006/relationships/image" Target="../media/image133.png"/><Relationship Id="rId65" Type="http://schemas.openxmlformats.org/officeDocument/2006/relationships/customXml" Target="../ink/ink31.xml"/><Relationship Id="rId81" Type="http://schemas.openxmlformats.org/officeDocument/2006/relationships/customXml" Target="../ink/ink39.xml"/><Relationship Id="rId86" Type="http://schemas.openxmlformats.org/officeDocument/2006/relationships/image" Target="../media/image146.png"/><Relationship Id="rId130" Type="http://schemas.openxmlformats.org/officeDocument/2006/relationships/image" Target="../media/image167.png"/><Relationship Id="rId135" Type="http://schemas.openxmlformats.org/officeDocument/2006/relationships/customXml" Target="../ink/ink67.xml"/><Relationship Id="rId151" Type="http://schemas.openxmlformats.org/officeDocument/2006/relationships/customXml" Target="../ink/ink75.xml"/><Relationship Id="rId156" Type="http://schemas.openxmlformats.org/officeDocument/2006/relationships/image" Target="../media/image180.png"/><Relationship Id="rId177" Type="http://schemas.openxmlformats.org/officeDocument/2006/relationships/customXml" Target="../ink/ink88.xml"/><Relationship Id="rId172" Type="http://schemas.openxmlformats.org/officeDocument/2006/relationships/image" Target="../media/image188.png"/><Relationship Id="rId13" Type="http://schemas.openxmlformats.org/officeDocument/2006/relationships/customXml" Target="../ink/ink5.xml"/><Relationship Id="rId18" Type="http://schemas.openxmlformats.org/officeDocument/2006/relationships/image" Target="../media/image112.png"/><Relationship Id="rId39" Type="http://schemas.openxmlformats.org/officeDocument/2006/relationships/customXml" Target="../ink/ink18.xml"/><Relationship Id="rId109" Type="http://schemas.openxmlformats.org/officeDocument/2006/relationships/customXml" Target="../ink/ink54.xml"/><Relationship Id="rId34" Type="http://schemas.openxmlformats.org/officeDocument/2006/relationships/image" Target="../media/image120.png"/><Relationship Id="rId50" Type="http://schemas.openxmlformats.org/officeDocument/2006/relationships/image" Target="../media/image128.png"/><Relationship Id="rId55" Type="http://schemas.openxmlformats.org/officeDocument/2006/relationships/customXml" Target="../ink/ink26.xml"/><Relationship Id="rId76" Type="http://schemas.openxmlformats.org/officeDocument/2006/relationships/image" Target="../media/image141.png"/><Relationship Id="rId97" Type="http://schemas.openxmlformats.org/officeDocument/2006/relationships/customXml" Target="../ink/ink48.xml"/><Relationship Id="rId104" Type="http://schemas.openxmlformats.org/officeDocument/2006/relationships/image" Target="../media/image154.png"/><Relationship Id="rId120" Type="http://schemas.openxmlformats.org/officeDocument/2006/relationships/image" Target="../media/image162.png"/><Relationship Id="rId125" Type="http://schemas.openxmlformats.org/officeDocument/2006/relationships/customXml" Target="../ink/ink62.xml"/><Relationship Id="rId141" Type="http://schemas.openxmlformats.org/officeDocument/2006/relationships/customXml" Target="../ink/ink70.xml"/><Relationship Id="rId146" Type="http://schemas.openxmlformats.org/officeDocument/2006/relationships/image" Target="../media/image175.png"/><Relationship Id="rId167" Type="http://schemas.openxmlformats.org/officeDocument/2006/relationships/customXml" Target="../ink/ink83.xml"/><Relationship Id="rId7" Type="http://schemas.openxmlformats.org/officeDocument/2006/relationships/customXml" Target="../ink/ink2.xml"/><Relationship Id="rId71" Type="http://schemas.openxmlformats.org/officeDocument/2006/relationships/customXml" Target="../ink/ink34.xml"/><Relationship Id="rId92" Type="http://schemas.openxmlformats.org/officeDocument/2006/relationships/image" Target="../media/image148.png"/><Relationship Id="rId162" Type="http://schemas.openxmlformats.org/officeDocument/2006/relationships/image" Target="../media/image183.png"/><Relationship Id="rId2" Type="http://schemas.openxmlformats.org/officeDocument/2006/relationships/image" Target="../media/image1.png"/><Relationship Id="rId29" Type="http://schemas.openxmlformats.org/officeDocument/2006/relationships/customXml" Target="../ink/ink13.xml"/><Relationship Id="rId24" Type="http://schemas.openxmlformats.org/officeDocument/2006/relationships/image" Target="../media/image115.png"/><Relationship Id="rId40" Type="http://schemas.openxmlformats.org/officeDocument/2006/relationships/image" Target="../media/image123.png"/><Relationship Id="rId45" Type="http://schemas.openxmlformats.org/officeDocument/2006/relationships/customXml" Target="../ink/ink21.xml"/><Relationship Id="rId66" Type="http://schemas.openxmlformats.org/officeDocument/2006/relationships/image" Target="../media/image136.png"/><Relationship Id="rId87" Type="http://schemas.openxmlformats.org/officeDocument/2006/relationships/customXml" Target="../ink/ink42.xml"/><Relationship Id="rId110" Type="http://schemas.openxmlformats.org/officeDocument/2006/relationships/image" Target="../media/image157.png"/><Relationship Id="rId115" Type="http://schemas.openxmlformats.org/officeDocument/2006/relationships/customXml" Target="../ink/ink57.xml"/><Relationship Id="rId131" Type="http://schemas.openxmlformats.org/officeDocument/2006/relationships/customXml" Target="../ink/ink65.xml"/><Relationship Id="rId136" Type="http://schemas.openxmlformats.org/officeDocument/2006/relationships/image" Target="../media/image170.png"/><Relationship Id="rId157" Type="http://schemas.openxmlformats.org/officeDocument/2006/relationships/customXml" Target="../ink/ink78.xml"/><Relationship Id="rId178" Type="http://schemas.openxmlformats.org/officeDocument/2006/relationships/image" Target="../media/image191.png"/><Relationship Id="rId61" Type="http://schemas.openxmlformats.org/officeDocument/2006/relationships/customXml" Target="../ink/ink29.xml"/><Relationship Id="rId82" Type="http://schemas.openxmlformats.org/officeDocument/2006/relationships/image" Target="../media/image144.png"/><Relationship Id="rId152" Type="http://schemas.openxmlformats.org/officeDocument/2006/relationships/image" Target="../media/image178.png"/><Relationship Id="rId173" Type="http://schemas.openxmlformats.org/officeDocument/2006/relationships/customXml" Target="../ink/ink86.xml"/><Relationship Id="rId19" Type="http://schemas.openxmlformats.org/officeDocument/2006/relationships/customXml" Target="../ink/ink8.xml"/><Relationship Id="rId14" Type="http://schemas.openxmlformats.org/officeDocument/2006/relationships/image" Target="../media/image110.png"/><Relationship Id="rId30" Type="http://schemas.openxmlformats.org/officeDocument/2006/relationships/image" Target="../media/image118.png"/><Relationship Id="rId35" Type="http://schemas.openxmlformats.org/officeDocument/2006/relationships/customXml" Target="../ink/ink16.xml"/><Relationship Id="rId56" Type="http://schemas.openxmlformats.org/officeDocument/2006/relationships/image" Target="../media/image131.png"/><Relationship Id="rId77" Type="http://schemas.openxmlformats.org/officeDocument/2006/relationships/customXml" Target="../ink/ink37.xml"/><Relationship Id="rId100" Type="http://schemas.openxmlformats.org/officeDocument/2006/relationships/image" Target="../media/image152.png"/><Relationship Id="rId105" Type="http://schemas.openxmlformats.org/officeDocument/2006/relationships/customXml" Target="../ink/ink52.xml"/><Relationship Id="rId126" Type="http://schemas.openxmlformats.org/officeDocument/2006/relationships/image" Target="../media/image165.png"/><Relationship Id="rId147" Type="http://schemas.openxmlformats.org/officeDocument/2006/relationships/customXml" Target="../ink/ink73.xml"/><Relationship Id="rId168" Type="http://schemas.openxmlformats.org/officeDocument/2006/relationships/image" Target="../media/image186.png"/><Relationship Id="rId8" Type="http://schemas.openxmlformats.org/officeDocument/2006/relationships/image" Target="../media/image107.png"/><Relationship Id="rId51" Type="http://schemas.openxmlformats.org/officeDocument/2006/relationships/customXml" Target="../ink/ink24.xml"/><Relationship Id="rId72" Type="http://schemas.openxmlformats.org/officeDocument/2006/relationships/image" Target="../media/image139.png"/><Relationship Id="rId93" Type="http://schemas.openxmlformats.org/officeDocument/2006/relationships/customXml" Target="../ink/ink46.xml"/><Relationship Id="rId98" Type="http://schemas.openxmlformats.org/officeDocument/2006/relationships/image" Target="../media/image151.png"/><Relationship Id="rId121" Type="http://schemas.openxmlformats.org/officeDocument/2006/relationships/customXml" Target="../ink/ink60.xml"/><Relationship Id="rId142" Type="http://schemas.openxmlformats.org/officeDocument/2006/relationships/image" Target="../media/image173.png"/><Relationship Id="rId163" Type="http://schemas.openxmlformats.org/officeDocument/2006/relationships/customXml" Target="../ink/ink81.xml"/><Relationship Id="rId3" Type="http://schemas.openxmlformats.org/officeDocument/2006/relationships/image" Target="../media/image35.png"/><Relationship Id="rId25" Type="http://schemas.openxmlformats.org/officeDocument/2006/relationships/customXml" Target="../ink/ink11.xml"/><Relationship Id="rId46" Type="http://schemas.openxmlformats.org/officeDocument/2006/relationships/image" Target="../media/image126.png"/><Relationship Id="rId67" Type="http://schemas.openxmlformats.org/officeDocument/2006/relationships/customXml" Target="../ink/ink32.xml"/><Relationship Id="rId116" Type="http://schemas.openxmlformats.org/officeDocument/2006/relationships/image" Target="../media/image160.png"/><Relationship Id="rId137" Type="http://schemas.openxmlformats.org/officeDocument/2006/relationships/customXml" Target="../ink/ink68.xml"/><Relationship Id="rId158" Type="http://schemas.openxmlformats.org/officeDocument/2006/relationships/image" Target="../media/image181.png"/><Relationship Id="rId20" Type="http://schemas.openxmlformats.org/officeDocument/2006/relationships/image" Target="../media/image113.png"/><Relationship Id="rId41" Type="http://schemas.openxmlformats.org/officeDocument/2006/relationships/customXml" Target="../ink/ink19.xml"/><Relationship Id="rId62" Type="http://schemas.openxmlformats.org/officeDocument/2006/relationships/image" Target="../media/image134.png"/><Relationship Id="rId83" Type="http://schemas.openxmlformats.org/officeDocument/2006/relationships/customXml" Target="../ink/ink40.xml"/><Relationship Id="rId88" Type="http://schemas.openxmlformats.org/officeDocument/2006/relationships/customXml" Target="../ink/ink43.xml"/><Relationship Id="rId111" Type="http://schemas.openxmlformats.org/officeDocument/2006/relationships/customXml" Target="../ink/ink55.xml"/><Relationship Id="rId132" Type="http://schemas.openxmlformats.org/officeDocument/2006/relationships/image" Target="../media/image168.png"/><Relationship Id="rId153" Type="http://schemas.openxmlformats.org/officeDocument/2006/relationships/customXml" Target="../ink/ink76.xml"/><Relationship Id="rId174" Type="http://schemas.openxmlformats.org/officeDocument/2006/relationships/image" Target="../media/image189.png"/><Relationship Id="rId179" Type="http://schemas.openxmlformats.org/officeDocument/2006/relationships/customXml" Target="../ink/ink89.xml"/><Relationship Id="rId15" Type="http://schemas.openxmlformats.org/officeDocument/2006/relationships/customXml" Target="../ink/ink6.xml"/><Relationship Id="rId36" Type="http://schemas.openxmlformats.org/officeDocument/2006/relationships/image" Target="../media/image121.png"/><Relationship Id="rId57" Type="http://schemas.openxmlformats.org/officeDocument/2006/relationships/customXml" Target="../ink/ink27.xml"/><Relationship Id="rId106" Type="http://schemas.openxmlformats.org/officeDocument/2006/relationships/image" Target="../media/image155.png"/><Relationship Id="rId127" Type="http://schemas.openxmlformats.org/officeDocument/2006/relationships/customXml" Target="../ink/ink63.xml"/><Relationship Id="rId10" Type="http://schemas.openxmlformats.org/officeDocument/2006/relationships/image" Target="../media/image108.png"/><Relationship Id="rId31" Type="http://schemas.openxmlformats.org/officeDocument/2006/relationships/customXml" Target="../ink/ink14.xml"/><Relationship Id="rId52" Type="http://schemas.openxmlformats.org/officeDocument/2006/relationships/image" Target="../media/image129.png"/><Relationship Id="rId73" Type="http://schemas.openxmlformats.org/officeDocument/2006/relationships/customXml" Target="../ink/ink35.xml"/><Relationship Id="rId78" Type="http://schemas.openxmlformats.org/officeDocument/2006/relationships/image" Target="../media/image142.png"/><Relationship Id="rId94" Type="http://schemas.openxmlformats.org/officeDocument/2006/relationships/image" Target="../media/image149.png"/><Relationship Id="rId99" Type="http://schemas.openxmlformats.org/officeDocument/2006/relationships/customXml" Target="../ink/ink49.xml"/><Relationship Id="rId101" Type="http://schemas.openxmlformats.org/officeDocument/2006/relationships/customXml" Target="../ink/ink50.xml"/><Relationship Id="rId122" Type="http://schemas.openxmlformats.org/officeDocument/2006/relationships/image" Target="../media/image163.png"/><Relationship Id="rId143" Type="http://schemas.openxmlformats.org/officeDocument/2006/relationships/customXml" Target="../ink/ink71.xml"/><Relationship Id="rId148" Type="http://schemas.openxmlformats.org/officeDocument/2006/relationships/image" Target="../media/image176.png"/><Relationship Id="rId164" Type="http://schemas.openxmlformats.org/officeDocument/2006/relationships/image" Target="../media/image184.png"/><Relationship Id="rId169" Type="http://schemas.openxmlformats.org/officeDocument/2006/relationships/customXml" Target="../ink/ink84.xml"/><Relationship Id="rId4" Type="http://schemas.openxmlformats.org/officeDocument/2006/relationships/image" Target="../media/image36.svg"/><Relationship Id="rId9" Type="http://schemas.openxmlformats.org/officeDocument/2006/relationships/customXml" Target="../ink/ink3.xml"/><Relationship Id="rId180" Type="http://schemas.openxmlformats.org/officeDocument/2006/relationships/image" Target="../media/image192.png"/><Relationship Id="rId26" Type="http://schemas.openxmlformats.org/officeDocument/2006/relationships/image" Target="../media/image116.png"/><Relationship Id="rId47" Type="http://schemas.openxmlformats.org/officeDocument/2006/relationships/customXml" Target="../ink/ink22.xml"/><Relationship Id="rId68" Type="http://schemas.openxmlformats.org/officeDocument/2006/relationships/image" Target="../media/image137.png"/><Relationship Id="rId89" Type="http://schemas.openxmlformats.org/officeDocument/2006/relationships/customXml" Target="../ink/ink44.xml"/><Relationship Id="rId112" Type="http://schemas.openxmlformats.org/officeDocument/2006/relationships/image" Target="../media/image158.png"/><Relationship Id="rId133" Type="http://schemas.openxmlformats.org/officeDocument/2006/relationships/customXml" Target="../ink/ink66.xml"/><Relationship Id="rId154" Type="http://schemas.openxmlformats.org/officeDocument/2006/relationships/image" Target="../media/image179.png"/><Relationship Id="rId175" Type="http://schemas.openxmlformats.org/officeDocument/2006/relationships/customXml" Target="../ink/ink87.xml"/><Relationship Id="rId16" Type="http://schemas.openxmlformats.org/officeDocument/2006/relationships/image" Target="../media/image111.png"/><Relationship Id="rId37" Type="http://schemas.openxmlformats.org/officeDocument/2006/relationships/customXml" Target="../ink/ink17.xml"/><Relationship Id="rId58" Type="http://schemas.openxmlformats.org/officeDocument/2006/relationships/image" Target="../media/image132.png"/><Relationship Id="rId79" Type="http://schemas.openxmlformats.org/officeDocument/2006/relationships/customXml" Target="../ink/ink38.xml"/><Relationship Id="rId102" Type="http://schemas.openxmlformats.org/officeDocument/2006/relationships/image" Target="../media/image153.png"/><Relationship Id="rId123" Type="http://schemas.openxmlformats.org/officeDocument/2006/relationships/customXml" Target="../ink/ink61.xml"/><Relationship Id="rId144" Type="http://schemas.openxmlformats.org/officeDocument/2006/relationships/image" Target="../media/image174.png"/><Relationship Id="rId90" Type="http://schemas.openxmlformats.org/officeDocument/2006/relationships/image" Target="../media/image147.png"/><Relationship Id="rId165" Type="http://schemas.openxmlformats.org/officeDocument/2006/relationships/customXml" Target="../ink/ink82.xml"/><Relationship Id="rId27" Type="http://schemas.openxmlformats.org/officeDocument/2006/relationships/customXml" Target="../ink/ink12.xml"/><Relationship Id="rId48" Type="http://schemas.openxmlformats.org/officeDocument/2006/relationships/image" Target="../media/image127.png"/><Relationship Id="rId69" Type="http://schemas.openxmlformats.org/officeDocument/2006/relationships/customXml" Target="../ink/ink33.xml"/><Relationship Id="rId113" Type="http://schemas.openxmlformats.org/officeDocument/2006/relationships/customXml" Target="../ink/ink56.xml"/><Relationship Id="rId134" Type="http://schemas.openxmlformats.org/officeDocument/2006/relationships/image" Target="../media/image169.png"/><Relationship Id="rId80" Type="http://schemas.openxmlformats.org/officeDocument/2006/relationships/image" Target="../media/image143.png"/><Relationship Id="rId155" Type="http://schemas.openxmlformats.org/officeDocument/2006/relationships/customXml" Target="../ink/ink77.xml"/><Relationship Id="rId176" Type="http://schemas.openxmlformats.org/officeDocument/2006/relationships/image" Target="../media/image190.png"/><Relationship Id="rId17" Type="http://schemas.openxmlformats.org/officeDocument/2006/relationships/customXml" Target="../ink/ink7.xml"/><Relationship Id="rId38" Type="http://schemas.openxmlformats.org/officeDocument/2006/relationships/image" Target="../media/image122.png"/><Relationship Id="rId59" Type="http://schemas.openxmlformats.org/officeDocument/2006/relationships/customXml" Target="../ink/ink28.xml"/><Relationship Id="rId103" Type="http://schemas.openxmlformats.org/officeDocument/2006/relationships/customXml" Target="../ink/ink51.xml"/><Relationship Id="rId124" Type="http://schemas.openxmlformats.org/officeDocument/2006/relationships/image" Target="../media/image164.png"/><Relationship Id="rId70" Type="http://schemas.openxmlformats.org/officeDocument/2006/relationships/image" Target="../media/image138.png"/><Relationship Id="rId91" Type="http://schemas.openxmlformats.org/officeDocument/2006/relationships/customXml" Target="../ink/ink45.xml"/><Relationship Id="rId145" Type="http://schemas.openxmlformats.org/officeDocument/2006/relationships/customXml" Target="../ink/ink72.xml"/><Relationship Id="rId166" Type="http://schemas.openxmlformats.org/officeDocument/2006/relationships/image" Target="../media/image185.png"/><Relationship Id="rId1" Type="http://schemas.openxmlformats.org/officeDocument/2006/relationships/slideLayout" Target="../slideLayouts/slideLayout18.xml"/><Relationship Id="rId28" Type="http://schemas.openxmlformats.org/officeDocument/2006/relationships/image" Target="../media/image117.png"/><Relationship Id="rId49" Type="http://schemas.openxmlformats.org/officeDocument/2006/relationships/customXml" Target="../ink/ink23.xml"/><Relationship Id="rId114" Type="http://schemas.openxmlformats.org/officeDocument/2006/relationships/image" Target="../media/image159.png"/></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slideLayout" Target="../slideLayouts/slideLayout180.xml"/><Relationship Id="rId1" Type="http://schemas.openxmlformats.org/officeDocument/2006/relationships/tags" Target="../tags/tag10.xml"/><Relationship Id="rId6" Type="http://schemas.openxmlformats.org/officeDocument/2006/relationships/image" Target="../media/image21.svg"/><Relationship Id="rId5" Type="http://schemas.openxmlformats.org/officeDocument/2006/relationships/image" Target="../media/image200.png"/><Relationship Id="rId4" Type="http://schemas.openxmlformats.org/officeDocument/2006/relationships/image" Target="../media/image410.png"/></Relationships>
</file>

<file path=ppt/slides/_rels/slide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18.xml"/><Relationship Id="rId7" Type="http://schemas.openxmlformats.org/officeDocument/2006/relationships/image" Target="../media/image21.svg"/><Relationship Id="rId12"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png"/><Relationship Id="rId11" Type="http://schemas.openxmlformats.org/officeDocument/2006/relationships/image" Target="../media/image46.png"/><Relationship Id="rId5" Type="http://schemas.openxmlformats.org/officeDocument/2006/relationships/image" Target="../media/image42.png"/><Relationship Id="rId10" Type="http://schemas.openxmlformats.org/officeDocument/2006/relationships/image" Target="../media/image45.png"/><Relationship Id="rId4" Type="http://schemas.openxmlformats.org/officeDocument/2006/relationships/notesSlide" Target="../notesSlides/notesSlide3.xml"/><Relationship Id="rId9" Type="http://schemas.openxmlformats.org/officeDocument/2006/relationships/image" Target="../media/image44.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8.xml"/><Relationship Id="rId7" Type="http://schemas.openxmlformats.org/officeDocument/2006/relationships/image" Target="../media/image45.png"/><Relationship Id="rId12"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4.png"/><Relationship Id="rId11" Type="http://schemas.openxmlformats.org/officeDocument/2006/relationships/image" Target="../media/image43.png"/><Relationship Id="rId5" Type="http://schemas.openxmlformats.org/officeDocument/2006/relationships/image" Target="../media/image1.png"/><Relationship Id="rId10" Type="http://schemas.openxmlformats.org/officeDocument/2006/relationships/image" Target="../media/image21.svg"/><Relationship Id="rId4" Type="http://schemas.openxmlformats.org/officeDocument/2006/relationships/notesSlide" Target="../notesSlides/notesSlide4.xml"/><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13" Type="http://schemas.microsoft.com/office/2007/relationships/hdphoto" Target="../media/hdphoto3.wdp"/><Relationship Id="rId3" Type="http://schemas.openxmlformats.org/officeDocument/2006/relationships/image" Target="../media/image25.png"/><Relationship Id="rId7" Type="http://schemas.openxmlformats.org/officeDocument/2006/relationships/image" Target="../media/image48.png"/><Relationship Id="rId12"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Layout" Target="../slideLayouts/slideLayout18.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47.png"/><Relationship Id="rId15" Type="http://schemas.microsoft.com/office/2007/relationships/hdphoto" Target="../media/hdphoto4.wdp"/><Relationship Id="rId10" Type="http://schemas.openxmlformats.org/officeDocument/2006/relationships/image" Target="../media/image50.png"/><Relationship Id="rId4" Type="http://schemas.openxmlformats.org/officeDocument/2006/relationships/image" Target="../media/image26.svg"/><Relationship Id="rId9" Type="http://schemas.openxmlformats.org/officeDocument/2006/relationships/image" Target="../media/image16.pn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1.png"/><Relationship Id="rId3" Type="http://schemas.openxmlformats.org/officeDocument/2006/relationships/image" Target="../media/image1.png"/><Relationship Id="rId7" Type="http://schemas.microsoft.com/office/2007/relationships/hdphoto" Target="../media/hdphoto1.wdp"/><Relationship Id="rId12" Type="http://schemas.microsoft.com/office/2007/relationships/hdphoto" Target="../media/hdphoto2.wdp"/><Relationship Id="rId2" Type="http://schemas.openxmlformats.org/officeDocument/2006/relationships/notesSlide" Target="../notesSlides/notesSlide5.xml"/><Relationship Id="rId16" Type="http://schemas.microsoft.com/office/2007/relationships/hdphoto" Target="../media/hdphoto4.wdp"/><Relationship Id="rId1" Type="http://schemas.openxmlformats.org/officeDocument/2006/relationships/slideLayout" Target="../slideLayouts/slideLayout18.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image" Target="../media/image26.svg"/><Relationship Id="rId15" Type="http://schemas.openxmlformats.org/officeDocument/2006/relationships/image" Target="../media/image52.png"/><Relationship Id="rId10" Type="http://schemas.openxmlformats.org/officeDocument/2006/relationships/image" Target="../media/image16.png"/><Relationship Id="rId4" Type="http://schemas.openxmlformats.org/officeDocument/2006/relationships/image" Target="../media/image25.png"/><Relationship Id="rId9" Type="http://schemas.openxmlformats.org/officeDocument/2006/relationships/image" Target="../media/image49.png"/><Relationship Id="rId1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image" Target="../media/image53.png"/><Relationship Id="rId5" Type="http://schemas.openxmlformats.org/officeDocument/2006/relationships/image" Target="../media/image16.png"/><Relationship Id="rId4" Type="http://schemas.openxmlformats.org/officeDocument/2006/relationships/image" Target="../media/image23.sv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16.png"/><Relationship Id="rId5" Type="http://schemas.openxmlformats.org/officeDocument/2006/relationships/image" Target="../media/image23.sv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F48D5-EE9C-9633-579B-11E830EA1CE4}"/>
              </a:ext>
            </a:extLst>
          </p:cNvPr>
          <p:cNvPicPr>
            <a:picLocks noChangeAspect="1"/>
          </p:cNvPicPr>
          <p:nvPr/>
        </p:nvPicPr>
        <p:blipFill>
          <a:blip r:embed="rId3">
            <a:extLst>
              <a:ext uri="{28A0092B-C50C-407E-A947-70E740481C1C}">
                <a14:useLocalDpi xmlns:a14="http://schemas.microsoft.com/office/drawing/2010/main" val="0"/>
              </a:ext>
            </a:extLst>
          </a:blip>
          <a:srcRect t="7885" b="7885"/>
          <a:stretch/>
        </p:blipFill>
        <p:spPr>
          <a:xfrm>
            <a:off x="-21113" y="9238"/>
            <a:ext cx="12213113" cy="6857998"/>
          </a:xfrm>
          <a:prstGeom prst="rect">
            <a:avLst/>
          </a:prstGeom>
          <a:solidFill>
            <a:srgbClr val="27333D"/>
          </a:solidFill>
          <a:effectLst>
            <a:reflection blurRad="762000" stA="45000" endPos="65000" dist="50800" dir="5400000" sy="-100000" algn="bl" rotWithShape="0"/>
          </a:effectLst>
        </p:spPr>
      </p:pic>
      <p:sp useBgFill="1">
        <p:nvSpPr>
          <p:cNvPr id="84" name="!!mission_big">
            <a:extLst>
              <a:ext uri="{FF2B5EF4-FFF2-40B4-BE49-F238E27FC236}">
                <a16:creationId xmlns:a16="http://schemas.microsoft.com/office/drawing/2014/main" id="{6CFBC3F3-FDB5-FD3D-1481-3059D5AE927C}"/>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85" name="!!problem_big">
            <a:extLst>
              <a:ext uri="{FF2B5EF4-FFF2-40B4-BE49-F238E27FC236}">
                <a16:creationId xmlns:a16="http://schemas.microsoft.com/office/drawing/2014/main" id="{70765587-F598-D543-0EBF-D55B36CEEE1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86" name="!!solution_big">
            <a:extLst>
              <a:ext uri="{FF2B5EF4-FFF2-40B4-BE49-F238E27FC236}">
                <a16:creationId xmlns:a16="http://schemas.microsoft.com/office/drawing/2014/main" id="{C7467CC4-78EB-06D5-5CC2-826B8F952AB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87" name="!!potential_big">
            <a:extLst>
              <a:ext uri="{FF2B5EF4-FFF2-40B4-BE49-F238E27FC236}">
                <a16:creationId xmlns:a16="http://schemas.microsoft.com/office/drawing/2014/main" id="{0DD63B05-8199-0461-6984-B6F7AE7441D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88" name="!!model_big">
            <a:extLst>
              <a:ext uri="{FF2B5EF4-FFF2-40B4-BE49-F238E27FC236}">
                <a16:creationId xmlns:a16="http://schemas.microsoft.com/office/drawing/2014/main" id="{91323A8D-2FBA-BE9B-F312-A3CBEBBE7784}"/>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89" name="!!growth_big">
            <a:extLst>
              <a:ext uri="{FF2B5EF4-FFF2-40B4-BE49-F238E27FC236}">
                <a16:creationId xmlns:a16="http://schemas.microsoft.com/office/drawing/2014/main" id="{1D2DDA0C-34D1-ECC6-DC5C-7CAFDFDA342F}"/>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90" name="!!competition_big">
            <a:extLst>
              <a:ext uri="{FF2B5EF4-FFF2-40B4-BE49-F238E27FC236}">
                <a16:creationId xmlns:a16="http://schemas.microsoft.com/office/drawing/2014/main" id="{21154ADD-2272-0B48-19E1-DEF64F150958}"/>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useBgFill="1">
        <p:nvSpPr>
          <p:cNvPr id="91" name="!!finanvials_big">
            <a:extLst>
              <a:ext uri="{FF2B5EF4-FFF2-40B4-BE49-F238E27FC236}">
                <a16:creationId xmlns:a16="http://schemas.microsoft.com/office/drawing/2014/main" id="{8411AC72-885D-0B03-2EFB-F3B3BF963E0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sp>
        <p:nvSpPr>
          <p:cNvPr id="92" name="!!team_big">
            <a:extLst>
              <a:ext uri="{FF2B5EF4-FFF2-40B4-BE49-F238E27FC236}">
                <a16:creationId xmlns:a16="http://schemas.microsoft.com/office/drawing/2014/main" id="{1658FEF9-E6D9-F422-5CE4-804A8426C251}"/>
              </a:ext>
            </a:extLst>
          </p:cNvPr>
          <p:cNvSpPr/>
          <p:nvPr/>
        </p:nvSpPr>
        <p:spPr>
          <a:xfrm>
            <a:off x="6893377" y="1817941"/>
            <a:ext cx="2515696" cy="2515696"/>
          </a:xfrm>
          <a:prstGeom prst="ellipse">
            <a:avLst/>
          </a:prstGeom>
          <a:solidFill>
            <a:srgbClr val="27333D"/>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grpSp>
        <p:nvGrpSpPr>
          <p:cNvPr id="93" name="!!mission">
            <a:extLst>
              <a:ext uri="{FF2B5EF4-FFF2-40B4-BE49-F238E27FC236}">
                <a16:creationId xmlns:a16="http://schemas.microsoft.com/office/drawing/2014/main" id="{8ABB4022-F60A-F196-E21D-86C3F9E8C5A1}"/>
              </a:ext>
            </a:extLst>
          </p:cNvPr>
          <p:cNvGrpSpPr/>
          <p:nvPr/>
        </p:nvGrpSpPr>
        <p:grpSpPr>
          <a:xfrm>
            <a:off x="6652870" y="2824776"/>
            <a:ext cx="507586" cy="507586"/>
            <a:chOff x="1700837" y="1711757"/>
            <a:chExt cx="507586" cy="507586"/>
          </a:xfrm>
          <a:solidFill>
            <a:srgbClr val="27333D"/>
          </a:solidFill>
        </p:grpSpPr>
        <p:sp useBgFill="1">
          <p:nvSpPr>
            <p:cNvPr id="94" name="Oval 93">
              <a:extLst>
                <a:ext uri="{FF2B5EF4-FFF2-40B4-BE49-F238E27FC236}">
                  <a16:creationId xmlns:a16="http://schemas.microsoft.com/office/drawing/2014/main" id="{F2FE31D7-9CA3-8B92-8DAC-2622D9EA35A8}"/>
                </a:ext>
              </a:extLst>
            </p:cNvPr>
            <p:cNvSpPr/>
            <p:nvPr/>
          </p:nvSpPr>
          <p:spPr>
            <a:xfrm>
              <a:off x="1700837" y="1711757"/>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5" name="Graphic 94">
              <a:extLst>
                <a:ext uri="{FF2B5EF4-FFF2-40B4-BE49-F238E27FC236}">
                  <a16:creationId xmlns:a16="http://schemas.microsoft.com/office/drawing/2014/main" id="{F11E90DF-2951-D0AA-5249-88F7AFDCAB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8630" y="1839550"/>
              <a:ext cx="252000" cy="252000"/>
            </a:xfrm>
            <a:prstGeom prst="rect">
              <a:avLst/>
            </a:prstGeom>
          </p:spPr>
        </p:pic>
      </p:grpSp>
      <p:grpSp>
        <p:nvGrpSpPr>
          <p:cNvPr id="96" name="!!problem">
            <a:extLst>
              <a:ext uri="{FF2B5EF4-FFF2-40B4-BE49-F238E27FC236}">
                <a16:creationId xmlns:a16="http://schemas.microsoft.com/office/drawing/2014/main" id="{EBA2FDB7-75AA-72DB-A82C-DD7851826BCB}"/>
              </a:ext>
            </a:extLst>
          </p:cNvPr>
          <p:cNvGrpSpPr/>
          <p:nvPr/>
        </p:nvGrpSpPr>
        <p:grpSpPr>
          <a:xfrm>
            <a:off x="7137434" y="1829506"/>
            <a:ext cx="507586" cy="507586"/>
            <a:chOff x="2240169" y="4083721"/>
            <a:chExt cx="507586" cy="507586"/>
          </a:xfrm>
          <a:solidFill>
            <a:srgbClr val="27333D"/>
          </a:solidFill>
        </p:grpSpPr>
        <p:sp useBgFill="1">
          <p:nvSpPr>
            <p:cNvPr id="97" name="Oval 96">
              <a:extLst>
                <a:ext uri="{FF2B5EF4-FFF2-40B4-BE49-F238E27FC236}">
                  <a16:creationId xmlns:a16="http://schemas.microsoft.com/office/drawing/2014/main" id="{CBDBE464-FFB6-460D-1355-070C8FFC1F50}"/>
                </a:ext>
              </a:extLst>
            </p:cNvPr>
            <p:cNvSpPr/>
            <p:nvPr/>
          </p:nvSpPr>
          <p:spPr>
            <a:xfrm>
              <a:off x="2240169" y="4083721"/>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8" name="Graphic 97">
              <a:extLst>
                <a:ext uri="{FF2B5EF4-FFF2-40B4-BE49-F238E27FC236}">
                  <a16:creationId xmlns:a16="http://schemas.microsoft.com/office/drawing/2014/main" id="{A487C0E8-ED67-0170-B6A2-7DBC567127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67962" y="4211514"/>
              <a:ext cx="252000" cy="252000"/>
            </a:xfrm>
            <a:prstGeom prst="rect">
              <a:avLst/>
            </a:prstGeom>
          </p:spPr>
        </p:pic>
      </p:grpSp>
      <p:grpSp>
        <p:nvGrpSpPr>
          <p:cNvPr id="99" name="!!solution">
            <a:extLst>
              <a:ext uri="{FF2B5EF4-FFF2-40B4-BE49-F238E27FC236}">
                <a16:creationId xmlns:a16="http://schemas.microsoft.com/office/drawing/2014/main" id="{4315983D-37E1-2DB8-C6CD-897AB0F4A48B}"/>
              </a:ext>
            </a:extLst>
          </p:cNvPr>
          <p:cNvGrpSpPr/>
          <p:nvPr/>
        </p:nvGrpSpPr>
        <p:grpSpPr>
          <a:xfrm>
            <a:off x="8275104" y="1634563"/>
            <a:ext cx="507586" cy="507586"/>
            <a:chOff x="3825777" y="2263184"/>
            <a:chExt cx="507586" cy="507586"/>
          </a:xfrm>
          <a:solidFill>
            <a:srgbClr val="27333D"/>
          </a:solidFill>
        </p:grpSpPr>
        <p:sp useBgFill="1">
          <p:nvSpPr>
            <p:cNvPr id="100" name="Oval 99">
              <a:extLst>
                <a:ext uri="{FF2B5EF4-FFF2-40B4-BE49-F238E27FC236}">
                  <a16:creationId xmlns:a16="http://schemas.microsoft.com/office/drawing/2014/main" id="{466739ED-CC90-C839-AE9F-21A11220F695}"/>
                </a:ext>
              </a:extLst>
            </p:cNvPr>
            <p:cNvSpPr/>
            <p:nvPr/>
          </p:nvSpPr>
          <p:spPr>
            <a:xfrm>
              <a:off x="3825777" y="2263184"/>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01" name="Graphic 100">
              <a:extLst>
                <a:ext uri="{FF2B5EF4-FFF2-40B4-BE49-F238E27FC236}">
                  <a16:creationId xmlns:a16="http://schemas.microsoft.com/office/drawing/2014/main" id="{010F1219-9830-8E0D-73D1-3886EF6C35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53570" y="2390977"/>
              <a:ext cx="252000" cy="252000"/>
            </a:xfrm>
            <a:prstGeom prst="rect">
              <a:avLst/>
            </a:prstGeom>
          </p:spPr>
        </p:pic>
      </p:grpSp>
      <p:grpSp>
        <p:nvGrpSpPr>
          <p:cNvPr id="102" name="!!potential">
            <a:extLst>
              <a:ext uri="{FF2B5EF4-FFF2-40B4-BE49-F238E27FC236}">
                <a16:creationId xmlns:a16="http://schemas.microsoft.com/office/drawing/2014/main" id="{7EB825F4-9A36-9B07-53BB-3512C1270479}"/>
              </a:ext>
            </a:extLst>
          </p:cNvPr>
          <p:cNvGrpSpPr/>
          <p:nvPr/>
        </p:nvGrpSpPr>
        <p:grpSpPr>
          <a:xfrm>
            <a:off x="7176255" y="3814835"/>
            <a:ext cx="507586" cy="507586"/>
            <a:chOff x="4797684" y="4481585"/>
            <a:chExt cx="507586" cy="507586"/>
          </a:xfrm>
          <a:solidFill>
            <a:srgbClr val="27333D"/>
          </a:solidFill>
        </p:grpSpPr>
        <p:sp useBgFill="1">
          <p:nvSpPr>
            <p:cNvPr id="103" name="Oval 102">
              <a:extLst>
                <a:ext uri="{FF2B5EF4-FFF2-40B4-BE49-F238E27FC236}">
                  <a16:creationId xmlns:a16="http://schemas.microsoft.com/office/drawing/2014/main" id="{26293457-7725-C26F-5E8D-577FFD922349}"/>
                </a:ext>
              </a:extLst>
            </p:cNvPr>
            <p:cNvSpPr/>
            <p:nvPr/>
          </p:nvSpPr>
          <p:spPr>
            <a:xfrm>
              <a:off x="4797684" y="4481585"/>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04" name="Graphic 103">
              <a:extLst>
                <a:ext uri="{FF2B5EF4-FFF2-40B4-BE49-F238E27FC236}">
                  <a16:creationId xmlns:a16="http://schemas.microsoft.com/office/drawing/2014/main" id="{3BCCF682-C61A-869C-9529-636E048032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5477" y="4609378"/>
              <a:ext cx="252000" cy="252000"/>
            </a:xfrm>
            <a:prstGeom prst="rect">
              <a:avLst/>
            </a:prstGeom>
          </p:spPr>
        </p:pic>
      </p:grpSp>
      <p:grpSp>
        <p:nvGrpSpPr>
          <p:cNvPr id="105" name="!!model">
            <a:extLst>
              <a:ext uri="{FF2B5EF4-FFF2-40B4-BE49-F238E27FC236}">
                <a16:creationId xmlns:a16="http://schemas.microsoft.com/office/drawing/2014/main" id="{78714283-B9F8-CB78-2DCC-FA801CDE60EE}"/>
              </a:ext>
            </a:extLst>
          </p:cNvPr>
          <p:cNvGrpSpPr/>
          <p:nvPr/>
        </p:nvGrpSpPr>
        <p:grpSpPr>
          <a:xfrm>
            <a:off x="7897432" y="2821996"/>
            <a:ext cx="507586" cy="507586"/>
            <a:chOff x="5832785" y="1868829"/>
            <a:chExt cx="507586" cy="507586"/>
          </a:xfrm>
          <a:solidFill>
            <a:srgbClr val="27333D"/>
          </a:solidFill>
        </p:grpSpPr>
        <p:sp useBgFill="1">
          <p:nvSpPr>
            <p:cNvPr id="106" name="Oval 105">
              <a:extLst>
                <a:ext uri="{FF2B5EF4-FFF2-40B4-BE49-F238E27FC236}">
                  <a16:creationId xmlns:a16="http://schemas.microsoft.com/office/drawing/2014/main" id="{750DC086-A827-EEA1-F118-DF41BE1504A7}"/>
                </a:ext>
              </a:extLst>
            </p:cNvPr>
            <p:cNvSpPr/>
            <p:nvPr/>
          </p:nvSpPr>
          <p:spPr>
            <a:xfrm>
              <a:off x="5832785" y="1868829"/>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07" name="Graphic 106">
              <a:extLst>
                <a:ext uri="{FF2B5EF4-FFF2-40B4-BE49-F238E27FC236}">
                  <a16:creationId xmlns:a16="http://schemas.microsoft.com/office/drawing/2014/main" id="{53BC1E00-DC2C-70CA-AD01-38FA56F5D2D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60578" y="1996622"/>
              <a:ext cx="252000" cy="252000"/>
            </a:xfrm>
            <a:prstGeom prst="rect">
              <a:avLst/>
            </a:prstGeom>
          </p:spPr>
        </p:pic>
      </p:grpSp>
      <p:grpSp>
        <p:nvGrpSpPr>
          <p:cNvPr id="111" name="!!competition">
            <a:extLst>
              <a:ext uri="{FF2B5EF4-FFF2-40B4-BE49-F238E27FC236}">
                <a16:creationId xmlns:a16="http://schemas.microsoft.com/office/drawing/2014/main" id="{A38DA15A-EDAF-D7D1-E4A2-ADB503D14FF0}"/>
              </a:ext>
            </a:extLst>
          </p:cNvPr>
          <p:cNvGrpSpPr/>
          <p:nvPr/>
        </p:nvGrpSpPr>
        <p:grpSpPr>
          <a:xfrm>
            <a:off x="9053600" y="2280861"/>
            <a:ext cx="507586" cy="507586"/>
            <a:chOff x="7790768" y="1868829"/>
            <a:chExt cx="507586" cy="507586"/>
          </a:xfrm>
          <a:solidFill>
            <a:srgbClr val="27333D"/>
          </a:solidFill>
        </p:grpSpPr>
        <p:sp useBgFill="1">
          <p:nvSpPr>
            <p:cNvPr id="112" name="Oval 111">
              <a:extLst>
                <a:ext uri="{FF2B5EF4-FFF2-40B4-BE49-F238E27FC236}">
                  <a16:creationId xmlns:a16="http://schemas.microsoft.com/office/drawing/2014/main" id="{FA4ECD52-FC45-BE81-5607-1EACF898E476}"/>
                </a:ext>
              </a:extLst>
            </p:cNvPr>
            <p:cNvSpPr/>
            <p:nvPr/>
          </p:nvSpPr>
          <p:spPr>
            <a:xfrm>
              <a:off x="7790768" y="1868829"/>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13" name="Graphic 112">
              <a:extLst>
                <a:ext uri="{FF2B5EF4-FFF2-40B4-BE49-F238E27FC236}">
                  <a16:creationId xmlns:a16="http://schemas.microsoft.com/office/drawing/2014/main" id="{A7042EB4-E775-C9F5-4107-E17F5847A8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18561" y="1996622"/>
              <a:ext cx="252000" cy="252000"/>
            </a:xfrm>
            <a:prstGeom prst="rect">
              <a:avLst/>
            </a:prstGeom>
          </p:spPr>
        </p:pic>
      </p:grpSp>
      <p:grpSp>
        <p:nvGrpSpPr>
          <p:cNvPr id="117" name="!!team">
            <a:extLst>
              <a:ext uri="{FF2B5EF4-FFF2-40B4-BE49-F238E27FC236}">
                <a16:creationId xmlns:a16="http://schemas.microsoft.com/office/drawing/2014/main" id="{BF8EA430-7BE0-C952-3460-EF403EE26AFC}"/>
              </a:ext>
            </a:extLst>
          </p:cNvPr>
          <p:cNvGrpSpPr/>
          <p:nvPr/>
        </p:nvGrpSpPr>
        <p:grpSpPr>
          <a:xfrm>
            <a:off x="9100270" y="3307249"/>
            <a:ext cx="507586" cy="507586"/>
            <a:chOff x="9748751" y="1868829"/>
            <a:chExt cx="507586" cy="507586"/>
          </a:xfrm>
          <a:solidFill>
            <a:srgbClr val="27333D"/>
          </a:solidFill>
        </p:grpSpPr>
        <p:sp useBgFill="1">
          <p:nvSpPr>
            <p:cNvPr id="118" name="Oval 117">
              <a:extLst>
                <a:ext uri="{FF2B5EF4-FFF2-40B4-BE49-F238E27FC236}">
                  <a16:creationId xmlns:a16="http://schemas.microsoft.com/office/drawing/2014/main" id="{9948F951-A67C-76B0-7315-7D6113CEF3E5}"/>
                </a:ext>
              </a:extLst>
            </p:cNvPr>
            <p:cNvSpPr/>
            <p:nvPr/>
          </p:nvSpPr>
          <p:spPr>
            <a:xfrm>
              <a:off x="9748751" y="1868829"/>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19" name="Graphic 118">
              <a:extLst>
                <a:ext uri="{FF2B5EF4-FFF2-40B4-BE49-F238E27FC236}">
                  <a16:creationId xmlns:a16="http://schemas.microsoft.com/office/drawing/2014/main" id="{45AB6F8C-9C3C-6949-CA22-BAD02A87EB0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76544" y="1996622"/>
              <a:ext cx="252000" cy="252000"/>
            </a:xfrm>
            <a:prstGeom prst="rect">
              <a:avLst/>
            </a:prstGeom>
          </p:spPr>
        </p:pic>
      </p:grpSp>
      <p:sp>
        <p:nvSpPr>
          <p:cNvPr id="29" name="Rectangle: Rounded Corners 28">
            <a:extLst>
              <a:ext uri="{FF2B5EF4-FFF2-40B4-BE49-F238E27FC236}">
                <a16:creationId xmlns:a16="http://schemas.microsoft.com/office/drawing/2014/main" id="{9BBAA737-4A6D-DE20-4BB9-47527FEF5B66}"/>
              </a:ext>
            </a:extLst>
          </p:cNvPr>
          <p:cNvSpPr/>
          <p:nvPr/>
        </p:nvSpPr>
        <p:spPr>
          <a:xfrm>
            <a:off x="10181139" y="257132"/>
            <a:ext cx="1739400" cy="403894"/>
          </a:xfrm>
          <a:prstGeom prst="roundRect">
            <a:avLst>
              <a:gd name="adj" fmla="val 50000"/>
            </a:avLst>
          </a:prstGeom>
          <a:noFill/>
          <a:ln w="6350">
            <a:solidFill>
              <a:schemeClr val="tx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a:solidFill>
                  <a:srgbClr val="2F3D4A"/>
                </a:solidFill>
                <a:latin typeface="Darker Grotesque" pitchFamily="2" charset="0"/>
              </a:rPr>
              <a:t>18 November  2025</a:t>
            </a:r>
            <a:endParaRPr lang="en-GB" sz="1200" spc="30">
              <a:solidFill>
                <a:srgbClr val="2F3D4A"/>
              </a:solidFill>
              <a:latin typeface="Darker Grotesque" pitchFamily="2" charset="0"/>
            </a:endParaRPr>
          </a:p>
        </p:txBody>
      </p:sp>
      <p:sp>
        <p:nvSpPr>
          <p:cNvPr id="33" name="Rectangle: Rounded Corners 32">
            <a:extLst>
              <a:ext uri="{FF2B5EF4-FFF2-40B4-BE49-F238E27FC236}">
                <a16:creationId xmlns:a16="http://schemas.microsoft.com/office/drawing/2014/main" id="{7A420111-AE35-BCBA-8E61-F7CE753B5A29}"/>
              </a:ext>
            </a:extLst>
          </p:cNvPr>
          <p:cNvSpPr/>
          <p:nvPr/>
        </p:nvSpPr>
        <p:spPr>
          <a:xfrm>
            <a:off x="420320" y="5951881"/>
            <a:ext cx="2256289" cy="403894"/>
          </a:xfrm>
          <a:prstGeom prst="roundRect">
            <a:avLst>
              <a:gd name="adj" fmla="val 50000"/>
            </a:avLst>
          </a:prstGeom>
          <a:noFill/>
          <a:ln w="6350">
            <a:solidFill>
              <a:schemeClr val="tx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rgbClr val="2F3D4A"/>
                </a:solidFill>
                <a:latin typeface="Darker Grotesque" pitchFamily="2" charset="0"/>
              </a:rPr>
              <a:t>Presented by: </a:t>
            </a:r>
            <a:r>
              <a:rPr lang="en-US" sz="1200">
                <a:solidFill>
                  <a:srgbClr val="2F3D4A"/>
                </a:solidFill>
                <a:latin typeface="Darker Grotesque"/>
              </a:rPr>
              <a:t>T17A – Group E</a:t>
            </a:r>
            <a:endParaRPr lang="en-GB" sz="1200">
              <a:solidFill>
                <a:srgbClr val="2F3D4A"/>
              </a:solidFill>
              <a:latin typeface="Darker Grotesque" pitchFamily="2" charset="0"/>
            </a:endParaRPr>
          </a:p>
        </p:txBody>
      </p:sp>
      <p:sp>
        <p:nvSpPr>
          <p:cNvPr id="20" name="TextBox 19">
            <a:extLst>
              <a:ext uri="{FF2B5EF4-FFF2-40B4-BE49-F238E27FC236}">
                <a16:creationId xmlns:a16="http://schemas.microsoft.com/office/drawing/2014/main" id="{E015CEDA-CEE1-503D-CE16-022E8505F8B5}"/>
              </a:ext>
            </a:extLst>
          </p:cNvPr>
          <p:cNvSpPr txBox="1"/>
          <p:nvPr/>
        </p:nvSpPr>
        <p:spPr>
          <a:xfrm>
            <a:off x="1105802" y="3782692"/>
            <a:ext cx="5917911" cy="1408527"/>
          </a:xfrm>
          <a:prstGeom prst="rect">
            <a:avLst/>
          </a:prstGeom>
          <a:noFill/>
        </p:spPr>
        <p:txBody>
          <a:bodyPr wrap="square">
            <a:spAutoFit/>
          </a:bodyPr>
          <a:lstStyle/>
          <a:p>
            <a:pPr lvl="0">
              <a:lnSpc>
                <a:spcPct val="70000"/>
              </a:lnSpc>
              <a:defRPr/>
            </a:pPr>
            <a:r>
              <a:rPr lang="en-US" sz="4000" i="1">
                <a:solidFill>
                  <a:srgbClr val="2F3D4A"/>
                </a:solidFill>
                <a:latin typeface="Darker Grotesque SemiBold"/>
              </a:rPr>
              <a:t>A Portable Sit-to-stand assistant easing joint stress for the elderly (SDG 3).</a:t>
            </a:r>
            <a:endParaRPr kumimoji="0" lang="en-US" sz="4000" i="1" u="none" strike="noStrike" kern="1200" cap="none" spc="-150" normalizeH="0" baseline="0" noProof="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21" name="Slide Title">
            <a:extLst>
              <a:ext uri="{FF2B5EF4-FFF2-40B4-BE49-F238E27FC236}">
                <a16:creationId xmlns:a16="http://schemas.microsoft.com/office/drawing/2014/main" id="{9FD71554-2375-576F-209C-05192E70BC3C}"/>
              </a:ext>
            </a:extLst>
          </p:cNvPr>
          <p:cNvSpPr txBox="1"/>
          <p:nvPr/>
        </p:nvSpPr>
        <p:spPr>
          <a:xfrm>
            <a:off x="1440529" y="2578045"/>
            <a:ext cx="4310411" cy="1199687"/>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lvl="0" algn="l">
              <a:lnSpc>
                <a:spcPct val="55357"/>
              </a:lnSpc>
              <a:defRPr/>
            </a:pPr>
            <a:r>
              <a:rPr lang="en-US" sz="9600">
                <a:solidFill>
                  <a:srgbClr val="2F3D4A"/>
                </a:solidFill>
                <a:latin typeface="Darker Grotesque SemiBold"/>
              </a:rPr>
              <a:t>Easy Up</a:t>
            </a:r>
            <a:r>
              <a:rPr kumimoji="0" lang="en-US" sz="11500" b="0" u="none" strike="noStrike" kern="1200" cap="none" spc="-150" normalizeH="0" baseline="0" noProof="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11500" b="0" i="1" u="none" strike="noStrike" kern="1200" cap="none" spc="-150" normalizeH="0" baseline="0" noProof="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30" name="Slide Title">
            <a:extLst>
              <a:ext uri="{FF2B5EF4-FFF2-40B4-BE49-F238E27FC236}">
                <a16:creationId xmlns:a16="http://schemas.microsoft.com/office/drawing/2014/main" id="{50869B1A-C228-34B2-D439-4247C207C481}"/>
              </a:ext>
            </a:extLst>
          </p:cNvPr>
          <p:cNvSpPr txBox="1"/>
          <p:nvPr/>
        </p:nvSpPr>
        <p:spPr>
          <a:xfrm>
            <a:off x="2224292" y="1630637"/>
            <a:ext cx="406522" cy="1199687"/>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kumimoji="0" lang="en-US" sz="11500" b="0" u="none" strike="noStrike" kern="1200" cap="none" spc="-150" normalizeH="0" baseline="0" noProof="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11500" b="0" i="1" u="none" strike="noStrike" kern="1200" cap="none" spc="-150" normalizeH="0" baseline="0" noProof="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5" name="Slide Title">
            <a:extLst>
              <a:ext uri="{FF2B5EF4-FFF2-40B4-BE49-F238E27FC236}">
                <a16:creationId xmlns:a16="http://schemas.microsoft.com/office/drawing/2014/main" id="{80E8DA2C-5834-5AA3-E38E-832B009BE6B1}"/>
              </a:ext>
            </a:extLst>
          </p:cNvPr>
          <p:cNvSpPr txBox="1"/>
          <p:nvPr/>
        </p:nvSpPr>
        <p:spPr>
          <a:xfrm>
            <a:off x="5408633" y="-790389"/>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Playfair Display" pitchFamily="2" charset="0"/>
            </a:endParaRPr>
          </a:p>
        </p:txBody>
      </p:sp>
      <p:pic>
        <p:nvPicPr>
          <p:cNvPr id="7" name="Picture 6" descr="A logo with text and a square with a arrow up&#10;&#10;AI-generated content may be incorrect.">
            <a:extLst>
              <a:ext uri="{FF2B5EF4-FFF2-40B4-BE49-F238E27FC236}">
                <a16:creationId xmlns:a16="http://schemas.microsoft.com/office/drawing/2014/main" id="{EF692C76-5279-382E-2747-3E2A6C8A111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105802" y="556073"/>
            <a:ext cx="1583925" cy="1583925"/>
          </a:xfrm>
          <a:prstGeom prst="roundRect">
            <a:avLst/>
          </a:prstGeom>
        </p:spPr>
      </p:pic>
      <p:grpSp>
        <p:nvGrpSpPr>
          <p:cNvPr id="2" name="Group 1">
            <a:extLst>
              <a:ext uri="{FF2B5EF4-FFF2-40B4-BE49-F238E27FC236}">
                <a16:creationId xmlns:a16="http://schemas.microsoft.com/office/drawing/2014/main" id="{B882D174-9E4E-3A2D-FB2E-6E2F89E29355}"/>
              </a:ext>
            </a:extLst>
          </p:cNvPr>
          <p:cNvGrpSpPr/>
          <p:nvPr/>
        </p:nvGrpSpPr>
        <p:grpSpPr>
          <a:xfrm>
            <a:off x="8289176" y="3955795"/>
            <a:ext cx="507586" cy="507586"/>
            <a:chOff x="8289176" y="3955795"/>
            <a:chExt cx="507586" cy="507586"/>
          </a:xfrm>
        </p:grpSpPr>
        <p:sp>
          <p:nvSpPr>
            <p:cNvPr id="115" name="Oval 114">
              <a:extLst>
                <a:ext uri="{FF2B5EF4-FFF2-40B4-BE49-F238E27FC236}">
                  <a16:creationId xmlns:a16="http://schemas.microsoft.com/office/drawing/2014/main" id="{1F054C56-E672-E4B6-04C9-35767206F4F3}"/>
                </a:ext>
              </a:extLst>
            </p:cNvPr>
            <p:cNvSpPr/>
            <p:nvPr/>
          </p:nvSpPr>
          <p:spPr>
            <a:xfrm>
              <a:off x="8289176" y="3955795"/>
              <a:ext cx="507586" cy="507586"/>
            </a:xfrm>
            <a:prstGeom prst="ellipse">
              <a:avLst/>
            </a:prstGeom>
            <a:solidFill>
              <a:srgbClr val="27333D"/>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8" name="Graphic 7" descr="Wrench with solid fill">
              <a:extLst>
                <a:ext uri="{FF2B5EF4-FFF2-40B4-BE49-F238E27FC236}">
                  <a16:creationId xmlns:a16="http://schemas.microsoft.com/office/drawing/2014/main" id="{92079104-CB72-76D9-07AE-A5E0AA37F7E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399955" y="4075460"/>
              <a:ext cx="268255" cy="268255"/>
            </a:xfrm>
            <a:prstGeom prst="rect">
              <a:avLst/>
            </a:prstGeom>
          </p:spPr>
        </p:pic>
      </p:grpSp>
    </p:spTree>
    <p:extLst>
      <p:ext uri="{BB962C8B-B14F-4D97-AF65-F5344CB8AC3E}">
        <p14:creationId xmlns:p14="http://schemas.microsoft.com/office/powerpoint/2010/main" val="286074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800"/>
                                        <p:tgtEl>
                                          <p:spTgt spid="29"/>
                                        </p:tgtEl>
                                      </p:cBhvr>
                                    </p:animEffect>
                                  </p:childTnLst>
                                </p:cTn>
                              </p:par>
                              <p:par>
                                <p:cTn id="8" presetID="42" presetClass="path" presetSubtype="0" decel="100000" fill="hold" grpId="1" nodeType="withEffect">
                                  <p:stCondLst>
                                    <p:cond delay="0"/>
                                  </p:stCondLst>
                                  <p:childTnLst>
                                    <p:animMotion origin="layout" path="M -2.08333E-7 1.85185E-6 L -2.08333E-7 0.11389 " pathEditMode="relative" rAng="0" ptsTypes="AA">
                                      <p:cBhvr>
                                        <p:cTn id="9" dur="1250" spd="-100000" fill="hold"/>
                                        <p:tgtEl>
                                          <p:spTgt spid="29"/>
                                        </p:tgtEl>
                                        <p:attrNameLst>
                                          <p:attrName>ppt_x</p:attrName>
                                          <p:attrName>ppt_y</p:attrName>
                                        </p:attrNameLst>
                                      </p:cBhvr>
                                      <p:rCtr x="0" y="5694"/>
                                    </p:animMotion>
                                  </p:childTnLst>
                                </p:cTn>
                              </p:par>
                              <p:par>
                                <p:cTn id="10" presetID="22" presetClass="entr" presetSubtype="1"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800"/>
                                        <p:tgtEl>
                                          <p:spTgt spid="30"/>
                                        </p:tgtEl>
                                      </p:cBhvr>
                                    </p:animEffect>
                                  </p:childTnLst>
                                </p:cTn>
                              </p:par>
                              <p:par>
                                <p:cTn id="13" presetID="42" presetClass="path" presetSubtype="0" decel="100000" fill="hold" grpId="1" nodeType="withEffect">
                                  <p:stCondLst>
                                    <p:cond delay="0"/>
                                  </p:stCondLst>
                                  <p:childTnLst>
                                    <p:animMotion origin="layout" path="M 1.45833E-6 -1.48148E-6 L 1.45833E-6 0.11389 " pathEditMode="relative" rAng="0" ptsTypes="AA">
                                      <p:cBhvr>
                                        <p:cTn id="14" dur="1250" spd="-100000" fill="hold"/>
                                        <p:tgtEl>
                                          <p:spTgt spid="30"/>
                                        </p:tgtEl>
                                        <p:attrNameLst>
                                          <p:attrName>ppt_x</p:attrName>
                                          <p:attrName>ppt_y</p:attrName>
                                        </p:attrNameLst>
                                      </p:cBhvr>
                                      <p:rCtr x="0" y="5694"/>
                                    </p:animMotion>
                                  </p:childTnLst>
                                </p:cTn>
                              </p:par>
                              <p:par>
                                <p:cTn id="15" presetID="22" presetClass="entr" presetSubtype="1" fill="hold" grpId="0" nodeType="withEffect">
                                  <p:stCondLst>
                                    <p:cond delay="250"/>
                                  </p:stCondLst>
                                  <p:childTnLst>
                                    <p:set>
                                      <p:cBhvr>
                                        <p:cTn id="16" dur="1" fill="hold">
                                          <p:stCondLst>
                                            <p:cond delay="0"/>
                                          </p:stCondLst>
                                        </p:cTn>
                                        <p:tgtEl>
                                          <p:spTgt spid="21"/>
                                        </p:tgtEl>
                                        <p:attrNameLst>
                                          <p:attrName>style.visibility</p:attrName>
                                        </p:attrNameLst>
                                      </p:cBhvr>
                                      <p:to>
                                        <p:strVal val="visible"/>
                                      </p:to>
                                    </p:set>
                                    <p:animEffect transition="in" filter="wipe(up)">
                                      <p:cBhvr>
                                        <p:cTn id="17" dur="800"/>
                                        <p:tgtEl>
                                          <p:spTgt spid="21"/>
                                        </p:tgtEl>
                                      </p:cBhvr>
                                    </p:animEffect>
                                  </p:childTnLst>
                                </p:cTn>
                              </p:par>
                              <p:par>
                                <p:cTn id="18" presetID="42" presetClass="path" presetSubtype="0" decel="100000" fill="hold" grpId="1" nodeType="withEffect">
                                  <p:stCondLst>
                                    <p:cond delay="250"/>
                                  </p:stCondLst>
                                  <p:childTnLst>
                                    <p:animMotion origin="layout" path="M -1.875E-6 4.07407E-6 L -1.875E-6 0.11388 " pathEditMode="relative" rAng="0" ptsTypes="AA">
                                      <p:cBhvr>
                                        <p:cTn id="19" dur="1250" spd="-100000" fill="hold"/>
                                        <p:tgtEl>
                                          <p:spTgt spid="21"/>
                                        </p:tgtEl>
                                        <p:attrNameLst>
                                          <p:attrName>ppt_x</p:attrName>
                                          <p:attrName>ppt_y</p:attrName>
                                        </p:attrNameLst>
                                      </p:cBhvr>
                                      <p:rCtr x="0" y="5694"/>
                                    </p:animMotion>
                                  </p:childTnLst>
                                </p:cTn>
                              </p:par>
                              <p:par>
                                <p:cTn id="20" presetID="22" presetClass="entr" presetSubtype="1"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wipe(up)">
                                      <p:cBhvr>
                                        <p:cTn id="22" dur="800"/>
                                        <p:tgtEl>
                                          <p:spTgt spid="20"/>
                                        </p:tgtEl>
                                      </p:cBhvr>
                                    </p:animEffect>
                                  </p:childTnLst>
                                </p:cTn>
                              </p:par>
                              <p:par>
                                <p:cTn id="23" presetID="42" presetClass="path" presetSubtype="0" decel="100000" fill="hold" grpId="1" nodeType="withEffect">
                                  <p:stCondLst>
                                    <p:cond delay="500"/>
                                  </p:stCondLst>
                                  <p:childTnLst>
                                    <p:animMotion origin="layout" path="M -3.33333E-6 3.33333E-6 L -3.33333E-6 0.11389 " pathEditMode="relative" rAng="0" ptsTypes="AA">
                                      <p:cBhvr>
                                        <p:cTn id="24" dur="1250" spd="-100000" fill="hold"/>
                                        <p:tgtEl>
                                          <p:spTgt spid="20"/>
                                        </p:tgtEl>
                                        <p:attrNameLst>
                                          <p:attrName>ppt_x</p:attrName>
                                          <p:attrName>ppt_y</p:attrName>
                                        </p:attrNameLst>
                                      </p:cBhvr>
                                      <p:rCtr x="0" y="5694"/>
                                    </p:animMotion>
                                  </p:childTnLst>
                                </p:cTn>
                              </p:par>
                              <p:par>
                                <p:cTn id="25" presetID="22" presetClass="entr" presetSubtype="1" fill="hold" grpId="0" nodeType="withEffect">
                                  <p:stCondLst>
                                    <p:cond delay="500"/>
                                  </p:stCondLst>
                                  <p:childTnLst>
                                    <p:set>
                                      <p:cBhvr>
                                        <p:cTn id="26" dur="1" fill="hold">
                                          <p:stCondLst>
                                            <p:cond delay="0"/>
                                          </p:stCondLst>
                                        </p:cTn>
                                        <p:tgtEl>
                                          <p:spTgt spid="33"/>
                                        </p:tgtEl>
                                        <p:attrNameLst>
                                          <p:attrName>style.visibility</p:attrName>
                                        </p:attrNameLst>
                                      </p:cBhvr>
                                      <p:to>
                                        <p:strVal val="visible"/>
                                      </p:to>
                                    </p:set>
                                    <p:animEffect transition="in" filter="wipe(up)">
                                      <p:cBhvr>
                                        <p:cTn id="27" dur="800"/>
                                        <p:tgtEl>
                                          <p:spTgt spid="33"/>
                                        </p:tgtEl>
                                      </p:cBhvr>
                                    </p:animEffect>
                                  </p:childTnLst>
                                </p:cTn>
                              </p:par>
                              <p:par>
                                <p:cTn id="28" presetID="42" presetClass="path" presetSubtype="0" decel="100000" fill="hold" grpId="1" nodeType="withEffect">
                                  <p:stCondLst>
                                    <p:cond delay="500"/>
                                  </p:stCondLst>
                                  <p:childTnLst>
                                    <p:animMotion origin="layout" path="M -3.125E-6 -2.22222E-6 L -3.125E-6 0.11389 " pathEditMode="relative" rAng="0" ptsTypes="AA">
                                      <p:cBhvr>
                                        <p:cTn id="29" dur="1250" spd="-100000" fill="hold"/>
                                        <p:tgtEl>
                                          <p:spTgt spid="33"/>
                                        </p:tgtEl>
                                        <p:attrNameLst>
                                          <p:attrName>ppt_x</p:attrName>
                                          <p:attrName>ppt_y</p:attrName>
                                        </p:attrNameLst>
                                      </p:cBhvr>
                                      <p:rCtr x="0" y="5694"/>
                                    </p:animMotion>
                                  </p:childTnLst>
                                </p:cTn>
                              </p:par>
                              <p:par>
                                <p:cTn id="30" presetID="53" presetClass="entr" presetSubtype="16" fill="hold" nodeType="withEffect">
                                  <p:stCondLst>
                                    <p:cond delay="750"/>
                                  </p:stCondLst>
                                  <p:childTnLst>
                                    <p:set>
                                      <p:cBhvr>
                                        <p:cTn id="31" dur="1" fill="hold">
                                          <p:stCondLst>
                                            <p:cond delay="0"/>
                                          </p:stCondLst>
                                        </p:cTn>
                                        <p:tgtEl>
                                          <p:spTgt spid="102"/>
                                        </p:tgtEl>
                                        <p:attrNameLst>
                                          <p:attrName>style.visibility</p:attrName>
                                        </p:attrNameLst>
                                      </p:cBhvr>
                                      <p:to>
                                        <p:strVal val="visible"/>
                                      </p:to>
                                    </p:set>
                                    <p:anim calcmode="lin" valueType="num">
                                      <p:cBhvr>
                                        <p:cTn id="32" dur="750" fill="hold"/>
                                        <p:tgtEl>
                                          <p:spTgt spid="102"/>
                                        </p:tgtEl>
                                        <p:attrNameLst>
                                          <p:attrName>ppt_w</p:attrName>
                                        </p:attrNameLst>
                                      </p:cBhvr>
                                      <p:tavLst>
                                        <p:tav tm="0">
                                          <p:val>
                                            <p:fltVal val="0"/>
                                          </p:val>
                                        </p:tav>
                                        <p:tav tm="100000">
                                          <p:val>
                                            <p:strVal val="#ppt_w"/>
                                          </p:val>
                                        </p:tav>
                                      </p:tavLst>
                                    </p:anim>
                                    <p:anim calcmode="lin" valueType="num">
                                      <p:cBhvr>
                                        <p:cTn id="33" dur="750" fill="hold"/>
                                        <p:tgtEl>
                                          <p:spTgt spid="102"/>
                                        </p:tgtEl>
                                        <p:attrNameLst>
                                          <p:attrName>ppt_h</p:attrName>
                                        </p:attrNameLst>
                                      </p:cBhvr>
                                      <p:tavLst>
                                        <p:tav tm="0">
                                          <p:val>
                                            <p:fltVal val="0"/>
                                          </p:val>
                                        </p:tav>
                                        <p:tav tm="100000">
                                          <p:val>
                                            <p:strVal val="#ppt_h"/>
                                          </p:val>
                                        </p:tav>
                                      </p:tavLst>
                                    </p:anim>
                                    <p:animEffect transition="in" filter="fade">
                                      <p:cBhvr>
                                        <p:cTn id="34" dur="750"/>
                                        <p:tgtEl>
                                          <p:spTgt spid="102"/>
                                        </p:tgtEl>
                                      </p:cBhvr>
                                    </p:animEffect>
                                  </p:childTnLst>
                                </p:cTn>
                              </p:par>
                              <p:par>
                                <p:cTn id="35" presetID="53" presetClass="entr" presetSubtype="16" fill="hold" nodeType="withEffect">
                                  <p:stCondLst>
                                    <p:cond delay="750"/>
                                  </p:stCondLst>
                                  <p:childTnLst>
                                    <p:set>
                                      <p:cBhvr>
                                        <p:cTn id="36" dur="1" fill="hold">
                                          <p:stCondLst>
                                            <p:cond delay="0"/>
                                          </p:stCondLst>
                                        </p:cTn>
                                        <p:tgtEl>
                                          <p:spTgt spid="93"/>
                                        </p:tgtEl>
                                        <p:attrNameLst>
                                          <p:attrName>style.visibility</p:attrName>
                                        </p:attrNameLst>
                                      </p:cBhvr>
                                      <p:to>
                                        <p:strVal val="visible"/>
                                      </p:to>
                                    </p:set>
                                    <p:anim calcmode="lin" valueType="num">
                                      <p:cBhvr>
                                        <p:cTn id="37" dur="750" fill="hold"/>
                                        <p:tgtEl>
                                          <p:spTgt spid="93"/>
                                        </p:tgtEl>
                                        <p:attrNameLst>
                                          <p:attrName>ppt_w</p:attrName>
                                        </p:attrNameLst>
                                      </p:cBhvr>
                                      <p:tavLst>
                                        <p:tav tm="0">
                                          <p:val>
                                            <p:fltVal val="0"/>
                                          </p:val>
                                        </p:tav>
                                        <p:tav tm="100000">
                                          <p:val>
                                            <p:strVal val="#ppt_w"/>
                                          </p:val>
                                        </p:tav>
                                      </p:tavLst>
                                    </p:anim>
                                    <p:anim calcmode="lin" valueType="num">
                                      <p:cBhvr>
                                        <p:cTn id="38" dur="750" fill="hold"/>
                                        <p:tgtEl>
                                          <p:spTgt spid="93"/>
                                        </p:tgtEl>
                                        <p:attrNameLst>
                                          <p:attrName>ppt_h</p:attrName>
                                        </p:attrNameLst>
                                      </p:cBhvr>
                                      <p:tavLst>
                                        <p:tav tm="0">
                                          <p:val>
                                            <p:fltVal val="0"/>
                                          </p:val>
                                        </p:tav>
                                        <p:tav tm="100000">
                                          <p:val>
                                            <p:strVal val="#ppt_h"/>
                                          </p:val>
                                        </p:tav>
                                      </p:tavLst>
                                    </p:anim>
                                    <p:animEffect transition="in" filter="fade">
                                      <p:cBhvr>
                                        <p:cTn id="39" dur="750"/>
                                        <p:tgtEl>
                                          <p:spTgt spid="93"/>
                                        </p:tgtEl>
                                      </p:cBhvr>
                                    </p:animEffect>
                                  </p:childTnLst>
                                </p:cTn>
                              </p:par>
                              <p:par>
                                <p:cTn id="40" presetID="53" presetClass="entr" presetSubtype="16" fill="hold" nodeType="withEffect">
                                  <p:stCondLst>
                                    <p:cond delay="750"/>
                                  </p:stCondLst>
                                  <p:childTnLst>
                                    <p:set>
                                      <p:cBhvr>
                                        <p:cTn id="41" dur="1" fill="hold">
                                          <p:stCondLst>
                                            <p:cond delay="0"/>
                                          </p:stCondLst>
                                        </p:cTn>
                                        <p:tgtEl>
                                          <p:spTgt spid="96"/>
                                        </p:tgtEl>
                                        <p:attrNameLst>
                                          <p:attrName>style.visibility</p:attrName>
                                        </p:attrNameLst>
                                      </p:cBhvr>
                                      <p:to>
                                        <p:strVal val="visible"/>
                                      </p:to>
                                    </p:set>
                                    <p:anim calcmode="lin" valueType="num">
                                      <p:cBhvr>
                                        <p:cTn id="42" dur="750" fill="hold"/>
                                        <p:tgtEl>
                                          <p:spTgt spid="96"/>
                                        </p:tgtEl>
                                        <p:attrNameLst>
                                          <p:attrName>ppt_w</p:attrName>
                                        </p:attrNameLst>
                                      </p:cBhvr>
                                      <p:tavLst>
                                        <p:tav tm="0">
                                          <p:val>
                                            <p:fltVal val="0"/>
                                          </p:val>
                                        </p:tav>
                                        <p:tav tm="100000">
                                          <p:val>
                                            <p:strVal val="#ppt_w"/>
                                          </p:val>
                                        </p:tav>
                                      </p:tavLst>
                                    </p:anim>
                                    <p:anim calcmode="lin" valueType="num">
                                      <p:cBhvr>
                                        <p:cTn id="43" dur="750" fill="hold"/>
                                        <p:tgtEl>
                                          <p:spTgt spid="96"/>
                                        </p:tgtEl>
                                        <p:attrNameLst>
                                          <p:attrName>ppt_h</p:attrName>
                                        </p:attrNameLst>
                                      </p:cBhvr>
                                      <p:tavLst>
                                        <p:tav tm="0">
                                          <p:val>
                                            <p:fltVal val="0"/>
                                          </p:val>
                                        </p:tav>
                                        <p:tav tm="100000">
                                          <p:val>
                                            <p:strVal val="#ppt_h"/>
                                          </p:val>
                                        </p:tav>
                                      </p:tavLst>
                                    </p:anim>
                                    <p:animEffect transition="in" filter="fade">
                                      <p:cBhvr>
                                        <p:cTn id="44" dur="750"/>
                                        <p:tgtEl>
                                          <p:spTgt spid="96"/>
                                        </p:tgtEl>
                                      </p:cBhvr>
                                    </p:animEffect>
                                  </p:childTnLst>
                                </p:cTn>
                              </p:par>
                              <p:par>
                                <p:cTn id="45" presetID="53" presetClass="entr" presetSubtype="16" fill="hold" nodeType="withEffect">
                                  <p:stCondLst>
                                    <p:cond delay="750"/>
                                  </p:stCondLst>
                                  <p:childTnLst>
                                    <p:set>
                                      <p:cBhvr>
                                        <p:cTn id="46" dur="1" fill="hold">
                                          <p:stCondLst>
                                            <p:cond delay="0"/>
                                          </p:stCondLst>
                                        </p:cTn>
                                        <p:tgtEl>
                                          <p:spTgt spid="99"/>
                                        </p:tgtEl>
                                        <p:attrNameLst>
                                          <p:attrName>style.visibility</p:attrName>
                                        </p:attrNameLst>
                                      </p:cBhvr>
                                      <p:to>
                                        <p:strVal val="visible"/>
                                      </p:to>
                                    </p:set>
                                    <p:anim calcmode="lin" valueType="num">
                                      <p:cBhvr>
                                        <p:cTn id="47" dur="750" fill="hold"/>
                                        <p:tgtEl>
                                          <p:spTgt spid="99"/>
                                        </p:tgtEl>
                                        <p:attrNameLst>
                                          <p:attrName>ppt_w</p:attrName>
                                        </p:attrNameLst>
                                      </p:cBhvr>
                                      <p:tavLst>
                                        <p:tav tm="0">
                                          <p:val>
                                            <p:fltVal val="0"/>
                                          </p:val>
                                        </p:tav>
                                        <p:tav tm="100000">
                                          <p:val>
                                            <p:strVal val="#ppt_w"/>
                                          </p:val>
                                        </p:tav>
                                      </p:tavLst>
                                    </p:anim>
                                    <p:anim calcmode="lin" valueType="num">
                                      <p:cBhvr>
                                        <p:cTn id="48" dur="750" fill="hold"/>
                                        <p:tgtEl>
                                          <p:spTgt spid="99"/>
                                        </p:tgtEl>
                                        <p:attrNameLst>
                                          <p:attrName>ppt_h</p:attrName>
                                        </p:attrNameLst>
                                      </p:cBhvr>
                                      <p:tavLst>
                                        <p:tav tm="0">
                                          <p:val>
                                            <p:fltVal val="0"/>
                                          </p:val>
                                        </p:tav>
                                        <p:tav tm="100000">
                                          <p:val>
                                            <p:strVal val="#ppt_h"/>
                                          </p:val>
                                        </p:tav>
                                      </p:tavLst>
                                    </p:anim>
                                    <p:animEffect transition="in" filter="fade">
                                      <p:cBhvr>
                                        <p:cTn id="49" dur="750"/>
                                        <p:tgtEl>
                                          <p:spTgt spid="99"/>
                                        </p:tgtEl>
                                      </p:cBhvr>
                                    </p:animEffect>
                                  </p:childTnLst>
                                </p:cTn>
                              </p:par>
                              <p:par>
                                <p:cTn id="50" presetID="53" presetClass="entr" presetSubtype="16" fill="hold" nodeType="withEffect">
                                  <p:stCondLst>
                                    <p:cond delay="750"/>
                                  </p:stCondLst>
                                  <p:childTnLst>
                                    <p:set>
                                      <p:cBhvr>
                                        <p:cTn id="51" dur="1" fill="hold">
                                          <p:stCondLst>
                                            <p:cond delay="0"/>
                                          </p:stCondLst>
                                        </p:cTn>
                                        <p:tgtEl>
                                          <p:spTgt spid="111"/>
                                        </p:tgtEl>
                                        <p:attrNameLst>
                                          <p:attrName>style.visibility</p:attrName>
                                        </p:attrNameLst>
                                      </p:cBhvr>
                                      <p:to>
                                        <p:strVal val="visible"/>
                                      </p:to>
                                    </p:set>
                                    <p:anim calcmode="lin" valueType="num">
                                      <p:cBhvr>
                                        <p:cTn id="52" dur="750" fill="hold"/>
                                        <p:tgtEl>
                                          <p:spTgt spid="111"/>
                                        </p:tgtEl>
                                        <p:attrNameLst>
                                          <p:attrName>ppt_w</p:attrName>
                                        </p:attrNameLst>
                                      </p:cBhvr>
                                      <p:tavLst>
                                        <p:tav tm="0">
                                          <p:val>
                                            <p:fltVal val="0"/>
                                          </p:val>
                                        </p:tav>
                                        <p:tav tm="100000">
                                          <p:val>
                                            <p:strVal val="#ppt_w"/>
                                          </p:val>
                                        </p:tav>
                                      </p:tavLst>
                                    </p:anim>
                                    <p:anim calcmode="lin" valueType="num">
                                      <p:cBhvr>
                                        <p:cTn id="53" dur="750" fill="hold"/>
                                        <p:tgtEl>
                                          <p:spTgt spid="111"/>
                                        </p:tgtEl>
                                        <p:attrNameLst>
                                          <p:attrName>ppt_h</p:attrName>
                                        </p:attrNameLst>
                                      </p:cBhvr>
                                      <p:tavLst>
                                        <p:tav tm="0">
                                          <p:val>
                                            <p:fltVal val="0"/>
                                          </p:val>
                                        </p:tav>
                                        <p:tav tm="100000">
                                          <p:val>
                                            <p:strVal val="#ppt_h"/>
                                          </p:val>
                                        </p:tav>
                                      </p:tavLst>
                                    </p:anim>
                                    <p:animEffect transition="in" filter="fade">
                                      <p:cBhvr>
                                        <p:cTn id="54" dur="750"/>
                                        <p:tgtEl>
                                          <p:spTgt spid="111"/>
                                        </p:tgtEl>
                                      </p:cBhvr>
                                    </p:animEffect>
                                  </p:childTnLst>
                                </p:cTn>
                              </p:par>
                              <p:par>
                                <p:cTn id="55" presetID="53" presetClass="entr" presetSubtype="16" fill="hold" nodeType="withEffect">
                                  <p:stCondLst>
                                    <p:cond delay="75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750" fill="hold"/>
                                        <p:tgtEl>
                                          <p:spTgt spid="105"/>
                                        </p:tgtEl>
                                        <p:attrNameLst>
                                          <p:attrName>ppt_w</p:attrName>
                                        </p:attrNameLst>
                                      </p:cBhvr>
                                      <p:tavLst>
                                        <p:tav tm="0">
                                          <p:val>
                                            <p:fltVal val="0"/>
                                          </p:val>
                                        </p:tav>
                                        <p:tav tm="100000">
                                          <p:val>
                                            <p:strVal val="#ppt_w"/>
                                          </p:val>
                                        </p:tav>
                                      </p:tavLst>
                                    </p:anim>
                                    <p:anim calcmode="lin" valueType="num">
                                      <p:cBhvr>
                                        <p:cTn id="58" dur="750" fill="hold"/>
                                        <p:tgtEl>
                                          <p:spTgt spid="105"/>
                                        </p:tgtEl>
                                        <p:attrNameLst>
                                          <p:attrName>ppt_h</p:attrName>
                                        </p:attrNameLst>
                                      </p:cBhvr>
                                      <p:tavLst>
                                        <p:tav tm="0">
                                          <p:val>
                                            <p:fltVal val="0"/>
                                          </p:val>
                                        </p:tav>
                                        <p:tav tm="100000">
                                          <p:val>
                                            <p:strVal val="#ppt_h"/>
                                          </p:val>
                                        </p:tav>
                                      </p:tavLst>
                                    </p:anim>
                                    <p:animEffect transition="in" filter="fade">
                                      <p:cBhvr>
                                        <p:cTn id="59" dur="750"/>
                                        <p:tgtEl>
                                          <p:spTgt spid="105"/>
                                        </p:tgtEl>
                                      </p:cBhvr>
                                    </p:animEffect>
                                  </p:childTnLst>
                                </p:cTn>
                              </p:par>
                              <p:par>
                                <p:cTn id="60" presetID="53" presetClass="entr" presetSubtype="16" fill="hold" nodeType="withEffect">
                                  <p:stCondLst>
                                    <p:cond delay="650"/>
                                  </p:stCondLst>
                                  <p:childTnLst>
                                    <p:set>
                                      <p:cBhvr>
                                        <p:cTn id="61" dur="1" fill="hold">
                                          <p:stCondLst>
                                            <p:cond delay="0"/>
                                          </p:stCondLst>
                                        </p:cTn>
                                        <p:tgtEl>
                                          <p:spTgt spid="117"/>
                                        </p:tgtEl>
                                        <p:attrNameLst>
                                          <p:attrName>style.visibility</p:attrName>
                                        </p:attrNameLst>
                                      </p:cBhvr>
                                      <p:to>
                                        <p:strVal val="visible"/>
                                      </p:to>
                                    </p:set>
                                    <p:anim calcmode="lin" valueType="num">
                                      <p:cBhvr>
                                        <p:cTn id="62" dur="750" fill="hold"/>
                                        <p:tgtEl>
                                          <p:spTgt spid="117"/>
                                        </p:tgtEl>
                                        <p:attrNameLst>
                                          <p:attrName>ppt_w</p:attrName>
                                        </p:attrNameLst>
                                      </p:cBhvr>
                                      <p:tavLst>
                                        <p:tav tm="0">
                                          <p:val>
                                            <p:fltVal val="0"/>
                                          </p:val>
                                        </p:tav>
                                        <p:tav tm="100000">
                                          <p:val>
                                            <p:strVal val="#ppt_w"/>
                                          </p:val>
                                        </p:tav>
                                      </p:tavLst>
                                    </p:anim>
                                    <p:anim calcmode="lin" valueType="num">
                                      <p:cBhvr>
                                        <p:cTn id="63" dur="750" fill="hold"/>
                                        <p:tgtEl>
                                          <p:spTgt spid="117"/>
                                        </p:tgtEl>
                                        <p:attrNameLst>
                                          <p:attrName>ppt_h</p:attrName>
                                        </p:attrNameLst>
                                      </p:cBhvr>
                                      <p:tavLst>
                                        <p:tav tm="0">
                                          <p:val>
                                            <p:fltVal val="0"/>
                                          </p:val>
                                        </p:tav>
                                        <p:tav tm="100000">
                                          <p:val>
                                            <p:strVal val="#ppt_h"/>
                                          </p:val>
                                        </p:tav>
                                      </p:tavLst>
                                    </p:anim>
                                    <p:animEffect transition="in" filter="fade">
                                      <p:cBhvr>
                                        <p:cTn id="64" dur="750"/>
                                        <p:tgtEl>
                                          <p:spTgt spid="117"/>
                                        </p:tgtEl>
                                      </p:cBhvr>
                                    </p:animEffect>
                                  </p:childTnLst>
                                </p:cTn>
                              </p:par>
                              <p:par>
                                <p:cTn id="65" presetID="53" presetClass="entr" presetSubtype="16" fill="hold" grpId="0" nodeType="withEffect">
                                  <p:stCondLst>
                                    <p:cond delay="750"/>
                                  </p:stCondLst>
                                  <p:childTnLst>
                                    <p:set>
                                      <p:cBhvr>
                                        <p:cTn id="66" dur="1" fill="hold">
                                          <p:stCondLst>
                                            <p:cond delay="0"/>
                                          </p:stCondLst>
                                        </p:cTn>
                                        <p:tgtEl>
                                          <p:spTgt spid="92"/>
                                        </p:tgtEl>
                                        <p:attrNameLst>
                                          <p:attrName>style.visibility</p:attrName>
                                        </p:attrNameLst>
                                      </p:cBhvr>
                                      <p:to>
                                        <p:strVal val="visible"/>
                                      </p:to>
                                    </p:set>
                                    <p:anim calcmode="lin" valueType="num">
                                      <p:cBhvr>
                                        <p:cTn id="67" dur="750" fill="hold"/>
                                        <p:tgtEl>
                                          <p:spTgt spid="92"/>
                                        </p:tgtEl>
                                        <p:attrNameLst>
                                          <p:attrName>ppt_w</p:attrName>
                                        </p:attrNameLst>
                                      </p:cBhvr>
                                      <p:tavLst>
                                        <p:tav tm="0">
                                          <p:val>
                                            <p:fltVal val="0"/>
                                          </p:val>
                                        </p:tav>
                                        <p:tav tm="100000">
                                          <p:val>
                                            <p:strVal val="#ppt_w"/>
                                          </p:val>
                                        </p:tav>
                                      </p:tavLst>
                                    </p:anim>
                                    <p:anim calcmode="lin" valueType="num">
                                      <p:cBhvr>
                                        <p:cTn id="68" dur="750" fill="hold"/>
                                        <p:tgtEl>
                                          <p:spTgt spid="92"/>
                                        </p:tgtEl>
                                        <p:attrNameLst>
                                          <p:attrName>ppt_h</p:attrName>
                                        </p:attrNameLst>
                                      </p:cBhvr>
                                      <p:tavLst>
                                        <p:tav tm="0">
                                          <p:val>
                                            <p:fltVal val="0"/>
                                          </p:val>
                                        </p:tav>
                                        <p:tav tm="100000">
                                          <p:val>
                                            <p:strVal val="#ppt_h"/>
                                          </p:val>
                                        </p:tav>
                                      </p:tavLst>
                                    </p:anim>
                                    <p:animEffect transition="in" filter="fade">
                                      <p:cBhvr>
                                        <p:cTn id="69" dur="750"/>
                                        <p:tgtEl>
                                          <p:spTgt spid="92"/>
                                        </p:tgtEl>
                                      </p:cBhvr>
                                    </p:animEffect>
                                  </p:childTnLst>
                                </p:cTn>
                              </p:par>
                              <p:par>
                                <p:cTn id="70" presetID="31" presetClass="entr" presetSubtype="0" fill="hold" nodeType="withEffect">
                                  <p:stCondLst>
                                    <p:cond delay="750"/>
                                  </p:stCondLst>
                                  <p:childTnLst>
                                    <p:set>
                                      <p:cBhvr>
                                        <p:cTn id="71" dur="1" fill="hold">
                                          <p:stCondLst>
                                            <p:cond delay="0"/>
                                          </p:stCondLst>
                                        </p:cTn>
                                        <p:tgtEl>
                                          <p:spTgt spid="2"/>
                                        </p:tgtEl>
                                        <p:attrNameLst>
                                          <p:attrName>style.visibility</p:attrName>
                                        </p:attrNameLst>
                                      </p:cBhvr>
                                      <p:to>
                                        <p:strVal val="visible"/>
                                      </p:to>
                                    </p:set>
                                    <p:anim calcmode="lin" valueType="num">
                                      <p:cBhvr>
                                        <p:cTn id="72" dur="1000" fill="hold"/>
                                        <p:tgtEl>
                                          <p:spTgt spid="2"/>
                                        </p:tgtEl>
                                        <p:attrNameLst>
                                          <p:attrName>ppt_w</p:attrName>
                                        </p:attrNameLst>
                                      </p:cBhvr>
                                      <p:tavLst>
                                        <p:tav tm="0">
                                          <p:val>
                                            <p:fltVal val="0"/>
                                          </p:val>
                                        </p:tav>
                                        <p:tav tm="100000">
                                          <p:val>
                                            <p:strVal val="#ppt_w"/>
                                          </p:val>
                                        </p:tav>
                                      </p:tavLst>
                                    </p:anim>
                                    <p:anim calcmode="lin" valueType="num">
                                      <p:cBhvr>
                                        <p:cTn id="73" dur="1000" fill="hold"/>
                                        <p:tgtEl>
                                          <p:spTgt spid="2"/>
                                        </p:tgtEl>
                                        <p:attrNameLst>
                                          <p:attrName>ppt_h</p:attrName>
                                        </p:attrNameLst>
                                      </p:cBhvr>
                                      <p:tavLst>
                                        <p:tav tm="0">
                                          <p:val>
                                            <p:fltVal val="0"/>
                                          </p:val>
                                        </p:tav>
                                        <p:tav tm="100000">
                                          <p:val>
                                            <p:strVal val="#ppt_h"/>
                                          </p:val>
                                        </p:tav>
                                      </p:tavLst>
                                    </p:anim>
                                    <p:anim calcmode="lin" valueType="num">
                                      <p:cBhvr>
                                        <p:cTn id="74" dur="1000" fill="hold"/>
                                        <p:tgtEl>
                                          <p:spTgt spid="2"/>
                                        </p:tgtEl>
                                        <p:attrNameLst>
                                          <p:attrName>style.rotation</p:attrName>
                                        </p:attrNameLst>
                                      </p:cBhvr>
                                      <p:tavLst>
                                        <p:tav tm="0">
                                          <p:val>
                                            <p:fltVal val="90"/>
                                          </p:val>
                                        </p:tav>
                                        <p:tav tm="100000">
                                          <p:val>
                                            <p:fltVal val="0"/>
                                          </p:val>
                                        </p:tav>
                                      </p:tavLst>
                                    </p:anim>
                                    <p:animEffect transition="in" filter="fade">
                                      <p:cBhvr>
                                        <p:cTn id="75" dur="1000"/>
                                        <p:tgtEl>
                                          <p:spTgt spid="2"/>
                                        </p:tgtEl>
                                      </p:cBhvr>
                                    </p:animEffect>
                                  </p:childTnLst>
                                </p:cTn>
                              </p:par>
                              <p:par>
                                <p:cTn id="76" presetID="8" presetClass="emph" presetSubtype="0" decel="100000" fill="hold" nodeType="withEffect">
                                  <p:stCondLst>
                                    <p:cond delay="750"/>
                                  </p:stCondLst>
                                  <p:childTnLst>
                                    <p:animRot by="21600000">
                                      <p:cBhvr>
                                        <p:cTn id="77" dur="1500" fill="hold"/>
                                        <p:tgtEl>
                                          <p:spTgt spid="102"/>
                                        </p:tgtEl>
                                        <p:attrNameLst>
                                          <p:attrName>r</p:attrName>
                                        </p:attrNameLst>
                                      </p:cBhvr>
                                    </p:animRot>
                                  </p:childTnLst>
                                </p:cTn>
                              </p:par>
                              <p:par>
                                <p:cTn id="78" presetID="8" presetClass="emph" presetSubtype="0" decel="100000" fill="hold" nodeType="withEffect">
                                  <p:stCondLst>
                                    <p:cond delay="750"/>
                                  </p:stCondLst>
                                  <p:childTnLst>
                                    <p:animRot by="21600000">
                                      <p:cBhvr>
                                        <p:cTn id="79" dur="1500" fill="hold"/>
                                        <p:tgtEl>
                                          <p:spTgt spid="93"/>
                                        </p:tgtEl>
                                        <p:attrNameLst>
                                          <p:attrName>r</p:attrName>
                                        </p:attrNameLst>
                                      </p:cBhvr>
                                    </p:animRot>
                                  </p:childTnLst>
                                </p:cTn>
                              </p:par>
                              <p:par>
                                <p:cTn id="80" presetID="8" presetClass="emph" presetSubtype="0" decel="100000" fill="hold" nodeType="withEffect">
                                  <p:stCondLst>
                                    <p:cond delay="750"/>
                                  </p:stCondLst>
                                  <p:childTnLst>
                                    <p:animRot by="21600000">
                                      <p:cBhvr>
                                        <p:cTn id="81" dur="1500" fill="hold"/>
                                        <p:tgtEl>
                                          <p:spTgt spid="96"/>
                                        </p:tgtEl>
                                        <p:attrNameLst>
                                          <p:attrName>r</p:attrName>
                                        </p:attrNameLst>
                                      </p:cBhvr>
                                    </p:animRot>
                                  </p:childTnLst>
                                </p:cTn>
                              </p:par>
                              <p:par>
                                <p:cTn id="82" presetID="8" presetClass="emph" presetSubtype="0" decel="100000" fill="hold" nodeType="withEffect">
                                  <p:stCondLst>
                                    <p:cond delay="750"/>
                                  </p:stCondLst>
                                  <p:childTnLst>
                                    <p:animRot by="21600000">
                                      <p:cBhvr>
                                        <p:cTn id="83" dur="1500" fill="hold"/>
                                        <p:tgtEl>
                                          <p:spTgt spid="99"/>
                                        </p:tgtEl>
                                        <p:attrNameLst>
                                          <p:attrName>r</p:attrName>
                                        </p:attrNameLst>
                                      </p:cBhvr>
                                    </p:animRot>
                                  </p:childTnLst>
                                </p:cTn>
                              </p:par>
                              <p:par>
                                <p:cTn id="84" presetID="8" presetClass="emph" presetSubtype="0" decel="100000" fill="hold" nodeType="withEffect">
                                  <p:stCondLst>
                                    <p:cond delay="750"/>
                                  </p:stCondLst>
                                  <p:childTnLst>
                                    <p:animRot by="21600000">
                                      <p:cBhvr>
                                        <p:cTn id="85" dur="1500" fill="hold"/>
                                        <p:tgtEl>
                                          <p:spTgt spid="111"/>
                                        </p:tgtEl>
                                        <p:attrNameLst>
                                          <p:attrName>r</p:attrName>
                                        </p:attrNameLst>
                                      </p:cBhvr>
                                    </p:animRot>
                                  </p:childTnLst>
                                </p:cTn>
                              </p:par>
                              <p:par>
                                <p:cTn id="86" presetID="8" presetClass="emph" presetSubtype="0" decel="100000" fill="hold" nodeType="withEffect">
                                  <p:stCondLst>
                                    <p:cond delay="750"/>
                                  </p:stCondLst>
                                  <p:childTnLst>
                                    <p:animRot by="21600000">
                                      <p:cBhvr>
                                        <p:cTn id="87" dur="1500" fill="hold"/>
                                        <p:tgtEl>
                                          <p:spTgt spid="105"/>
                                        </p:tgtEl>
                                        <p:attrNameLst>
                                          <p:attrName>r</p:attrName>
                                        </p:attrNameLst>
                                      </p:cBhvr>
                                    </p:animRot>
                                  </p:childTnLst>
                                </p:cTn>
                              </p:par>
                              <p:par>
                                <p:cTn id="88" presetID="8" presetClass="emph" presetSubtype="0" decel="100000" fill="hold" nodeType="withEffect">
                                  <p:stCondLst>
                                    <p:cond delay="750"/>
                                  </p:stCondLst>
                                  <p:childTnLst>
                                    <p:animRot by="21600000">
                                      <p:cBhvr>
                                        <p:cTn id="89" dur="1500" fill="hold"/>
                                        <p:tgtEl>
                                          <p:spTgt spid="117"/>
                                        </p:tgtEl>
                                        <p:attrNameLst>
                                          <p:attrName>r</p:attrName>
                                        </p:attrNameLst>
                                      </p:cBhvr>
                                    </p:animRot>
                                  </p:childTnLst>
                                </p:cTn>
                              </p:par>
                              <p:par>
                                <p:cTn id="90" presetID="8" presetClass="emph" presetSubtype="0" decel="100000" fill="hold" grpId="1" nodeType="withEffect">
                                  <p:stCondLst>
                                    <p:cond delay="750"/>
                                  </p:stCondLst>
                                  <p:childTnLst>
                                    <p:animRot by="21600000">
                                      <p:cBhvr>
                                        <p:cTn id="91" dur="1500" fill="hold"/>
                                        <p:tgtEl>
                                          <p:spTgt spid="92"/>
                                        </p:tgtEl>
                                        <p:attrNameLst>
                                          <p:attrName>r</p:attrName>
                                        </p:attrNameLst>
                                      </p:cBhvr>
                                    </p:animRot>
                                  </p:childTnLst>
                                </p:cTn>
                              </p:par>
                              <p:par>
                                <p:cTn id="92" presetID="8" presetClass="emph" presetSubtype="0" fill="hold" nodeType="withEffect">
                                  <p:stCondLst>
                                    <p:cond delay="750"/>
                                  </p:stCondLst>
                                  <p:childTnLst>
                                    <p:animRot by="21600000">
                                      <p:cBhvr>
                                        <p:cTn id="93" dur="2000" fill="hold"/>
                                        <p:tgtEl>
                                          <p:spTgt spid="2"/>
                                        </p:tgtEl>
                                        <p:attrNameLst>
                                          <p:attrName>r</p:attrName>
                                        </p:attrNameLst>
                                      </p:cBhvr>
                                    </p:animRot>
                                  </p:childTnLst>
                                </p:cTn>
                              </p:par>
                              <p:par>
                                <p:cTn id="94" presetID="1" presetClass="entr" presetSubtype="0" fill="hold" grpId="0" nodeType="withEffect">
                                  <p:stCondLst>
                                    <p:cond delay="2250"/>
                                  </p:stCondLst>
                                  <p:childTnLst>
                                    <p:set>
                                      <p:cBhvr>
                                        <p:cTn id="95" dur="1" fill="hold">
                                          <p:stCondLst>
                                            <p:cond delay="0"/>
                                          </p:stCondLst>
                                        </p:cTn>
                                        <p:tgtEl>
                                          <p:spTgt spid="91"/>
                                        </p:tgtEl>
                                        <p:attrNameLst>
                                          <p:attrName>style.visibility</p:attrName>
                                        </p:attrNameLst>
                                      </p:cBhvr>
                                      <p:to>
                                        <p:strVal val="visible"/>
                                      </p:to>
                                    </p:set>
                                  </p:childTnLst>
                                </p:cTn>
                              </p:par>
                              <p:par>
                                <p:cTn id="96" presetID="1" presetClass="entr" presetSubtype="0" fill="hold" grpId="0" nodeType="withEffect">
                                  <p:stCondLst>
                                    <p:cond delay="2250"/>
                                  </p:stCondLst>
                                  <p:childTnLst>
                                    <p:set>
                                      <p:cBhvr>
                                        <p:cTn id="97" dur="1" fill="hold">
                                          <p:stCondLst>
                                            <p:cond delay="0"/>
                                          </p:stCondLst>
                                        </p:cTn>
                                        <p:tgtEl>
                                          <p:spTgt spid="90"/>
                                        </p:tgtEl>
                                        <p:attrNameLst>
                                          <p:attrName>style.visibility</p:attrName>
                                        </p:attrNameLst>
                                      </p:cBhvr>
                                      <p:to>
                                        <p:strVal val="visible"/>
                                      </p:to>
                                    </p:set>
                                  </p:childTnLst>
                                </p:cTn>
                              </p:par>
                              <p:par>
                                <p:cTn id="98" presetID="1" presetClass="entr" presetSubtype="0" fill="hold" grpId="0" nodeType="withEffect">
                                  <p:stCondLst>
                                    <p:cond delay="2250"/>
                                  </p:stCondLst>
                                  <p:childTnLst>
                                    <p:set>
                                      <p:cBhvr>
                                        <p:cTn id="99" dur="1" fill="hold">
                                          <p:stCondLst>
                                            <p:cond delay="0"/>
                                          </p:stCondLst>
                                        </p:cTn>
                                        <p:tgtEl>
                                          <p:spTgt spid="89"/>
                                        </p:tgtEl>
                                        <p:attrNameLst>
                                          <p:attrName>style.visibility</p:attrName>
                                        </p:attrNameLst>
                                      </p:cBhvr>
                                      <p:to>
                                        <p:strVal val="visible"/>
                                      </p:to>
                                    </p:set>
                                  </p:childTnLst>
                                </p:cTn>
                              </p:par>
                              <p:par>
                                <p:cTn id="100" presetID="1" presetClass="entr" presetSubtype="0" fill="hold" grpId="0" nodeType="withEffect">
                                  <p:stCondLst>
                                    <p:cond delay="2250"/>
                                  </p:stCondLst>
                                  <p:childTnLst>
                                    <p:set>
                                      <p:cBhvr>
                                        <p:cTn id="101" dur="1" fill="hold">
                                          <p:stCondLst>
                                            <p:cond delay="0"/>
                                          </p:stCondLst>
                                        </p:cTn>
                                        <p:tgtEl>
                                          <p:spTgt spid="88"/>
                                        </p:tgtEl>
                                        <p:attrNameLst>
                                          <p:attrName>style.visibility</p:attrName>
                                        </p:attrNameLst>
                                      </p:cBhvr>
                                      <p:to>
                                        <p:strVal val="visible"/>
                                      </p:to>
                                    </p:set>
                                  </p:childTnLst>
                                </p:cTn>
                              </p:par>
                              <p:par>
                                <p:cTn id="102" presetID="1" presetClass="entr" presetSubtype="0" fill="hold" grpId="0" nodeType="withEffect">
                                  <p:stCondLst>
                                    <p:cond delay="2250"/>
                                  </p:stCondLst>
                                  <p:childTnLst>
                                    <p:set>
                                      <p:cBhvr>
                                        <p:cTn id="103" dur="1" fill="hold">
                                          <p:stCondLst>
                                            <p:cond delay="0"/>
                                          </p:stCondLst>
                                        </p:cTn>
                                        <p:tgtEl>
                                          <p:spTgt spid="87"/>
                                        </p:tgtEl>
                                        <p:attrNameLst>
                                          <p:attrName>style.visibility</p:attrName>
                                        </p:attrNameLst>
                                      </p:cBhvr>
                                      <p:to>
                                        <p:strVal val="visible"/>
                                      </p:to>
                                    </p:set>
                                  </p:childTnLst>
                                </p:cTn>
                              </p:par>
                              <p:par>
                                <p:cTn id="104" presetID="1" presetClass="entr" presetSubtype="0" fill="hold" grpId="0" nodeType="withEffect">
                                  <p:stCondLst>
                                    <p:cond delay="2250"/>
                                  </p:stCondLst>
                                  <p:childTnLst>
                                    <p:set>
                                      <p:cBhvr>
                                        <p:cTn id="105" dur="1" fill="hold">
                                          <p:stCondLst>
                                            <p:cond delay="0"/>
                                          </p:stCondLst>
                                        </p:cTn>
                                        <p:tgtEl>
                                          <p:spTgt spid="86"/>
                                        </p:tgtEl>
                                        <p:attrNameLst>
                                          <p:attrName>style.visibility</p:attrName>
                                        </p:attrNameLst>
                                      </p:cBhvr>
                                      <p:to>
                                        <p:strVal val="visible"/>
                                      </p:to>
                                    </p:set>
                                  </p:childTnLst>
                                </p:cTn>
                              </p:par>
                              <p:par>
                                <p:cTn id="106" presetID="1" presetClass="entr" presetSubtype="0" fill="hold" grpId="0" nodeType="withEffect">
                                  <p:stCondLst>
                                    <p:cond delay="2250"/>
                                  </p:stCondLst>
                                  <p:childTnLst>
                                    <p:set>
                                      <p:cBhvr>
                                        <p:cTn id="107" dur="1" fill="hold">
                                          <p:stCondLst>
                                            <p:cond delay="0"/>
                                          </p:stCondLst>
                                        </p:cTn>
                                        <p:tgtEl>
                                          <p:spTgt spid="85"/>
                                        </p:tgtEl>
                                        <p:attrNameLst>
                                          <p:attrName>style.visibility</p:attrName>
                                        </p:attrNameLst>
                                      </p:cBhvr>
                                      <p:to>
                                        <p:strVal val="visible"/>
                                      </p:to>
                                    </p:set>
                                  </p:childTnLst>
                                </p:cTn>
                              </p:par>
                              <p:par>
                                <p:cTn id="108" presetID="1" presetClass="entr" presetSubtype="0" fill="hold" grpId="0" nodeType="withEffect">
                                  <p:stCondLst>
                                    <p:cond delay="2250"/>
                                  </p:stCondLst>
                                  <p:childTnLst>
                                    <p:set>
                                      <p:cBhvr>
                                        <p:cTn id="109"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1" grpId="0" animBg="1"/>
      <p:bldP spid="92" grpId="0" animBg="1"/>
      <p:bldP spid="92" grpId="1" animBg="1"/>
      <p:bldP spid="29" grpId="0" animBg="1"/>
      <p:bldP spid="29" grpId="1" animBg="1"/>
      <p:bldP spid="33" grpId="0" animBg="1"/>
      <p:bldP spid="33" grpId="1" animBg="1"/>
      <p:bldP spid="20" grpId="0"/>
      <p:bldP spid="20" grpId="1"/>
      <p:bldP spid="21" grpId="0"/>
      <p:bldP spid="21" grpId="1"/>
      <p:bldP spid="30" grpId="0"/>
      <p:bldP spid="30" grpId="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659467" y="1173671"/>
            <a:ext cx="8873066" cy="415588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6300" kern="0">
                <a:solidFill>
                  <a:prstClr val="white"/>
                </a:solidFill>
                <a:latin typeface="Century Gothic" panose="020B0502020202020204" pitchFamily="34" charset="0"/>
              </a:rPr>
              <a:t>Our Solution</a:t>
            </a:r>
            <a:endParaRPr kumimoji="0" lang="en-US" sz="16300" b="0" i="0" u="none" strike="noStrike" kern="0" cap="none" spc="0" normalizeH="0" baseline="0" noProof="0">
              <a:ln>
                <a:noFill/>
              </a:ln>
              <a:solidFill>
                <a:prstClr val="white"/>
              </a:solidFill>
              <a:effectLst/>
              <a:uLnTx/>
              <a:uFillTx/>
              <a:latin typeface="Century Gothic" panose="020B0502020202020204" pitchFamily="34" charset="0"/>
            </a:endParaRPr>
          </a:p>
        </p:txBody>
      </p:sp>
      <p:pic>
        <p:nvPicPr>
          <p:cNvPr id="2" name="Picture 1" descr="A white and blue background&#10;&#10;AI-generated content may be incorrect.">
            <a:extLst>
              <a:ext uri="{FF2B5EF4-FFF2-40B4-BE49-F238E27FC236}">
                <a16:creationId xmlns:a16="http://schemas.microsoft.com/office/drawing/2014/main" id="{778F4D56-8567-6604-3ADE-A9DC65BB3387}"/>
              </a:ext>
            </a:extLst>
          </p:cNvPr>
          <p:cNvPicPr/>
          <p:nvPr/>
        </p:nvPicPr>
        <p:blipFill>
          <a:blip r:embed="rId3">
            <a:extLst>
              <a:ext uri="{28A0092B-C50C-407E-A947-70E740481C1C}">
                <a14:useLocalDpi xmlns:a14="http://schemas.microsoft.com/office/drawing/2010/main" val="0"/>
              </a:ext>
            </a:extLst>
          </a:blip>
          <a:stretch>
            <a:fillRect/>
          </a:stretch>
        </p:blipFill>
        <p:spPr>
          <a:xfrm>
            <a:off x="0" y="7354277"/>
            <a:ext cx="12192000" cy="6858000"/>
          </a:xfrm>
          <a:prstGeom prst="rect">
            <a:avLst/>
          </a:prstGeom>
        </p:spPr>
      </p:pic>
      <p:sp>
        <p:nvSpPr>
          <p:cNvPr id="3" name="TextBox 2">
            <a:extLst>
              <a:ext uri="{FF2B5EF4-FFF2-40B4-BE49-F238E27FC236}">
                <a16:creationId xmlns:a16="http://schemas.microsoft.com/office/drawing/2014/main" id="{F378000D-A0EF-77BC-8138-95B35C2A6FC4}"/>
              </a:ext>
            </a:extLst>
          </p:cNvPr>
          <p:cNvSpPr txBox="1"/>
          <p:nvPr/>
        </p:nvSpPr>
        <p:spPr>
          <a:xfrm>
            <a:off x="299484" y="7761828"/>
            <a:ext cx="187070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44596C"/>
                </a:solidFill>
                <a:effectLst/>
                <a:uLnTx/>
                <a:uFillTx/>
                <a:latin typeface="Darker Grotesque" pitchFamily="2" charset="0"/>
              </a:rPr>
              <a:t>Easy</a:t>
            </a:r>
            <a:r>
              <a:rPr lang="en-US" kern="0" dirty="0">
                <a:solidFill>
                  <a:srgbClr val="44596C"/>
                </a:solidFill>
                <a:latin typeface="Darker Grotesque" pitchFamily="2" charset="0"/>
              </a:rPr>
              <a:t>-Up CAD Model</a:t>
            </a:r>
            <a:endParaRPr kumimoji="0" lang="en-US" b="0" i="0" u="none" strike="noStrike" kern="0" cap="none" spc="0" normalizeH="0" baseline="0" noProof="0" dirty="0">
              <a:ln>
                <a:noFill/>
              </a:ln>
              <a:solidFill>
                <a:srgbClr val="44596C"/>
              </a:solidFill>
              <a:effectLst/>
              <a:uLnTx/>
              <a:uFillTx/>
              <a:latin typeface="Darker Grotesque" pitchFamily="2" charset="0"/>
            </a:endParaRPr>
          </a:p>
        </p:txBody>
      </p:sp>
      <p:grpSp>
        <p:nvGrpSpPr>
          <p:cNvPr id="4" name="Group 3">
            <a:extLst>
              <a:ext uri="{FF2B5EF4-FFF2-40B4-BE49-F238E27FC236}">
                <a16:creationId xmlns:a16="http://schemas.microsoft.com/office/drawing/2014/main" id="{FBBC8886-3703-97F1-3052-CD91046D6D71}"/>
              </a:ext>
            </a:extLst>
          </p:cNvPr>
          <p:cNvGrpSpPr/>
          <p:nvPr/>
        </p:nvGrpSpPr>
        <p:grpSpPr>
          <a:xfrm>
            <a:off x="591725" y="7525288"/>
            <a:ext cx="11114734" cy="6288450"/>
            <a:chOff x="531678" y="116193"/>
            <a:chExt cx="11114734" cy="6288450"/>
          </a:xfrm>
        </p:grpSpPr>
        <p:grpSp>
          <p:nvGrpSpPr>
            <p:cNvPr id="5" name="!!model">
              <a:extLst>
                <a:ext uri="{FF2B5EF4-FFF2-40B4-BE49-F238E27FC236}">
                  <a16:creationId xmlns:a16="http://schemas.microsoft.com/office/drawing/2014/main" id="{4CF1AFF5-40F1-CCCE-6A1B-064B275BD165}"/>
                </a:ext>
              </a:extLst>
            </p:cNvPr>
            <p:cNvGrpSpPr/>
            <p:nvPr/>
          </p:nvGrpSpPr>
          <p:grpSpPr>
            <a:xfrm>
              <a:off x="11138826" y="116193"/>
              <a:ext cx="507586" cy="507586"/>
              <a:chOff x="11129404" y="1615036"/>
              <a:chExt cx="507586" cy="507586"/>
            </a:xfrm>
          </p:grpSpPr>
          <p:sp>
            <p:nvSpPr>
              <p:cNvPr id="16" name="Oval 15">
                <a:extLst>
                  <a:ext uri="{FF2B5EF4-FFF2-40B4-BE49-F238E27FC236}">
                    <a16:creationId xmlns:a16="http://schemas.microsoft.com/office/drawing/2014/main" id="{593238B1-8959-3C72-D9D2-2F4509855C64}"/>
                  </a:ext>
                </a:extLst>
              </p:cNvPr>
              <p:cNvSpPr/>
              <p:nvPr/>
            </p:nvSpPr>
            <p:spPr>
              <a:xfrm>
                <a:off x="11129404" y="1615036"/>
                <a:ext cx="507586" cy="507586"/>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7" name="Graphic 16">
                <a:extLst>
                  <a:ext uri="{FF2B5EF4-FFF2-40B4-BE49-F238E27FC236}">
                    <a16:creationId xmlns:a16="http://schemas.microsoft.com/office/drawing/2014/main" id="{B8CB3E7F-286C-3052-26FB-61F59BB33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57197" y="1742829"/>
                <a:ext cx="252000" cy="252000"/>
              </a:xfrm>
              <a:prstGeom prst="rect">
                <a:avLst/>
              </a:prstGeom>
            </p:spPr>
          </p:pic>
        </p:grpSp>
        <p:grpSp>
          <p:nvGrpSpPr>
            <p:cNvPr id="6" name="Group 5">
              <a:extLst>
                <a:ext uri="{FF2B5EF4-FFF2-40B4-BE49-F238E27FC236}">
                  <a16:creationId xmlns:a16="http://schemas.microsoft.com/office/drawing/2014/main" id="{143A7AF4-9BB8-5708-5A52-FA6FC214C005}"/>
                </a:ext>
              </a:extLst>
            </p:cNvPr>
            <p:cNvGrpSpPr/>
            <p:nvPr/>
          </p:nvGrpSpPr>
          <p:grpSpPr>
            <a:xfrm>
              <a:off x="531678" y="134443"/>
              <a:ext cx="9460137" cy="6071222"/>
              <a:chOff x="1714767" y="1241885"/>
              <a:chExt cx="7437896" cy="4773412"/>
            </a:xfrm>
          </p:grpSpPr>
          <p:sp>
            <p:nvSpPr>
              <p:cNvPr id="8" name="Oval 7">
                <a:extLst>
                  <a:ext uri="{FF2B5EF4-FFF2-40B4-BE49-F238E27FC236}">
                    <a16:creationId xmlns:a16="http://schemas.microsoft.com/office/drawing/2014/main" id="{EF3EB542-A86B-8D70-8B40-38A469603A2B}"/>
                  </a:ext>
                </a:extLst>
              </p:cNvPr>
              <p:cNvSpPr/>
              <p:nvPr/>
            </p:nvSpPr>
            <p:spPr>
              <a:xfrm>
                <a:off x="1830823" y="4141061"/>
                <a:ext cx="1862831" cy="1874236"/>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5DBD6D81-E2FD-ED2F-DEC3-AEA14C2A9C75}"/>
                  </a:ext>
                </a:extLst>
              </p:cNvPr>
              <p:cNvSpPr/>
              <p:nvPr/>
            </p:nvSpPr>
            <p:spPr>
              <a:xfrm>
                <a:off x="4848960" y="1241885"/>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970D3052-C188-5F9D-1961-C47CB712EE03}"/>
                  </a:ext>
                </a:extLst>
              </p:cNvPr>
              <p:cNvSpPr/>
              <p:nvPr/>
            </p:nvSpPr>
            <p:spPr>
              <a:xfrm>
                <a:off x="7627843" y="1273624"/>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FB1B3B8E-34F5-4BD2-272D-F70823474F03}"/>
                  </a:ext>
                </a:extLst>
              </p:cNvPr>
              <p:cNvSpPr/>
              <p:nvPr/>
            </p:nvSpPr>
            <p:spPr>
              <a:xfrm>
                <a:off x="5129117" y="1522041"/>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6000" i="1">
                  <a:ln w="0"/>
                  <a:effectLst>
                    <a:outerShdw blurRad="38100" dist="19050" dir="2700000" algn="tl" rotWithShape="0">
                      <a:schemeClr val="dk1">
                        <a:alpha val="40000"/>
                      </a:schemeClr>
                    </a:outerShdw>
                  </a:effectLst>
                  <a:latin typeface="Playfair Display" pitchFamily="2" charset="0"/>
                </a:endParaRPr>
              </a:p>
            </p:txBody>
          </p:sp>
          <p:sp>
            <p:nvSpPr>
              <p:cNvPr id="12" name="Oval 11">
                <a:extLst>
                  <a:ext uri="{FF2B5EF4-FFF2-40B4-BE49-F238E27FC236}">
                    <a16:creationId xmlns:a16="http://schemas.microsoft.com/office/drawing/2014/main" id="{480BECA7-D4D5-331E-BB06-5163BE28949D}"/>
                  </a:ext>
                </a:extLst>
              </p:cNvPr>
              <p:cNvSpPr/>
              <p:nvPr/>
            </p:nvSpPr>
            <p:spPr>
              <a:xfrm>
                <a:off x="7908000" y="1519827"/>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2400">
                  <a:ln w="0"/>
                  <a:effectLst>
                    <a:outerShdw blurRad="38100" dist="19050" dir="2700000" algn="tl" rotWithShape="0">
                      <a:schemeClr val="dk1">
                        <a:alpha val="40000"/>
                      </a:schemeClr>
                    </a:outerShdw>
                  </a:effectLst>
                  <a:latin typeface="ADLaM Display" panose="02010000000000000000" pitchFamily="2" charset="0"/>
                  <a:ea typeface="ADLaM Display" panose="02010000000000000000" pitchFamily="2" charset="0"/>
                  <a:cs typeface="ADLaM Display" panose="02010000000000000000" pitchFamily="2" charset="0"/>
                </a:endParaRPr>
              </a:p>
            </p:txBody>
          </p:sp>
          <p:sp>
            <p:nvSpPr>
              <p:cNvPr id="13" name="Oval 12">
                <a:extLst>
                  <a:ext uri="{FF2B5EF4-FFF2-40B4-BE49-F238E27FC236}">
                    <a16:creationId xmlns:a16="http://schemas.microsoft.com/office/drawing/2014/main" id="{244601E7-7D21-FC12-93AB-D966E6122060}"/>
                  </a:ext>
                </a:extLst>
              </p:cNvPr>
              <p:cNvSpPr/>
              <p:nvPr/>
            </p:nvSpPr>
            <p:spPr>
              <a:xfrm>
                <a:off x="1714767" y="1797248"/>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06E32F6E-1A49-32B5-70E9-A984C91D3A8A}"/>
                  </a:ext>
                </a:extLst>
              </p:cNvPr>
              <p:cNvSpPr/>
              <p:nvPr/>
            </p:nvSpPr>
            <p:spPr>
              <a:xfrm>
                <a:off x="2477177" y="4770635"/>
                <a:ext cx="964504" cy="964504"/>
              </a:xfrm>
              <a:prstGeom prst="ellipse">
                <a:avLst/>
              </a:prstGeom>
              <a:solidFill>
                <a:srgbClr val="44596C">
                  <a:alpha val="70000"/>
                </a:srgb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ln w="0"/>
                    <a:effectLst>
                      <a:outerShdw blurRad="38100" dist="19050" dir="2700000" algn="tl" rotWithShape="0">
                        <a:schemeClr val="dk1">
                          <a:alpha val="40000"/>
                        </a:schemeClr>
                      </a:outerShdw>
                    </a:effectLst>
                    <a:latin typeface="Playfair Display" pitchFamily="2" charset="0"/>
                  </a:rPr>
                  <a:t>2</a:t>
                </a:r>
                <a:endParaRPr lang="en-GB" sz="6000" i="1">
                  <a:ln w="0"/>
                  <a:effectLst>
                    <a:outerShdw blurRad="38100" dist="19050" dir="2700000" algn="tl" rotWithShape="0">
                      <a:schemeClr val="dk1">
                        <a:alpha val="40000"/>
                      </a:schemeClr>
                    </a:outerShdw>
                  </a:effectLst>
                  <a:latin typeface="Playfair Display" pitchFamily="2" charset="0"/>
                </a:endParaRPr>
              </a:p>
            </p:txBody>
          </p:sp>
          <mc:AlternateContent xmlns:mc="http://schemas.openxmlformats.org/markup-compatibility/2006" xmlns:a14="http://schemas.microsoft.com/office/drawing/2010/main">
            <mc:Choice Requires="a14">
              <p:sp>
                <p:nvSpPr>
                  <p:cNvPr id="15" name="Oval 14">
                    <a:extLst>
                      <a:ext uri="{FF2B5EF4-FFF2-40B4-BE49-F238E27FC236}">
                        <a16:creationId xmlns:a16="http://schemas.microsoft.com/office/drawing/2014/main" id="{79BE557C-9BB6-585E-18EB-BC0A8A94868D}"/>
                      </a:ext>
                    </a:extLst>
                  </p:cNvPr>
                  <p:cNvSpPr/>
                  <p:nvPr/>
                </p:nvSpPr>
                <p:spPr>
                  <a:xfrm>
                    <a:off x="1949699" y="2003459"/>
                    <a:ext cx="1120858" cy="1120302"/>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14:m>
                      <m:oMath xmlns:m="http://schemas.openxmlformats.org/officeDocument/2006/math">
                        <m:r>
                          <a:rPr lang="en-US" sz="2400" i="0" smtClean="0">
                            <a:ln w="0"/>
                            <a:solidFill>
                              <a:srgbClr val="44596C"/>
                            </a:solidFill>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cs typeface="ADLaM Display" panose="020F0502020204030204" pitchFamily="2" charset="0"/>
                          </a:rPr>
                          <m:t>≈</m:t>
                        </m:r>
                      </m:oMath>
                    </a14:m>
                    <a:r>
                      <a:rPr lang="en-US" sz="2400">
                        <a:ln w="0"/>
                        <a:solidFill>
                          <a:srgbClr val="44596C"/>
                        </a:solidFill>
                        <a:effectLst>
                          <a:outerShdw blurRad="38100" dist="19050" dir="2700000" algn="tl" rotWithShape="0">
                            <a:schemeClr val="dk1">
                              <a:alpha val="40000"/>
                            </a:schemeClr>
                          </a:outerShdw>
                        </a:effectLst>
                        <a:latin typeface="ADLaM Display" panose="020F0502020204030204" pitchFamily="2" charset="0"/>
                        <a:ea typeface="ADLaM Display" panose="020F0502020204030204" pitchFamily="2" charset="0"/>
                        <a:cs typeface="ADLaM Display" panose="020F0502020204030204" pitchFamily="2" charset="0"/>
                      </a:rPr>
                      <a:t>3.5 kg</a:t>
                    </a:r>
                    <a:endParaRPr lang="en-GB" sz="2400">
                      <a:ln w="0"/>
                      <a:solidFill>
                        <a:srgbClr val="44596C"/>
                      </a:solidFill>
                      <a:effectLst>
                        <a:outerShdw blurRad="38100" dist="19050" dir="2700000" algn="tl" rotWithShape="0">
                          <a:schemeClr val="dk1">
                            <a:alpha val="40000"/>
                          </a:schemeClr>
                        </a:outerShdw>
                      </a:effectLst>
                      <a:latin typeface="ADLaM Display" panose="020F0502020204030204" pitchFamily="2" charset="0"/>
                      <a:ea typeface="ADLaM Display" panose="020F0502020204030204" pitchFamily="2" charset="0"/>
                      <a:cs typeface="ADLaM Display" panose="020F0502020204030204" pitchFamily="2" charset="0"/>
                    </a:endParaRPr>
                  </a:p>
                </p:txBody>
              </p:sp>
            </mc:Choice>
            <mc:Fallback xmlns="">
              <p:sp>
                <p:nvSpPr>
                  <p:cNvPr id="14" name="Oval 13">
                    <a:extLst>
                      <a:ext uri="{FF2B5EF4-FFF2-40B4-BE49-F238E27FC236}">
                        <a16:creationId xmlns:a16="http://schemas.microsoft.com/office/drawing/2014/main" id="{10EEAB1A-C72B-01F2-DC6C-96FFFA8D6CA4}"/>
                      </a:ext>
                    </a:extLst>
                  </p:cNvPr>
                  <p:cNvSpPr>
                    <a:spLocks noRot="1" noChangeAspect="1" noMove="1" noResize="1" noEditPoints="1" noAdjustHandles="1" noChangeArrowheads="1" noChangeShapeType="1" noTextEdit="1"/>
                  </p:cNvSpPr>
                  <p:nvPr/>
                </p:nvSpPr>
                <p:spPr>
                  <a:xfrm>
                    <a:off x="1949699" y="2003459"/>
                    <a:ext cx="1120858" cy="1120302"/>
                  </a:xfrm>
                  <a:prstGeom prst="ellipse">
                    <a:avLst/>
                  </a:prstGeom>
                  <a:blipFill>
                    <a:blip r:embed="rId6"/>
                    <a:stretch>
                      <a:fillRect/>
                    </a:stretch>
                  </a:blipFill>
                  <a:ln w="38100">
                    <a:solidFill>
                      <a:schemeClr val="bg1"/>
                    </a:solidFill>
                  </a:ln>
                  <a:effectLst>
                    <a:innerShdw blurRad="381000">
                      <a:schemeClr val="bg1"/>
                    </a:innerShdw>
                  </a:effectLst>
                </p:spPr>
                <p:txBody>
                  <a:bodyPr/>
                  <a:lstStyle/>
                  <a:p>
                    <a:r>
                      <a:rPr lang="en-US">
                        <a:noFill/>
                      </a:rPr>
                      <a:t> </a:t>
                    </a:r>
                  </a:p>
                </p:txBody>
              </p:sp>
            </mc:Fallback>
          </mc:AlternateContent>
        </p:grpSp>
        <p:sp>
          <p:nvSpPr>
            <p:cNvPr id="7" name="TextBox 6">
              <a:extLst>
                <a:ext uri="{FF2B5EF4-FFF2-40B4-BE49-F238E27FC236}">
                  <a16:creationId xmlns:a16="http://schemas.microsoft.com/office/drawing/2014/main" id="{7F2F56AB-7638-5754-85ED-7667E1CC1E65}"/>
                </a:ext>
              </a:extLst>
            </p:cNvPr>
            <p:cNvSpPr txBox="1"/>
            <p:nvPr/>
          </p:nvSpPr>
          <p:spPr>
            <a:xfrm>
              <a:off x="1349988" y="6064870"/>
              <a:ext cx="972947"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Piston</a:t>
              </a:r>
            </a:p>
          </p:txBody>
        </p:sp>
      </p:grpSp>
      <p:sp>
        <p:nvSpPr>
          <p:cNvPr id="18" name="Oval 17">
            <a:extLst>
              <a:ext uri="{FF2B5EF4-FFF2-40B4-BE49-F238E27FC236}">
                <a16:creationId xmlns:a16="http://schemas.microsoft.com/office/drawing/2014/main" id="{E7B7C88E-930D-01E2-D5C2-6FEDD96228B8}"/>
              </a:ext>
            </a:extLst>
          </p:cNvPr>
          <p:cNvSpPr/>
          <p:nvPr/>
        </p:nvSpPr>
        <p:spPr>
          <a:xfrm>
            <a:off x="9869600" y="11449886"/>
            <a:ext cx="1836859" cy="1860475"/>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6000" i="1" dirty="0">
              <a:ln w="0"/>
              <a:effectLst>
                <a:outerShdw blurRad="38100" dist="19050" dir="2700000" algn="tl" rotWithShape="0">
                  <a:schemeClr val="dk1">
                    <a:alpha val="40000"/>
                  </a:schemeClr>
                </a:outerShdw>
              </a:effectLst>
              <a:latin typeface="Playfair Display" pitchFamily="2" charset="0"/>
            </a:endParaRPr>
          </a:p>
        </p:txBody>
      </p:sp>
      <p:sp>
        <p:nvSpPr>
          <p:cNvPr id="19" name="Oval 18">
            <a:extLst>
              <a:ext uri="{FF2B5EF4-FFF2-40B4-BE49-F238E27FC236}">
                <a16:creationId xmlns:a16="http://schemas.microsoft.com/office/drawing/2014/main" id="{FA49F1CD-A6CF-2885-33E0-7AEE579B1400}"/>
              </a:ext>
            </a:extLst>
          </p:cNvPr>
          <p:cNvSpPr/>
          <p:nvPr/>
        </p:nvSpPr>
        <p:spPr>
          <a:xfrm>
            <a:off x="9513273" y="11069027"/>
            <a:ext cx="2478702" cy="2597661"/>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mc:Choice xmlns:am3d="http://schemas.microsoft.com/office/drawing/2017/model3d" Requires="am3d">
          <p:graphicFrame>
            <p:nvGraphicFramePr>
              <p:cNvPr id="20" name="3D Model 19">
                <a:extLst>
                  <a:ext uri="{FF2B5EF4-FFF2-40B4-BE49-F238E27FC236}">
                    <a16:creationId xmlns:a16="http://schemas.microsoft.com/office/drawing/2014/main" id="{0356BE02-190F-1A8B-CEF6-A6E655045457}"/>
                  </a:ext>
                </a:extLst>
              </p:cNvPr>
              <p:cNvGraphicFramePr>
                <a:graphicFrameLocks noChangeAspect="1"/>
              </p:cNvGraphicFramePr>
              <p:nvPr>
                <p:extLst>
                  <p:ext uri="{D42A27DB-BD31-4B8C-83A1-F6EECF244321}">
                    <p14:modId xmlns:p14="http://schemas.microsoft.com/office/powerpoint/2010/main" val="3647918884"/>
                  </p:ext>
                </p:extLst>
              </p:nvPr>
            </p:nvGraphicFramePr>
            <p:xfrm>
              <a:off x="3463144" y="8610625"/>
              <a:ext cx="5512889" cy="4699736"/>
            </p:xfrm>
            <a:graphic>
              <a:graphicData uri="http://schemas.microsoft.com/office/drawing/2017/model3d">
                <am3d:model3d r:embed="rId7">
                  <am3d:spPr>
                    <a:xfrm>
                      <a:off x="0" y="0"/>
                      <a:ext cx="5512889" cy="4699736"/>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9677123" ay="2545217" az="10027675"/>
                    <am3d:postTrans dx="0" dy="0" dz="0"/>
                  </am3d:trans>
                  <am3d:raster rName="Office3DRenderer" rVer="16.0.8326">
                    <am3d:blip r:embed="rId8"/>
                  </am3d:raster>
                  <am3d:objViewport viewportSz="657039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0" name="3D Model 19">
                <a:extLst>
                  <a:ext uri="{FF2B5EF4-FFF2-40B4-BE49-F238E27FC236}">
                    <a16:creationId xmlns:a16="http://schemas.microsoft.com/office/drawing/2014/main" id="{0356BE02-190F-1A8B-CEF6-A6E655045457}"/>
                  </a:ext>
                </a:extLst>
              </p:cNvPr>
              <p:cNvPicPr>
                <a:picLocks noGrp="1" noRot="1" noChangeAspect="1" noMove="1" noResize="1" noEditPoints="1" noAdjustHandles="1" noChangeArrowheads="1" noChangeShapeType="1" noCrop="1"/>
              </p:cNvPicPr>
              <p:nvPr/>
            </p:nvPicPr>
            <p:blipFill>
              <a:blip r:embed="rId8"/>
              <a:stretch>
                <a:fillRect/>
              </a:stretch>
            </p:blipFill>
            <p:spPr>
              <a:xfrm>
                <a:off x="3463144" y="8610625"/>
                <a:ext cx="5512889" cy="4699736"/>
              </a:xfrm>
              <a:prstGeom prst="rect">
                <a:avLst/>
              </a:prstGeom>
            </p:spPr>
          </p:pic>
        </mc:Fallback>
      </mc:AlternateContent>
      <p:pic>
        <p:nvPicPr>
          <p:cNvPr id="21" name="Picture 20">
            <a:extLst>
              <a:ext uri="{FF2B5EF4-FFF2-40B4-BE49-F238E27FC236}">
                <a16:creationId xmlns:a16="http://schemas.microsoft.com/office/drawing/2014/main" id="{95295113-07F9-8D28-05E7-57EC182E7002}"/>
              </a:ext>
            </a:extLst>
          </p:cNvPr>
          <p:cNvPicPr>
            <a:picLocks noChangeAspect="1"/>
          </p:cNvPicPr>
          <p:nvPr/>
        </p:nvPicPr>
        <p:blipFill>
          <a:blip r:embed="rId9"/>
          <a:stretch>
            <a:fillRect/>
          </a:stretch>
        </p:blipFill>
        <p:spPr>
          <a:xfrm>
            <a:off x="952500" y="11449886"/>
            <a:ext cx="1988969" cy="1970979"/>
          </a:xfrm>
          <a:prstGeom prst="flowChartConnector">
            <a:avLst/>
          </a:prstGeom>
        </p:spPr>
      </p:pic>
      <p:sp>
        <p:nvSpPr>
          <p:cNvPr id="22" name="TextBox 21">
            <a:extLst>
              <a:ext uri="{FF2B5EF4-FFF2-40B4-BE49-F238E27FC236}">
                <a16:creationId xmlns:a16="http://schemas.microsoft.com/office/drawing/2014/main" id="{C9BA5C92-1D23-ABBA-31A3-AEAFA4249319}"/>
              </a:ext>
            </a:extLst>
          </p:cNvPr>
          <p:cNvSpPr txBox="1"/>
          <p:nvPr/>
        </p:nvSpPr>
        <p:spPr>
          <a:xfrm>
            <a:off x="739335" y="10029453"/>
            <a:ext cx="1939393"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Lightweight</a:t>
            </a:r>
            <a:endParaRPr lang="en-GB" sz="2400" dirty="0">
              <a:solidFill>
                <a:srgbClr val="44596C"/>
              </a:solidFill>
            </a:endParaRPr>
          </a:p>
        </p:txBody>
      </p:sp>
      <p:sp>
        <p:nvSpPr>
          <p:cNvPr id="23" name="TextBox 22">
            <a:extLst>
              <a:ext uri="{FF2B5EF4-FFF2-40B4-BE49-F238E27FC236}">
                <a16:creationId xmlns:a16="http://schemas.microsoft.com/office/drawing/2014/main" id="{8426B1A2-6722-A69F-3510-3EC838C9778D}"/>
              </a:ext>
            </a:extLst>
          </p:cNvPr>
          <p:cNvSpPr txBox="1"/>
          <p:nvPr/>
        </p:nvSpPr>
        <p:spPr>
          <a:xfrm>
            <a:off x="4943679" y="9321318"/>
            <a:ext cx="1327721"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dirty="0">
                <a:solidFill>
                  <a:srgbClr val="44596C"/>
                </a:solidFill>
              </a:rPr>
              <a:t>Low </a:t>
            </a:r>
            <a:r>
              <a:rPr lang="en-GB" sz="2400">
                <a:solidFill>
                  <a:srgbClr val="44596C"/>
                </a:solidFill>
              </a:rPr>
              <a:t>Cost</a:t>
            </a:r>
            <a:endParaRPr lang="en-GB" sz="2400" dirty="0">
              <a:solidFill>
                <a:srgbClr val="44596C"/>
              </a:solidFill>
            </a:endParaRPr>
          </a:p>
        </p:txBody>
      </p:sp>
      <p:sp>
        <p:nvSpPr>
          <p:cNvPr id="24" name="TextBox 23">
            <a:extLst>
              <a:ext uri="{FF2B5EF4-FFF2-40B4-BE49-F238E27FC236}">
                <a16:creationId xmlns:a16="http://schemas.microsoft.com/office/drawing/2014/main" id="{84C891AE-A9E2-783A-7D46-3AC72D740B69}"/>
              </a:ext>
            </a:extLst>
          </p:cNvPr>
          <p:cNvSpPr txBox="1"/>
          <p:nvPr/>
        </p:nvSpPr>
        <p:spPr>
          <a:xfrm>
            <a:off x="9893095" y="13554287"/>
            <a:ext cx="1757132" cy="339773"/>
          </a:xfrm>
          <a:prstGeom prst="rect">
            <a:avLst/>
          </a:prstGeom>
          <a:solidFill>
            <a:srgbClr val="BDCDC8"/>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dirty="0">
                <a:solidFill>
                  <a:srgbClr val="44596C"/>
                </a:solidFill>
              </a:rPr>
              <a:t>Living </a:t>
            </a:r>
            <a:r>
              <a:rPr lang="en-GB" sz="2400">
                <a:solidFill>
                  <a:srgbClr val="44596C"/>
                </a:solidFill>
              </a:rPr>
              <a:t>Hinge</a:t>
            </a:r>
            <a:endParaRPr lang="en-GB" sz="2400" dirty="0">
              <a:solidFill>
                <a:srgbClr val="44596C"/>
              </a:solidFill>
            </a:endParaRPr>
          </a:p>
        </p:txBody>
      </p:sp>
      <p:sp>
        <p:nvSpPr>
          <p:cNvPr id="25" name="TextBox 24">
            <a:extLst>
              <a:ext uri="{FF2B5EF4-FFF2-40B4-BE49-F238E27FC236}">
                <a16:creationId xmlns:a16="http://schemas.microsoft.com/office/drawing/2014/main" id="{602A86B4-0557-FA3E-8722-71E4F3CF174F}"/>
              </a:ext>
            </a:extLst>
          </p:cNvPr>
          <p:cNvSpPr txBox="1"/>
          <p:nvPr/>
        </p:nvSpPr>
        <p:spPr>
          <a:xfrm>
            <a:off x="7879385" y="9404855"/>
            <a:ext cx="2704631"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Removable Cushion</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D505E462-1159-49D1-BCFE-4F9CD7AD96B9}"/>
                  </a:ext>
                </a:extLst>
              </p:cNvPr>
              <p:cNvSpPr txBox="1"/>
              <p:nvPr/>
            </p:nvSpPr>
            <p:spPr>
              <a:xfrm>
                <a:off x="5040034" y="8284443"/>
                <a:ext cx="1121083" cy="400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m:rPr>
                          <m:sty m:val="p"/>
                        </m:rPr>
                        <a:rPr lang="en-AU" sz="2000" b="0" i="0" smtClean="0">
                          <a:ln w="0"/>
                          <a:effectLst>
                            <a:outerShdw blurRad="38100" dist="19050" dir="2700000" algn="tl" rotWithShape="0">
                              <a:schemeClr val="dk1">
                                <a:alpha val="40000"/>
                              </a:schemeClr>
                            </a:outerShdw>
                          </a:effectLst>
                          <a:latin typeface="Cambria Math" panose="02040503050406030204" pitchFamily="18" charset="0"/>
                          <a:ea typeface="ADLaM Display" panose="02010000000000000000" pitchFamily="2" charset="0"/>
                          <a:cs typeface="ADLaM Display" panose="02010000000000000000" pitchFamily="2" charset="0"/>
                        </a:rPr>
                        <m:t>AUD</m:t>
                      </m:r>
                      <m:r>
                        <a:rPr lang="en-AU" sz="2000" b="0" i="0" smtClean="0">
                          <a:ln w="0"/>
                          <a:effectLst>
                            <a:outerShdw blurRad="38100" dist="19050" dir="2700000" algn="tl" rotWithShape="0">
                              <a:schemeClr val="dk1">
                                <a:alpha val="40000"/>
                              </a:schemeClr>
                            </a:outerShdw>
                          </a:effectLst>
                          <a:latin typeface="Cambria Math" panose="02040503050406030204" pitchFamily="18" charset="0"/>
                          <a:ea typeface="ADLaM Display" panose="02010000000000000000" pitchFamily="2" charset="0"/>
                          <a:cs typeface="ADLaM Display" panose="02010000000000000000" pitchFamily="2" charset="0"/>
                        </a:rPr>
                        <m:t> $189</m:t>
                      </m:r>
                    </m:oMath>
                  </m:oMathPara>
                </a14:m>
                <a:endParaRPr lang="en-GB" sz="2000" dirty="0">
                  <a:ln w="0"/>
                  <a:effectLst>
                    <a:outerShdw blurRad="38100" dist="19050" dir="2700000" algn="tl" rotWithShape="0">
                      <a:schemeClr val="dk1">
                        <a:alpha val="40000"/>
                      </a:schemeClr>
                    </a:outerShdw>
                  </a:effectLst>
                  <a:latin typeface="ADLaM Display" panose="02010000000000000000" pitchFamily="2" charset="0"/>
                  <a:ea typeface="ADLaM Display" panose="02010000000000000000" pitchFamily="2" charset="0"/>
                  <a:cs typeface="ADLaM Display" panose="02010000000000000000" pitchFamily="2" charset="0"/>
                </a:endParaRPr>
              </a:p>
            </p:txBody>
          </p:sp>
        </mc:Choice>
        <mc:Fallback xmlns="">
          <p:sp>
            <p:nvSpPr>
              <p:cNvPr id="26" name="TextBox 25">
                <a:extLst>
                  <a:ext uri="{FF2B5EF4-FFF2-40B4-BE49-F238E27FC236}">
                    <a16:creationId xmlns:a16="http://schemas.microsoft.com/office/drawing/2014/main" id="{D505E462-1159-49D1-BCFE-4F9CD7AD96B9}"/>
                  </a:ext>
                </a:extLst>
              </p:cNvPr>
              <p:cNvSpPr txBox="1">
                <a:spLocks noRot="1" noChangeAspect="1" noMove="1" noResize="1" noEditPoints="1" noAdjustHandles="1" noChangeArrowheads="1" noChangeShapeType="1" noTextEdit="1"/>
              </p:cNvSpPr>
              <p:nvPr/>
            </p:nvSpPr>
            <p:spPr>
              <a:xfrm>
                <a:off x="5040034" y="8284443"/>
                <a:ext cx="1121083" cy="400110"/>
              </a:xfrm>
              <a:prstGeom prst="rect">
                <a:avLst/>
              </a:prstGeom>
              <a:blipFill>
                <a:blip r:embed="rId10"/>
                <a:stretch>
                  <a:fillRect l="-10870" r="-7609" b="-9091"/>
                </a:stretch>
              </a:blipFill>
            </p:spPr>
            <p:txBody>
              <a:bodyPr/>
              <a:lstStyle/>
              <a:p>
                <a:r>
                  <a:rPr lang="en-AU">
                    <a:noFill/>
                  </a:rPr>
                  <a:t> </a:t>
                </a:r>
              </a:p>
            </p:txBody>
          </p:sp>
        </mc:Fallback>
      </mc:AlternateContent>
      <p:pic>
        <p:nvPicPr>
          <p:cNvPr id="27" name="Picture 26" descr="A white rectangular object with holes&#10;&#10;AI-generated content may be incorrect.">
            <a:extLst>
              <a:ext uri="{FF2B5EF4-FFF2-40B4-BE49-F238E27FC236}">
                <a16:creationId xmlns:a16="http://schemas.microsoft.com/office/drawing/2014/main" id="{3853F274-5CA5-B053-8649-12E393BEF0DE}"/>
              </a:ext>
            </a:extLst>
          </p:cNvPr>
          <p:cNvPicPr>
            <a:picLocks noChangeAspect="1"/>
          </p:cNvPicPr>
          <p:nvPr/>
        </p:nvPicPr>
        <p:blipFill>
          <a:blip r:embed="rId11"/>
          <a:srcRect l="20686" t="10008" r="34935" b="13071"/>
          <a:stretch>
            <a:fillRect/>
          </a:stretch>
        </p:blipFill>
        <p:spPr>
          <a:xfrm>
            <a:off x="9754219" y="11372336"/>
            <a:ext cx="2034884" cy="2048529"/>
          </a:xfrm>
          <a:prstGeom prst="flowChartConnector">
            <a:avLst/>
          </a:prstGeom>
        </p:spPr>
      </p:pic>
      <p:pic>
        <p:nvPicPr>
          <p:cNvPr id="28" name="Picture 2" descr="Fechos Têxtil Gancho e Argola Marca VELCRO">
            <a:extLst>
              <a:ext uri="{FF2B5EF4-FFF2-40B4-BE49-F238E27FC236}">
                <a16:creationId xmlns:a16="http://schemas.microsoft.com/office/drawing/2014/main" id="{33E3DDC3-6AF4-70BA-91DA-BC7CD84190E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70809" y="7702647"/>
            <a:ext cx="1631729" cy="1631729"/>
          </a:xfrm>
          <a:prstGeom prst="ellipse">
            <a:avLst/>
          </a:prstGeom>
          <a:noFill/>
          <a:extLst>
            <a:ext uri="{909E8E84-426E-40DD-AFC4-6F175D3DCCD1}">
              <a14:hiddenFill xmlns:a14="http://schemas.microsoft.com/office/drawing/2010/main">
                <a:solidFill>
                  <a:srgbClr val="FFFFFF"/>
                </a:solidFill>
              </a14:hiddenFill>
            </a:ext>
          </a:extLst>
        </p:spPr>
      </p:pic>
      <p:pic>
        <p:nvPicPr>
          <p:cNvPr id="29" name="Picture 28" descr="A logo with text and a square with a arrow up&#10;&#10;AI-generated content may be incorrect.">
            <a:extLst>
              <a:ext uri="{FF2B5EF4-FFF2-40B4-BE49-F238E27FC236}">
                <a16:creationId xmlns:a16="http://schemas.microsoft.com/office/drawing/2014/main" id="{FFD133ED-C79E-FFF0-C907-B629E95E56B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82299" y="7528698"/>
            <a:ext cx="1135911" cy="1135911"/>
          </a:xfrm>
          <a:prstGeom prst="roundRect">
            <a:avLst/>
          </a:prstGeom>
        </p:spPr>
      </p:pic>
    </p:spTree>
    <p:extLst>
      <p:ext uri="{BB962C8B-B14F-4D97-AF65-F5344CB8AC3E}">
        <p14:creationId xmlns:p14="http://schemas.microsoft.com/office/powerpoint/2010/main" val="2415979649"/>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659467" y="1173671"/>
            <a:ext cx="8873066" cy="415588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6300" kern="0">
                <a:solidFill>
                  <a:prstClr val="white"/>
                </a:solidFill>
                <a:latin typeface="Century Gothic" panose="020B0502020202020204" pitchFamily="34" charset="0"/>
              </a:rPr>
              <a:t>Our Solution</a:t>
            </a:r>
            <a:endParaRPr kumimoji="0" lang="en-US" sz="16300" b="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93" name="Group 92">
            <a:extLst>
              <a:ext uri="{FF2B5EF4-FFF2-40B4-BE49-F238E27FC236}">
                <a16:creationId xmlns:a16="http://schemas.microsoft.com/office/drawing/2014/main" id="{C4A5977F-9BAA-B282-4822-187CAC53C6B9}"/>
              </a:ext>
            </a:extLst>
          </p:cNvPr>
          <p:cNvGrpSpPr/>
          <p:nvPr/>
        </p:nvGrpSpPr>
        <p:grpSpPr>
          <a:xfrm>
            <a:off x="234547" y="7315535"/>
            <a:ext cx="11709360" cy="5154438"/>
            <a:chOff x="234547" y="369986"/>
            <a:chExt cx="11709360" cy="5154438"/>
          </a:xfrm>
        </p:grpSpPr>
        <p:cxnSp>
          <p:nvCxnSpPr>
            <p:cNvPr id="94" name="Straight Connector 93">
              <a:extLst>
                <a:ext uri="{FF2B5EF4-FFF2-40B4-BE49-F238E27FC236}">
                  <a16:creationId xmlns:a16="http://schemas.microsoft.com/office/drawing/2014/main" id="{B0A8130F-30E0-17D8-FE1F-01F516C04FA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95" name="!!model">
              <a:extLst>
                <a:ext uri="{FF2B5EF4-FFF2-40B4-BE49-F238E27FC236}">
                  <a16:creationId xmlns:a16="http://schemas.microsoft.com/office/drawing/2014/main" id="{E1FB6934-7205-5B55-B916-4F203DA24152}"/>
                </a:ext>
              </a:extLst>
            </p:cNvPr>
            <p:cNvGrpSpPr/>
            <p:nvPr/>
          </p:nvGrpSpPr>
          <p:grpSpPr>
            <a:xfrm>
              <a:off x="5842207" y="369986"/>
              <a:ext cx="507586" cy="507586"/>
              <a:chOff x="5832785" y="1868829"/>
              <a:chExt cx="507586" cy="507586"/>
            </a:xfrm>
          </p:grpSpPr>
          <p:sp useBgFill="1">
            <p:nvSpPr>
              <p:cNvPr id="118" name="Oval 117">
                <a:extLst>
                  <a:ext uri="{FF2B5EF4-FFF2-40B4-BE49-F238E27FC236}">
                    <a16:creationId xmlns:a16="http://schemas.microsoft.com/office/drawing/2014/main" id="{491918F0-89A3-2AB5-2C9F-C01B7F4E77A7}"/>
                  </a:ext>
                </a:extLst>
              </p:cNvPr>
              <p:cNvSpPr/>
              <p:nvPr/>
            </p:nvSpPr>
            <p:spPr>
              <a:xfrm>
                <a:off x="5832785" y="1868829"/>
                <a:ext cx="507586" cy="507586"/>
              </a:xfrm>
              <a:prstGeom prst="ellipse">
                <a:avLst/>
              </a:prstGeom>
              <a:blipFill dpi="0" rotWithShape="0">
                <a:blip r:embed="rId3">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19" name="Graphic 118">
                <a:extLst>
                  <a:ext uri="{FF2B5EF4-FFF2-40B4-BE49-F238E27FC236}">
                    <a16:creationId xmlns:a16="http://schemas.microsoft.com/office/drawing/2014/main" id="{4F3FF376-3516-DEBF-0F72-CB3D255F2F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0578" y="1996622"/>
                <a:ext cx="252000" cy="252000"/>
              </a:xfrm>
              <a:prstGeom prst="rect">
                <a:avLst/>
              </a:prstGeom>
            </p:spPr>
          </p:pic>
        </p:grpSp>
        <p:grpSp>
          <p:nvGrpSpPr>
            <p:cNvPr id="96" name="Group 95">
              <a:extLst>
                <a:ext uri="{FF2B5EF4-FFF2-40B4-BE49-F238E27FC236}">
                  <a16:creationId xmlns:a16="http://schemas.microsoft.com/office/drawing/2014/main" id="{F3380AEE-C9A9-138B-F948-0A8C87CDEF8C}"/>
                </a:ext>
              </a:extLst>
            </p:cNvPr>
            <p:cNvGrpSpPr/>
            <p:nvPr/>
          </p:nvGrpSpPr>
          <p:grpSpPr>
            <a:xfrm>
              <a:off x="1244818" y="2519320"/>
              <a:ext cx="9702364" cy="1969226"/>
              <a:chOff x="2275463" y="3116962"/>
              <a:chExt cx="7628344" cy="1548276"/>
            </a:xfrm>
          </p:grpSpPr>
          <p:sp>
            <p:nvSpPr>
              <p:cNvPr id="103" name="Oval 102">
                <a:extLst>
                  <a:ext uri="{FF2B5EF4-FFF2-40B4-BE49-F238E27FC236}">
                    <a16:creationId xmlns:a16="http://schemas.microsoft.com/office/drawing/2014/main" id="{0C795422-BCFE-7CEE-1AFE-1B11431CC1C5}"/>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a:extLst>
                  <a:ext uri="{FF2B5EF4-FFF2-40B4-BE49-F238E27FC236}">
                    <a16:creationId xmlns:a16="http://schemas.microsoft.com/office/drawing/2014/main" id="{7F24C03D-BF65-9D72-3CCC-E38BB67BAAE4}"/>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a:extLst>
                  <a:ext uri="{FF2B5EF4-FFF2-40B4-BE49-F238E27FC236}">
                    <a16:creationId xmlns:a16="http://schemas.microsoft.com/office/drawing/2014/main" id="{87FD00BE-22DD-48ED-1C3E-2C8C11D67CA7}"/>
                  </a:ext>
                </a:extLst>
              </p:cNvPr>
              <p:cNvSpPr/>
              <p:nvPr/>
            </p:nvSpPr>
            <p:spPr>
              <a:xfrm>
                <a:off x="685416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65442F5D-F231-6904-25F0-29CCB255208D}"/>
                  </a:ext>
                </a:extLst>
              </p:cNvPr>
              <p:cNvSpPr/>
              <p:nvPr/>
            </p:nvSpPr>
            <p:spPr>
              <a:xfrm>
                <a:off x="837898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D86D4D6F-81F6-F69D-25BB-F724CBBC0AA9}"/>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3</a:t>
                </a:r>
                <a:endParaRPr lang="en-GB" sz="6000" i="1">
                  <a:solidFill>
                    <a:srgbClr val="484525">
                      <a:alpha val="60000"/>
                    </a:srgbClr>
                  </a:solidFill>
                  <a:latin typeface="Playfair Display" pitchFamily="2" charset="0"/>
                </a:endParaRPr>
              </a:p>
            </p:txBody>
          </p:sp>
          <p:sp>
            <p:nvSpPr>
              <p:cNvPr id="108" name="Oval 107">
                <a:extLst>
                  <a:ext uri="{FF2B5EF4-FFF2-40B4-BE49-F238E27FC236}">
                    <a16:creationId xmlns:a16="http://schemas.microsoft.com/office/drawing/2014/main" id="{CA8FC772-FD8A-5882-3B64-A228711E1A25}"/>
                  </a:ext>
                </a:extLst>
              </p:cNvPr>
              <p:cNvSpPr/>
              <p:nvPr/>
            </p:nvSpPr>
            <p:spPr>
              <a:xfrm>
                <a:off x="7142813"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4</a:t>
                </a:r>
                <a:endParaRPr lang="en-GB" sz="6000" i="1">
                  <a:solidFill>
                    <a:srgbClr val="484525">
                      <a:alpha val="60000"/>
                    </a:srgbClr>
                  </a:solidFill>
                  <a:latin typeface="Playfair Display" pitchFamily="2" charset="0"/>
                </a:endParaRPr>
              </a:p>
            </p:txBody>
          </p:sp>
          <p:sp>
            <p:nvSpPr>
              <p:cNvPr id="109" name="Oval 108">
                <a:extLst>
                  <a:ext uri="{FF2B5EF4-FFF2-40B4-BE49-F238E27FC236}">
                    <a16:creationId xmlns:a16="http://schemas.microsoft.com/office/drawing/2014/main" id="{D89C5E8F-397D-D19B-5CF0-78B84FD1456F}"/>
                  </a:ext>
                </a:extLst>
              </p:cNvPr>
              <p:cNvSpPr/>
              <p:nvPr/>
            </p:nvSpPr>
            <p:spPr>
              <a:xfrm>
                <a:off x="8671876"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5</a:t>
                </a:r>
                <a:endParaRPr lang="en-GB" sz="6000" i="1">
                  <a:solidFill>
                    <a:srgbClr val="484525">
                      <a:alpha val="60000"/>
                    </a:srgbClr>
                  </a:solidFill>
                  <a:latin typeface="Playfair Display" pitchFamily="2" charset="0"/>
                </a:endParaRPr>
              </a:p>
            </p:txBody>
          </p:sp>
          <p:sp>
            <p:nvSpPr>
              <p:cNvPr id="110" name="Oval 109">
                <a:extLst>
                  <a:ext uri="{FF2B5EF4-FFF2-40B4-BE49-F238E27FC236}">
                    <a16:creationId xmlns:a16="http://schemas.microsoft.com/office/drawing/2014/main" id="{5708395A-581B-2B5A-3E36-EDB2D8215F94}"/>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Oval 110">
                <a:extLst>
                  <a:ext uri="{FF2B5EF4-FFF2-40B4-BE49-F238E27FC236}">
                    <a16:creationId xmlns:a16="http://schemas.microsoft.com/office/drawing/2014/main" id="{D968A3DF-7D1D-1181-4C01-2BD6BEC0BCF8}"/>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2</a:t>
                </a:r>
                <a:endParaRPr lang="en-GB" sz="6000" i="1">
                  <a:solidFill>
                    <a:srgbClr val="484525">
                      <a:alpha val="60000"/>
                    </a:srgbClr>
                  </a:solidFill>
                  <a:latin typeface="Playfair Display" pitchFamily="2" charset="0"/>
                </a:endParaRPr>
              </a:p>
            </p:txBody>
          </p:sp>
          <p:sp>
            <p:nvSpPr>
              <p:cNvPr id="112" name="Oval 111">
                <a:extLst>
                  <a:ext uri="{FF2B5EF4-FFF2-40B4-BE49-F238E27FC236}">
                    <a16:creationId xmlns:a16="http://schemas.microsoft.com/office/drawing/2014/main" id="{575BCFBF-78D9-618D-BC81-A9891A133079}"/>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r>
                  <a:rPr lang="en-US" sz="6000" i="1">
                    <a:solidFill>
                      <a:srgbClr val="484525">
                        <a:alpha val="60000"/>
                      </a:srgbClr>
                    </a:solidFill>
                    <a:latin typeface="Playfair Display" pitchFamily="2" charset="0"/>
                  </a:rPr>
                  <a:t>1</a:t>
                </a:r>
                <a:endParaRPr lang="en-GB" sz="6000" i="1">
                  <a:solidFill>
                    <a:srgbClr val="484525">
                      <a:alpha val="60000"/>
                    </a:srgbClr>
                  </a:solidFill>
                  <a:latin typeface="Playfair Display" pitchFamily="2" charset="0"/>
                </a:endParaRPr>
              </a:p>
            </p:txBody>
          </p:sp>
          <p:sp>
            <p:nvSpPr>
              <p:cNvPr id="113" name="Arc 112">
                <a:extLst>
                  <a:ext uri="{FF2B5EF4-FFF2-40B4-BE49-F238E27FC236}">
                    <a16:creationId xmlns:a16="http://schemas.microsoft.com/office/drawing/2014/main" id="{878EE15C-2171-0A97-A2C1-D0C405D41188}"/>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Arc 113">
                <a:extLst>
                  <a:ext uri="{FF2B5EF4-FFF2-40B4-BE49-F238E27FC236}">
                    <a16:creationId xmlns:a16="http://schemas.microsoft.com/office/drawing/2014/main" id="{FFCBEE5D-C3EC-7AC2-E793-D1F2BDA1C6EB}"/>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115" name="Arc 114">
                <a:extLst>
                  <a:ext uri="{FF2B5EF4-FFF2-40B4-BE49-F238E27FC236}">
                    <a16:creationId xmlns:a16="http://schemas.microsoft.com/office/drawing/2014/main" id="{937CEC5B-E02F-FDEB-311C-DE8A39FCB864}"/>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Arc 115">
                <a:extLst>
                  <a:ext uri="{FF2B5EF4-FFF2-40B4-BE49-F238E27FC236}">
                    <a16:creationId xmlns:a16="http://schemas.microsoft.com/office/drawing/2014/main" id="{8AFB3AEA-CDD4-8B21-195A-C21C4BF17989}"/>
                  </a:ext>
                </a:extLst>
              </p:cNvPr>
              <p:cNvSpPr>
                <a:spLocks noChangeAspect="1"/>
              </p:cNvSpPr>
              <p:nvPr/>
            </p:nvSpPr>
            <p:spPr>
              <a:xfrm rot="10800000">
                <a:off x="6849707" y="3137256"/>
                <a:ext cx="1526400" cy="1526400"/>
              </a:xfrm>
              <a:prstGeom prst="arc">
                <a:avLst>
                  <a:gd name="adj1" fmla="val 10773181"/>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Arc 116">
                <a:extLst>
                  <a:ext uri="{FF2B5EF4-FFF2-40B4-BE49-F238E27FC236}">
                    <a16:creationId xmlns:a16="http://schemas.microsoft.com/office/drawing/2014/main" id="{C8D6B20F-F655-14FB-8268-7D20F3F923DB}"/>
                  </a:ext>
                </a:extLst>
              </p:cNvPr>
              <p:cNvSpPr>
                <a:spLocks noChangeAspect="1"/>
              </p:cNvSpPr>
              <p:nvPr/>
            </p:nvSpPr>
            <p:spPr>
              <a:xfrm flipH="1">
                <a:off x="8375712" y="3138838"/>
                <a:ext cx="1526400" cy="1526400"/>
              </a:xfrm>
              <a:prstGeom prst="arc">
                <a:avLst>
                  <a:gd name="adj1" fmla="val 16160514"/>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7" name="TextBox 96">
              <a:extLst>
                <a:ext uri="{FF2B5EF4-FFF2-40B4-BE49-F238E27FC236}">
                  <a16:creationId xmlns:a16="http://schemas.microsoft.com/office/drawing/2014/main" id="{3814B41D-21E4-3E8D-D574-E272DFDFE342}"/>
                </a:ext>
              </a:extLst>
            </p:cNvPr>
            <p:cNvSpPr txBox="1"/>
            <p:nvPr/>
          </p:nvSpPr>
          <p:spPr>
            <a:xfrm>
              <a:off x="234547" y="1056986"/>
              <a:ext cx="4757048" cy="1029128"/>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Overview of our</a:t>
              </a:r>
            </a:p>
            <a:p>
              <a:r>
                <a:rPr lang="en-GB" sz="4800"/>
                <a:t>business model</a:t>
              </a:r>
            </a:p>
          </p:txBody>
        </p:sp>
        <p:sp>
          <p:nvSpPr>
            <p:cNvPr id="98" name="TextBox 97">
              <a:extLst>
                <a:ext uri="{FF2B5EF4-FFF2-40B4-BE49-F238E27FC236}">
                  <a16:creationId xmlns:a16="http://schemas.microsoft.com/office/drawing/2014/main" id="{E2B4B345-2B24-1F84-2334-E29AB0EC98B1}"/>
                </a:ext>
              </a:extLst>
            </p:cNvPr>
            <p:cNvSpPr txBox="1"/>
            <p:nvPr/>
          </p:nvSpPr>
          <p:spPr>
            <a:xfrm>
              <a:off x="1422316"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a:solidFill>
                    <a:prstClr val="white">
                      <a:alpha val="50000"/>
                    </a:prstClr>
                  </a:solidFill>
                </a:rPr>
                <a:t>Provide more info about this business model stage</a:t>
              </a:r>
              <a:endParaRPr lang="en-US">
                <a:solidFill>
                  <a:prstClr val="white">
                    <a:alpha val="50000"/>
                  </a:prstClr>
                </a:solidFill>
              </a:endParaRPr>
            </a:p>
          </p:txBody>
        </p:sp>
        <p:sp>
          <p:nvSpPr>
            <p:cNvPr id="99" name="TextBox 98">
              <a:extLst>
                <a:ext uri="{FF2B5EF4-FFF2-40B4-BE49-F238E27FC236}">
                  <a16:creationId xmlns:a16="http://schemas.microsoft.com/office/drawing/2014/main" id="{584BF949-FC30-AE12-15A2-91BA2889FFF9}"/>
                </a:ext>
              </a:extLst>
            </p:cNvPr>
            <p:cNvSpPr txBox="1"/>
            <p:nvPr/>
          </p:nvSpPr>
          <p:spPr>
            <a:xfrm>
              <a:off x="3320936"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a:solidFill>
                    <a:prstClr val="white">
                      <a:alpha val="50000"/>
                    </a:prstClr>
                  </a:solidFill>
                </a:rPr>
                <a:t>Provide more info about this business model stage</a:t>
              </a:r>
              <a:endParaRPr lang="en-US">
                <a:solidFill>
                  <a:prstClr val="white">
                    <a:alpha val="50000"/>
                  </a:prstClr>
                </a:solidFill>
              </a:endParaRPr>
            </a:p>
          </p:txBody>
        </p:sp>
        <p:sp>
          <p:nvSpPr>
            <p:cNvPr id="100" name="TextBox 99">
              <a:extLst>
                <a:ext uri="{FF2B5EF4-FFF2-40B4-BE49-F238E27FC236}">
                  <a16:creationId xmlns:a16="http://schemas.microsoft.com/office/drawing/2014/main" id="{AC19AA37-54E6-E0EF-C248-CD2A84029CF9}"/>
                </a:ext>
              </a:extLst>
            </p:cNvPr>
            <p:cNvSpPr txBox="1"/>
            <p:nvPr/>
          </p:nvSpPr>
          <p:spPr>
            <a:xfrm>
              <a:off x="5286365"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a:solidFill>
                    <a:prstClr val="white">
                      <a:alpha val="50000"/>
                    </a:prstClr>
                  </a:solidFill>
                </a:rPr>
                <a:t>Provide more info about this business model stage</a:t>
              </a:r>
              <a:endParaRPr lang="en-US">
                <a:solidFill>
                  <a:prstClr val="white">
                    <a:alpha val="50000"/>
                  </a:prstClr>
                </a:solidFill>
              </a:endParaRPr>
            </a:p>
          </p:txBody>
        </p:sp>
        <p:sp>
          <p:nvSpPr>
            <p:cNvPr id="101" name="TextBox 100">
              <a:extLst>
                <a:ext uri="{FF2B5EF4-FFF2-40B4-BE49-F238E27FC236}">
                  <a16:creationId xmlns:a16="http://schemas.microsoft.com/office/drawing/2014/main" id="{A131FBC8-39B9-86A5-3046-FDBE9D582A50}"/>
                </a:ext>
              </a:extLst>
            </p:cNvPr>
            <p:cNvSpPr txBox="1"/>
            <p:nvPr/>
          </p:nvSpPr>
          <p:spPr>
            <a:xfrm>
              <a:off x="7213558"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a:solidFill>
                    <a:prstClr val="white">
                      <a:alpha val="50000"/>
                    </a:prstClr>
                  </a:solidFill>
                </a:rPr>
                <a:t>Provide more info about this business model stage</a:t>
              </a:r>
              <a:endParaRPr lang="en-US">
                <a:solidFill>
                  <a:prstClr val="white">
                    <a:alpha val="50000"/>
                  </a:prstClr>
                </a:solidFill>
              </a:endParaRPr>
            </a:p>
          </p:txBody>
        </p:sp>
        <p:sp>
          <p:nvSpPr>
            <p:cNvPr id="102" name="TextBox 101">
              <a:extLst>
                <a:ext uri="{FF2B5EF4-FFF2-40B4-BE49-F238E27FC236}">
                  <a16:creationId xmlns:a16="http://schemas.microsoft.com/office/drawing/2014/main" id="{957C74A4-6FD3-3E49-1260-9B6416399C86}"/>
                </a:ext>
              </a:extLst>
            </p:cNvPr>
            <p:cNvSpPr txBox="1"/>
            <p:nvPr/>
          </p:nvSpPr>
          <p:spPr>
            <a:xfrm>
              <a:off x="9158347"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a:solidFill>
                    <a:prstClr val="white">
                      <a:alpha val="50000"/>
                    </a:prstClr>
                  </a:solidFill>
                </a:rPr>
                <a:t>Provide more info about this business model stage</a:t>
              </a:r>
              <a:endParaRPr lang="en-US">
                <a:solidFill>
                  <a:prstClr val="white">
                    <a:alpha val="50000"/>
                  </a:prstClr>
                </a:solidFill>
              </a:endParaRPr>
            </a:p>
          </p:txBody>
        </p:sp>
      </p:grpSp>
    </p:spTree>
    <p:extLst>
      <p:ext uri="{BB962C8B-B14F-4D97-AF65-F5344CB8AC3E}">
        <p14:creationId xmlns:p14="http://schemas.microsoft.com/office/powerpoint/2010/main" val="2415979649"/>
      </p:ext>
    </p:extLst>
  </p:cSld>
  <p:clrMapOvr>
    <a:masterClrMapping/>
  </p:clrMapOvr>
  <mc:AlternateContent xmlns:mc="http://schemas.openxmlformats.org/markup-compatibility/2006">
    <mc:Choice xmlns:p159="http://schemas.microsoft.com/office/powerpoint/2015/09/main" Requires="p159">
      <p:transition spd="slow" advTm="0">
        <p159:morph option="byObject"/>
      </p:transition>
    </mc:Choice>
    <mc:Fallback>
      <p:transition spd="slow" advTm="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white and blue background&#10;&#10;AI-generated content may be incorrect.">
            <a:extLst>
              <a:ext uri="{FF2B5EF4-FFF2-40B4-BE49-F238E27FC236}">
                <a16:creationId xmlns:a16="http://schemas.microsoft.com/office/drawing/2014/main" id="{BF631E59-1E1C-CF32-BE19-3C0938B4EF74}"/>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7ED22468-DC17-89A8-6DC0-C4D760E9764F}"/>
              </a:ext>
            </a:extLst>
          </p:cNvPr>
          <p:cNvSpPr txBox="1"/>
          <p:nvPr/>
        </p:nvSpPr>
        <p:spPr>
          <a:xfrm>
            <a:off x="299484" y="407551"/>
            <a:ext cx="187070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44596C"/>
                </a:solidFill>
                <a:effectLst/>
                <a:uLnTx/>
                <a:uFillTx/>
                <a:latin typeface="Darker Grotesque" pitchFamily="2" charset="0"/>
              </a:rPr>
              <a:t>Easy</a:t>
            </a:r>
            <a:r>
              <a:rPr lang="en-US" kern="0" dirty="0">
                <a:solidFill>
                  <a:srgbClr val="44596C"/>
                </a:solidFill>
                <a:latin typeface="Darker Grotesque" pitchFamily="2" charset="0"/>
              </a:rPr>
              <a:t>-Up CAD Model</a:t>
            </a:r>
            <a:endParaRPr kumimoji="0" lang="en-US" b="0" i="0" u="none" strike="noStrike" kern="0" cap="none" spc="0" normalizeH="0" baseline="0" noProof="0" dirty="0">
              <a:ln>
                <a:noFill/>
              </a:ln>
              <a:solidFill>
                <a:srgbClr val="44596C"/>
              </a:solidFill>
              <a:effectLst/>
              <a:uLnTx/>
              <a:uFillTx/>
              <a:latin typeface="Darker Grotesque" pitchFamily="2" charset="0"/>
            </a:endParaRPr>
          </a:p>
        </p:txBody>
      </p:sp>
      <p:grpSp>
        <p:nvGrpSpPr>
          <p:cNvPr id="45" name="Group 44">
            <a:extLst>
              <a:ext uri="{FF2B5EF4-FFF2-40B4-BE49-F238E27FC236}">
                <a16:creationId xmlns:a16="http://schemas.microsoft.com/office/drawing/2014/main" id="{8868C9F5-EA26-9CED-D1BA-0386C3A858E1}"/>
              </a:ext>
            </a:extLst>
          </p:cNvPr>
          <p:cNvGrpSpPr/>
          <p:nvPr/>
        </p:nvGrpSpPr>
        <p:grpSpPr>
          <a:xfrm>
            <a:off x="591725" y="171011"/>
            <a:ext cx="11114734" cy="6288450"/>
            <a:chOff x="531678" y="116193"/>
            <a:chExt cx="11114734" cy="6288450"/>
          </a:xfrm>
        </p:grpSpPr>
        <p:grpSp>
          <p:nvGrpSpPr>
            <p:cNvPr id="25" name="!!model">
              <a:extLst>
                <a:ext uri="{FF2B5EF4-FFF2-40B4-BE49-F238E27FC236}">
                  <a16:creationId xmlns:a16="http://schemas.microsoft.com/office/drawing/2014/main" id="{F51B1873-4223-1D99-F908-62B7BB4F14F7}"/>
                </a:ext>
              </a:extLst>
            </p:cNvPr>
            <p:cNvGrpSpPr/>
            <p:nvPr/>
          </p:nvGrpSpPr>
          <p:grpSpPr>
            <a:xfrm>
              <a:off x="11138826" y="116193"/>
              <a:ext cx="507586" cy="507586"/>
              <a:chOff x="11129404" y="1615036"/>
              <a:chExt cx="507586" cy="507586"/>
            </a:xfrm>
          </p:grpSpPr>
          <p:sp>
            <p:nvSpPr>
              <p:cNvPr id="26" name="Oval 25">
                <a:extLst>
                  <a:ext uri="{FF2B5EF4-FFF2-40B4-BE49-F238E27FC236}">
                    <a16:creationId xmlns:a16="http://schemas.microsoft.com/office/drawing/2014/main" id="{DDCEEB63-FD54-930B-5BB2-ED1F246A5617}"/>
                  </a:ext>
                </a:extLst>
              </p:cNvPr>
              <p:cNvSpPr/>
              <p:nvPr/>
            </p:nvSpPr>
            <p:spPr>
              <a:xfrm>
                <a:off x="11129404" y="1615036"/>
                <a:ext cx="507586" cy="507586"/>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7" name="Graphic 26">
                <a:extLst>
                  <a:ext uri="{FF2B5EF4-FFF2-40B4-BE49-F238E27FC236}">
                    <a16:creationId xmlns:a16="http://schemas.microsoft.com/office/drawing/2014/main" id="{D6D85D96-DFC0-A226-E885-3CBE48B720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7197" y="1742829"/>
                <a:ext cx="252000" cy="252000"/>
              </a:xfrm>
              <a:prstGeom prst="rect">
                <a:avLst/>
              </a:prstGeom>
            </p:spPr>
          </p:pic>
        </p:grpSp>
        <p:grpSp>
          <p:nvGrpSpPr>
            <p:cNvPr id="20" name="Group 19">
              <a:extLst>
                <a:ext uri="{FF2B5EF4-FFF2-40B4-BE49-F238E27FC236}">
                  <a16:creationId xmlns:a16="http://schemas.microsoft.com/office/drawing/2014/main" id="{01843788-097F-0E0B-DC10-5666B7ECA5E8}"/>
                </a:ext>
              </a:extLst>
            </p:cNvPr>
            <p:cNvGrpSpPr/>
            <p:nvPr/>
          </p:nvGrpSpPr>
          <p:grpSpPr>
            <a:xfrm>
              <a:off x="531678" y="134443"/>
              <a:ext cx="9460137" cy="6071222"/>
              <a:chOff x="1714767" y="1241885"/>
              <a:chExt cx="7437896" cy="4773412"/>
            </a:xfrm>
          </p:grpSpPr>
          <p:sp>
            <p:nvSpPr>
              <p:cNvPr id="3" name="Oval 2">
                <a:extLst>
                  <a:ext uri="{FF2B5EF4-FFF2-40B4-BE49-F238E27FC236}">
                    <a16:creationId xmlns:a16="http://schemas.microsoft.com/office/drawing/2014/main" id="{ADCC6C45-A1BC-7B9D-5408-3DA3C2C40F22}"/>
                  </a:ext>
                </a:extLst>
              </p:cNvPr>
              <p:cNvSpPr/>
              <p:nvPr/>
            </p:nvSpPr>
            <p:spPr>
              <a:xfrm>
                <a:off x="1830823" y="4141061"/>
                <a:ext cx="1862831" cy="1874236"/>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5B03A399-F956-52FB-C8F7-04F46847C188}"/>
                  </a:ext>
                </a:extLst>
              </p:cNvPr>
              <p:cNvSpPr/>
              <p:nvPr/>
            </p:nvSpPr>
            <p:spPr>
              <a:xfrm>
                <a:off x="4848960" y="1241885"/>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43EC17BB-23DF-47AF-A2A3-8C3616B04D33}"/>
                  </a:ext>
                </a:extLst>
              </p:cNvPr>
              <p:cNvSpPr/>
              <p:nvPr/>
            </p:nvSpPr>
            <p:spPr>
              <a:xfrm>
                <a:off x="7627843" y="1273624"/>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ADA99FFC-484F-9BE2-8938-C8EFDACE4E97}"/>
                  </a:ext>
                </a:extLst>
              </p:cNvPr>
              <p:cNvSpPr/>
              <p:nvPr/>
            </p:nvSpPr>
            <p:spPr>
              <a:xfrm>
                <a:off x="5129117" y="1522041"/>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6000" i="1">
                  <a:ln w="0"/>
                  <a:effectLst>
                    <a:outerShdw blurRad="38100" dist="19050" dir="2700000" algn="tl" rotWithShape="0">
                      <a:schemeClr val="dk1">
                        <a:alpha val="40000"/>
                      </a:schemeClr>
                    </a:outerShdw>
                  </a:effectLst>
                  <a:latin typeface="Playfair Display" pitchFamily="2" charset="0"/>
                </a:endParaRPr>
              </a:p>
            </p:txBody>
          </p:sp>
          <p:sp>
            <p:nvSpPr>
              <p:cNvPr id="9" name="Oval 8">
                <a:extLst>
                  <a:ext uri="{FF2B5EF4-FFF2-40B4-BE49-F238E27FC236}">
                    <a16:creationId xmlns:a16="http://schemas.microsoft.com/office/drawing/2014/main" id="{FB0271A8-25F9-572E-2ABE-23E3623EB43E}"/>
                  </a:ext>
                </a:extLst>
              </p:cNvPr>
              <p:cNvSpPr/>
              <p:nvPr/>
            </p:nvSpPr>
            <p:spPr>
              <a:xfrm>
                <a:off x="7908000" y="1519827"/>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2400">
                  <a:ln w="0"/>
                  <a:effectLst>
                    <a:outerShdw blurRad="38100" dist="19050" dir="2700000" algn="tl" rotWithShape="0">
                      <a:schemeClr val="dk1">
                        <a:alpha val="40000"/>
                      </a:schemeClr>
                    </a:outerShdw>
                  </a:effectLst>
                  <a:latin typeface="ADLaM Display" panose="02010000000000000000" pitchFamily="2" charset="0"/>
                  <a:ea typeface="ADLaM Display" panose="02010000000000000000" pitchFamily="2" charset="0"/>
                  <a:cs typeface="ADLaM Display" panose="02010000000000000000" pitchFamily="2" charset="0"/>
                </a:endParaRPr>
              </a:p>
            </p:txBody>
          </p:sp>
          <p:sp>
            <p:nvSpPr>
              <p:cNvPr id="12" name="Oval 11">
                <a:extLst>
                  <a:ext uri="{FF2B5EF4-FFF2-40B4-BE49-F238E27FC236}">
                    <a16:creationId xmlns:a16="http://schemas.microsoft.com/office/drawing/2014/main" id="{2546F1D2-7018-AD76-BACF-D4B994E0C286}"/>
                  </a:ext>
                </a:extLst>
              </p:cNvPr>
              <p:cNvSpPr/>
              <p:nvPr/>
            </p:nvSpPr>
            <p:spPr>
              <a:xfrm>
                <a:off x="1714767" y="1797248"/>
                <a:ext cx="1524820" cy="1524818"/>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049D46BB-CB46-F362-BC71-5DE71D55B2E6}"/>
                  </a:ext>
                </a:extLst>
              </p:cNvPr>
              <p:cNvSpPr/>
              <p:nvPr/>
            </p:nvSpPr>
            <p:spPr>
              <a:xfrm>
                <a:off x="2477177" y="4770635"/>
                <a:ext cx="964504" cy="964504"/>
              </a:xfrm>
              <a:prstGeom prst="ellipse">
                <a:avLst/>
              </a:prstGeom>
              <a:solidFill>
                <a:srgbClr val="44596C">
                  <a:alpha val="70000"/>
                </a:srgb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ln w="0"/>
                    <a:effectLst>
                      <a:outerShdw blurRad="38100" dist="19050" dir="2700000" algn="tl" rotWithShape="0">
                        <a:schemeClr val="dk1">
                          <a:alpha val="40000"/>
                        </a:schemeClr>
                      </a:outerShdw>
                    </a:effectLst>
                    <a:latin typeface="Playfair Display" pitchFamily="2" charset="0"/>
                  </a:rPr>
                  <a:t>2</a:t>
                </a:r>
                <a:endParaRPr lang="en-GB" sz="6000" i="1">
                  <a:ln w="0"/>
                  <a:effectLst>
                    <a:outerShdw blurRad="38100" dist="19050" dir="2700000" algn="tl" rotWithShape="0">
                      <a:schemeClr val="dk1">
                        <a:alpha val="40000"/>
                      </a:schemeClr>
                    </a:outerShdw>
                  </a:effectLst>
                  <a:latin typeface="Playfair Display" pitchFamily="2" charset="0"/>
                </a:endParaRPr>
              </a:p>
            </p:txBody>
          </p:sp>
          <mc:AlternateContent xmlns:mc="http://schemas.openxmlformats.org/markup-compatibility/2006" xmlns:a14="http://schemas.microsoft.com/office/drawing/2010/main">
            <mc:Choice Requires="a14">
              <p:sp>
                <p:nvSpPr>
                  <p:cNvPr id="14" name="Oval 13">
                    <a:extLst>
                      <a:ext uri="{FF2B5EF4-FFF2-40B4-BE49-F238E27FC236}">
                        <a16:creationId xmlns:a16="http://schemas.microsoft.com/office/drawing/2014/main" id="{10EEAB1A-C72B-01F2-DC6C-96FFFA8D6CA4}"/>
                      </a:ext>
                    </a:extLst>
                  </p:cNvPr>
                  <p:cNvSpPr/>
                  <p:nvPr/>
                </p:nvSpPr>
                <p:spPr>
                  <a:xfrm>
                    <a:off x="1949699" y="2003459"/>
                    <a:ext cx="1120858" cy="1120302"/>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14:m>
                      <m:oMath xmlns:m="http://schemas.openxmlformats.org/officeDocument/2006/math">
                        <m:r>
                          <a:rPr lang="en-US" sz="2400" i="0" smtClean="0">
                            <a:ln w="0"/>
                            <a:solidFill>
                              <a:srgbClr val="44596C"/>
                            </a:solidFill>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cs typeface="ADLaM Display" panose="020F0502020204030204" pitchFamily="2" charset="0"/>
                          </a:rPr>
                          <m:t>≈</m:t>
                        </m:r>
                      </m:oMath>
                    </a14:m>
                    <a:r>
                      <a:rPr lang="en-US" sz="2400">
                        <a:ln w="0"/>
                        <a:solidFill>
                          <a:srgbClr val="44596C"/>
                        </a:solidFill>
                        <a:effectLst>
                          <a:outerShdw blurRad="38100" dist="19050" dir="2700000" algn="tl" rotWithShape="0">
                            <a:schemeClr val="dk1">
                              <a:alpha val="40000"/>
                            </a:schemeClr>
                          </a:outerShdw>
                        </a:effectLst>
                        <a:latin typeface="ADLaM Display" panose="020F0502020204030204" pitchFamily="2" charset="0"/>
                        <a:ea typeface="ADLaM Display" panose="020F0502020204030204" pitchFamily="2" charset="0"/>
                        <a:cs typeface="ADLaM Display" panose="020F0502020204030204" pitchFamily="2" charset="0"/>
                      </a:rPr>
                      <a:t>3.5 kg</a:t>
                    </a:r>
                    <a:endParaRPr lang="en-GB" sz="2400">
                      <a:ln w="0"/>
                      <a:solidFill>
                        <a:srgbClr val="44596C"/>
                      </a:solidFill>
                      <a:effectLst>
                        <a:outerShdw blurRad="38100" dist="19050" dir="2700000" algn="tl" rotWithShape="0">
                          <a:schemeClr val="dk1">
                            <a:alpha val="40000"/>
                          </a:schemeClr>
                        </a:outerShdw>
                      </a:effectLst>
                      <a:latin typeface="ADLaM Display" panose="020F0502020204030204" pitchFamily="2" charset="0"/>
                      <a:ea typeface="ADLaM Display" panose="020F0502020204030204" pitchFamily="2" charset="0"/>
                      <a:cs typeface="ADLaM Display" panose="020F0502020204030204" pitchFamily="2" charset="0"/>
                    </a:endParaRPr>
                  </a:p>
                </p:txBody>
              </p:sp>
            </mc:Choice>
            <mc:Fallback xmlns="">
              <p:sp>
                <p:nvSpPr>
                  <p:cNvPr id="14" name="Oval 13">
                    <a:extLst>
                      <a:ext uri="{FF2B5EF4-FFF2-40B4-BE49-F238E27FC236}">
                        <a16:creationId xmlns:a16="http://schemas.microsoft.com/office/drawing/2014/main" id="{10EEAB1A-C72B-01F2-DC6C-96FFFA8D6CA4}"/>
                      </a:ext>
                    </a:extLst>
                  </p:cNvPr>
                  <p:cNvSpPr>
                    <a:spLocks noRot="1" noChangeAspect="1" noMove="1" noResize="1" noEditPoints="1" noAdjustHandles="1" noChangeArrowheads="1" noChangeShapeType="1" noTextEdit="1"/>
                  </p:cNvSpPr>
                  <p:nvPr/>
                </p:nvSpPr>
                <p:spPr>
                  <a:xfrm>
                    <a:off x="1949699" y="2003459"/>
                    <a:ext cx="1120858" cy="1120302"/>
                  </a:xfrm>
                  <a:prstGeom prst="ellipse">
                    <a:avLst/>
                  </a:prstGeom>
                  <a:blipFill>
                    <a:blip r:embed="rId5"/>
                    <a:stretch>
                      <a:fillRect/>
                    </a:stretch>
                  </a:blipFill>
                  <a:ln w="38100">
                    <a:solidFill>
                      <a:schemeClr val="bg1"/>
                    </a:solidFill>
                  </a:ln>
                  <a:effectLst>
                    <a:innerShdw blurRad="381000">
                      <a:schemeClr val="bg1"/>
                    </a:innerShdw>
                  </a:effectLst>
                </p:spPr>
                <p:txBody>
                  <a:bodyPr/>
                  <a:lstStyle/>
                  <a:p>
                    <a:r>
                      <a:rPr lang="en-US">
                        <a:noFill/>
                      </a:rPr>
                      <a:t> </a:t>
                    </a:r>
                  </a:p>
                </p:txBody>
              </p:sp>
            </mc:Fallback>
          </mc:AlternateContent>
        </p:grpSp>
        <p:sp>
          <p:nvSpPr>
            <p:cNvPr id="21" name="TextBox 20">
              <a:extLst>
                <a:ext uri="{FF2B5EF4-FFF2-40B4-BE49-F238E27FC236}">
                  <a16:creationId xmlns:a16="http://schemas.microsoft.com/office/drawing/2014/main" id="{5CCA2FCA-1C43-96D5-E750-A7B4C2951CB7}"/>
                </a:ext>
              </a:extLst>
            </p:cNvPr>
            <p:cNvSpPr txBox="1"/>
            <p:nvPr/>
          </p:nvSpPr>
          <p:spPr>
            <a:xfrm>
              <a:off x="1349988" y="6064870"/>
              <a:ext cx="972947"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Piston</a:t>
              </a:r>
            </a:p>
          </p:txBody>
        </p:sp>
      </p:grpSp>
      <p:sp>
        <p:nvSpPr>
          <p:cNvPr id="31" name="Oval 30">
            <a:extLst>
              <a:ext uri="{FF2B5EF4-FFF2-40B4-BE49-F238E27FC236}">
                <a16:creationId xmlns:a16="http://schemas.microsoft.com/office/drawing/2014/main" id="{A2B56BC1-4D2B-A99B-9CCA-F6C83ED34ABD}"/>
              </a:ext>
            </a:extLst>
          </p:cNvPr>
          <p:cNvSpPr/>
          <p:nvPr/>
        </p:nvSpPr>
        <p:spPr>
          <a:xfrm>
            <a:off x="9869600" y="4095609"/>
            <a:ext cx="1836859" cy="1860475"/>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6000" i="1" dirty="0">
              <a:ln w="0"/>
              <a:effectLst>
                <a:outerShdw blurRad="38100" dist="19050" dir="2700000" algn="tl" rotWithShape="0">
                  <a:schemeClr val="dk1">
                    <a:alpha val="40000"/>
                  </a:schemeClr>
                </a:outerShdw>
              </a:effectLst>
              <a:latin typeface="Playfair Display" pitchFamily="2" charset="0"/>
            </a:endParaRPr>
          </a:p>
        </p:txBody>
      </p:sp>
      <p:sp>
        <p:nvSpPr>
          <p:cNvPr id="35" name="Oval 34">
            <a:extLst>
              <a:ext uri="{FF2B5EF4-FFF2-40B4-BE49-F238E27FC236}">
                <a16:creationId xmlns:a16="http://schemas.microsoft.com/office/drawing/2014/main" id="{DD4081B6-CFA2-4A5B-9296-544ED48FC962}"/>
              </a:ext>
            </a:extLst>
          </p:cNvPr>
          <p:cNvSpPr/>
          <p:nvPr/>
        </p:nvSpPr>
        <p:spPr>
          <a:xfrm>
            <a:off x="9513273" y="3714750"/>
            <a:ext cx="2478702" cy="2597661"/>
          </a:xfrm>
          <a:prstGeom prst="ellipse">
            <a:avLst/>
          </a:prstGeom>
          <a:noFill/>
          <a:ln w="12700" cap="rnd">
            <a:solidFill>
              <a:srgbClr val="44596C"/>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mc:Choice xmlns:am3d="http://schemas.microsoft.com/office/drawing/2017/model3d" Requires="am3d">
          <p:graphicFrame>
            <p:nvGraphicFramePr>
              <p:cNvPr id="29" name="3D Model 28">
                <a:extLst>
                  <a:ext uri="{FF2B5EF4-FFF2-40B4-BE49-F238E27FC236}">
                    <a16:creationId xmlns:a16="http://schemas.microsoft.com/office/drawing/2014/main" id="{D422FDC5-1829-4D05-B621-C72968B56244}"/>
                  </a:ext>
                </a:extLst>
              </p:cNvPr>
              <p:cNvGraphicFramePr>
                <a:graphicFrameLocks noChangeAspect="1"/>
              </p:cNvGraphicFramePr>
              <p:nvPr>
                <p:extLst>
                  <p:ext uri="{D42A27DB-BD31-4B8C-83A1-F6EECF244321}">
                    <p14:modId xmlns:p14="http://schemas.microsoft.com/office/powerpoint/2010/main" val="3134616302"/>
                  </p:ext>
                </p:extLst>
              </p:nvPr>
            </p:nvGraphicFramePr>
            <p:xfrm>
              <a:off x="3463144" y="1256348"/>
              <a:ext cx="5512889" cy="4699736"/>
            </p:xfrm>
            <a:graphic>
              <a:graphicData uri="http://schemas.microsoft.com/office/drawing/2017/model3d">
                <am3d:model3d r:embed="rId6">
                  <am3d:spPr>
                    <a:xfrm>
                      <a:off x="0" y="0"/>
                      <a:ext cx="5512889" cy="4699736"/>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9677123" ay="2545217" az="10027675"/>
                    <am3d:postTrans dx="0" dy="0" dz="0"/>
                  </am3d:trans>
                  <am3d:raster rName="Office3DRenderer" rVer="16.0.8326">
                    <am3d:blip r:embed="rId7"/>
                  </am3d:raster>
                  <am3d:objViewport viewportSz="657039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9" name="3D Model 28">
                <a:extLst>
                  <a:ext uri="{FF2B5EF4-FFF2-40B4-BE49-F238E27FC236}">
                    <a16:creationId xmlns:a16="http://schemas.microsoft.com/office/drawing/2014/main" id="{D422FDC5-1829-4D05-B621-C72968B56244}"/>
                  </a:ext>
                </a:extLst>
              </p:cNvPr>
              <p:cNvPicPr>
                <a:picLocks noGrp="1" noRot="1" noChangeAspect="1" noMove="1" noResize="1" noEditPoints="1" noAdjustHandles="1" noChangeArrowheads="1" noChangeShapeType="1" noCrop="1"/>
              </p:cNvPicPr>
              <p:nvPr/>
            </p:nvPicPr>
            <p:blipFill>
              <a:blip r:embed="rId7"/>
              <a:stretch>
                <a:fillRect/>
              </a:stretch>
            </p:blipFill>
            <p:spPr>
              <a:xfrm>
                <a:off x="3463144" y="1256348"/>
                <a:ext cx="5512889" cy="4699736"/>
              </a:xfrm>
              <a:prstGeom prst="rect">
                <a:avLst/>
              </a:prstGeom>
            </p:spPr>
          </p:pic>
        </mc:Fallback>
      </mc:AlternateContent>
      <p:pic>
        <p:nvPicPr>
          <p:cNvPr id="37" name="Picture 36">
            <a:extLst>
              <a:ext uri="{FF2B5EF4-FFF2-40B4-BE49-F238E27FC236}">
                <a16:creationId xmlns:a16="http://schemas.microsoft.com/office/drawing/2014/main" id="{B8B0CA61-5872-4AB8-3902-A5CB4BD160C2}"/>
              </a:ext>
            </a:extLst>
          </p:cNvPr>
          <p:cNvPicPr>
            <a:picLocks noChangeAspect="1"/>
          </p:cNvPicPr>
          <p:nvPr/>
        </p:nvPicPr>
        <p:blipFill>
          <a:blip r:embed="rId8"/>
          <a:stretch>
            <a:fillRect/>
          </a:stretch>
        </p:blipFill>
        <p:spPr>
          <a:xfrm>
            <a:off x="952500" y="4095609"/>
            <a:ext cx="1988969" cy="1970979"/>
          </a:xfrm>
          <a:prstGeom prst="flowChartConnector">
            <a:avLst/>
          </a:prstGeom>
        </p:spPr>
      </p:pic>
      <p:sp>
        <p:nvSpPr>
          <p:cNvPr id="4" name="TextBox 3">
            <a:extLst>
              <a:ext uri="{FF2B5EF4-FFF2-40B4-BE49-F238E27FC236}">
                <a16:creationId xmlns:a16="http://schemas.microsoft.com/office/drawing/2014/main" id="{6FCEF1A9-D818-2AA9-1C5F-1B167A36934C}"/>
              </a:ext>
            </a:extLst>
          </p:cNvPr>
          <p:cNvSpPr txBox="1"/>
          <p:nvPr/>
        </p:nvSpPr>
        <p:spPr>
          <a:xfrm>
            <a:off x="739335" y="2675176"/>
            <a:ext cx="1939393"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Lightweight</a:t>
            </a:r>
            <a:endParaRPr lang="en-GB" sz="2400" dirty="0">
              <a:solidFill>
                <a:srgbClr val="44596C"/>
              </a:solidFill>
            </a:endParaRPr>
          </a:p>
        </p:txBody>
      </p:sp>
      <p:sp>
        <p:nvSpPr>
          <p:cNvPr id="7" name="TextBox 6">
            <a:extLst>
              <a:ext uri="{FF2B5EF4-FFF2-40B4-BE49-F238E27FC236}">
                <a16:creationId xmlns:a16="http://schemas.microsoft.com/office/drawing/2014/main" id="{3D9020CB-DA89-AC74-50D7-DF6BAB594FF3}"/>
              </a:ext>
            </a:extLst>
          </p:cNvPr>
          <p:cNvSpPr txBox="1"/>
          <p:nvPr/>
        </p:nvSpPr>
        <p:spPr>
          <a:xfrm>
            <a:off x="4943679" y="1967041"/>
            <a:ext cx="1327721"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dirty="0">
                <a:solidFill>
                  <a:srgbClr val="44596C"/>
                </a:solidFill>
              </a:rPr>
              <a:t>Low </a:t>
            </a:r>
            <a:r>
              <a:rPr lang="en-GB" sz="2400">
                <a:solidFill>
                  <a:srgbClr val="44596C"/>
                </a:solidFill>
              </a:rPr>
              <a:t>Cost</a:t>
            </a:r>
            <a:endParaRPr lang="en-GB" sz="2400" dirty="0">
              <a:solidFill>
                <a:srgbClr val="44596C"/>
              </a:solidFill>
            </a:endParaRPr>
          </a:p>
        </p:txBody>
      </p:sp>
      <p:sp>
        <p:nvSpPr>
          <p:cNvPr id="10" name="TextBox 9">
            <a:extLst>
              <a:ext uri="{FF2B5EF4-FFF2-40B4-BE49-F238E27FC236}">
                <a16:creationId xmlns:a16="http://schemas.microsoft.com/office/drawing/2014/main" id="{1CF8C18A-9D01-2D36-FBC0-51644C3A32E2}"/>
              </a:ext>
            </a:extLst>
          </p:cNvPr>
          <p:cNvSpPr txBox="1"/>
          <p:nvPr/>
        </p:nvSpPr>
        <p:spPr>
          <a:xfrm>
            <a:off x="9893095" y="6200010"/>
            <a:ext cx="1757132" cy="339773"/>
          </a:xfrm>
          <a:prstGeom prst="rect">
            <a:avLst/>
          </a:prstGeom>
          <a:solidFill>
            <a:srgbClr val="BDCDC8"/>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dirty="0">
                <a:solidFill>
                  <a:srgbClr val="44596C"/>
                </a:solidFill>
              </a:rPr>
              <a:t>Living </a:t>
            </a:r>
            <a:r>
              <a:rPr lang="en-GB" sz="2400">
                <a:solidFill>
                  <a:srgbClr val="44596C"/>
                </a:solidFill>
              </a:rPr>
              <a:t>Hinge</a:t>
            </a:r>
            <a:endParaRPr lang="en-GB" sz="2400" dirty="0">
              <a:solidFill>
                <a:srgbClr val="44596C"/>
              </a:solidFill>
            </a:endParaRPr>
          </a:p>
        </p:txBody>
      </p:sp>
      <p:sp>
        <p:nvSpPr>
          <p:cNvPr id="11" name="TextBox 10">
            <a:extLst>
              <a:ext uri="{FF2B5EF4-FFF2-40B4-BE49-F238E27FC236}">
                <a16:creationId xmlns:a16="http://schemas.microsoft.com/office/drawing/2014/main" id="{379BE34B-3F9B-ACD9-4966-E1F319E2C3EB}"/>
              </a:ext>
            </a:extLst>
          </p:cNvPr>
          <p:cNvSpPr txBox="1"/>
          <p:nvPr/>
        </p:nvSpPr>
        <p:spPr>
          <a:xfrm>
            <a:off x="7879385" y="2050578"/>
            <a:ext cx="2704631" cy="339773"/>
          </a:xfrm>
          <a:prstGeom prst="rect">
            <a:avLst/>
          </a:prstGeom>
          <a:solidFill>
            <a:srgbClr val="F8F0E5"/>
          </a:solid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a:solidFill>
                  <a:srgbClr val="44596C"/>
                </a:solidFill>
              </a:rPr>
              <a:t>Removable Cushion</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41AF925C-5CF2-0462-E772-8327260C7264}"/>
                  </a:ext>
                </a:extLst>
              </p:cNvPr>
              <p:cNvSpPr txBox="1"/>
              <p:nvPr/>
            </p:nvSpPr>
            <p:spPr>
              <a:xfrm>
                <a:off x="5040034" y="930166"/>
                <a:ext cx="1121083" cy="400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m:rPr>
                          <m:sty m:val="p"/>
                        </m:rPr>
                        <a:rPr lang="en-AU" sz="2000" b="0" i="0" smtClean="0">
                          <a:ln w="0"/>
                          <a:effectLst>
                            <a:outerShdw blurRad="38100" dist="19050" dir="2700000" algn="tl" rotWithShape="0">
                              <a:schemeClr val="dk1">
                                <a:alpha val="40000"/>
                              </a:schemeClr>
                            </a:outerShdw>
                          </a:effectLst>
                          <a:latin typeface="Cambria Math" panose="02040503050406030204" pitchFamily="18" charset="0"/>
                          <a:ea typeface="ADLaM Display" panose="02010000000000000000" pitchFamily="2" charset="0"/>
                          <a:cs typeface="ADLaM Display" panose="02010000000000000000" pitchFamily="2" charset="0"/>
                        </a:rPr>
                        <m:t>AUD</m:t>
                      </m:r>
                      <m:r>
                        <a:rPr lang="en-AU" sz="2000" b="0" i="0" smtClean="0">
                          <a:ln w="0"/>
                          <a:effectLst>
                            <a:outerShdw blurRad="38100" dist="19050" dir="2700000" algn="tl" rotWithShape="0">
                              <a:schemeClr val="dk1">
                                <a:alpha val="40000"/>
                              </a:schemeClr>
                            </a:outerShdw>
                          </a:effectLst>
                          <a:latin typeface="Cambria Math" panose="02040503050406030204" pitchFamily="18" charset="0"/>
                          <a:ea typeface="ADLaM Display" panose="02010000000000000000" pitchFamily="2" charset="0"/>
                          <a:cs typeface="ADLaM Display" panose="02010000000000000000" pitchFamily="2" charset="0"/>
                        </a:rPr>
                        <m:t> $189</m:t>
                      </m:r>
                    </m:oMath>
                  </m:oMathPara>
                </a14:m>
                <a:endParaRPr lang="en-GB" sz="2000" dirty="0">
                  <a:ln w="0"/>
                  <a:effectLst>
                    <a:outerShdw blurRad="38100" dist="19050" dir="2700000" algn="tl" rotWithShape="0">
                      <a:schemeClr val="dk1">
                        <a:alpha val="40000"/>
                      </a:schemeClr>
                    </a:outerShdw>
                  </a:effectLst>
                  <a:latin typeface="ADLaM Display" panose="02010000000000000000" pitchFamily="2" charset="0"/>
                  <a:ea typeface="ADLaM Display" panose="02010000000000000000" pitchFamily="2" charset="0"/>
                  <a:cs typeface="ADLaM Display" panose="02010000000000000000" pitchFamily="2" charset="0"/>
                </a:endParaRPr>
              </a:p>
            </p:txBody>
          </p:sp>
        </mc:Choice>
        <mc:Fallback xmlns="">
          <p:sp>
            <p:nvSpPr>
              <p:cNvPr id="18" name="TextBox 17">
                <a:extLst>
                  <a:ext uri="{FF2B5EF4-FFF2-40B4-BE49-F238E27FC236}">
                    <a16:creationId xmlns:a16="http://schemas.microsoft.com/office/drawing/2014/main" id="{41AF925C-5CF2-0462-E772-8327260C7264}"/>
                  </a:ext>
                </a:extLst>
              </p:cNvPr>
              <p:cNvSpPr txBox="1">
                <a:spLocks noRot="1" noChangeAspect="1" noMove="1" noResize="1" noEditPoints="1" noAdjustHandles="1" noChangeArrowheads="1" noChangeShapeType="1" noTextEdit="1"/>
              </p:cNvSpPr>
              <p:nvPr/>
            </p:nvSpPr>
            <p:spPr>
              <a:xfrm>
                <a:off x="5040034" y="930166"/>
                <a:ext cx="1121083" cy="400110"/>
              </a:xfrm>
              <a:prstGeom prst="rect">
                <a:avLst/>
              </a:prstGeom>
              <a:blipFill>
                <a:blip r:embed="rId9"/>
                <a:stretch>
                  <a:fillRect l="-10326" r="-8152" b="-9231"/>
                </a:stretch>
              </a:blipFill>
            </p:spPr>
            <p:txBody>
              <a:bodyPr/>
              <a:lstStyle/>
              <a:p>
                <a:r>
                  <a:rPr lang="en-US">
                    <a:noFill/>
                  </a:rPr>
                  <a:t> </a:t>
                </a:r>
              </a:p>
            </p:txBody>
          </p:sp>
        </mc:Fallback>
      </mc:AlternateContent>
      <p:pic>
        <p:nvPicPr>
          <p:cNvPr id="1026" name="Picture 2" descr="Fechos Têxtil Gancho e Argola Marca VELCRO">
            <a:extLst>
              <a:ext uri="{FF2B5EF4-FFF2-40B4-BE49-F238E27FC236}">
                <a16:creationId xmlns:a16="http://schemas.microsoft.com/office/drawing/2014/main" id="{77FD6B29-B1FE-B93B-5E28-CB624468AA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70809" y="348370"/>
            <a:ext cx="1631729" cy="1631729"/>
          </a:xfrm>
          <a:prstGeom prst="ellipse">
            <a:avLst/>
          </a:prstGeom>
          <a:noFill/>
          <a:extLst>
            <a:ext uri="{909E8E84-426E-40DD-AFC4-6F175D3DCCD1}">
              <a14:hiddenFill xmlns:a14="http://schemas.microsoft.com/office/drawing/2010/main">
                <a:solidFill>
                  <a:srgbClr val="FFFFFF"/>
                </a:solidFill>
              </a14:hiddenFill>
            </a:ext>
          </a:extLst>
        </p:spPr>
      </p:pic>
      <p:pic>
        <p:nvPicPr>
          <p:cNvPr id="19" name="Picture 18" descr="A logo with text and a square with a arrow up&#10;&#10;AI-generated content may be incorrect.">
            <a:extLst>
              <a:ext uri="{FF2B5EF4-FFF2-40B4-BE49-F238E27FC236}">
                <a16:creationId xmlns:a16="http://schemas.microsoft.com/office/drawing/2014/main" id="{7DF49F13-B1C5-B675-4A1F-A38DCE62EB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82299" y="174421"/>
            <a:ext cx="1135911" cy="1135911"/>
          </a:xfrm>
          <a:prstGeom prst="roundRect">
            <a:avLst/>
          </a:prstGeom>
        </p:spPr>
      </p:pic>
      <p:pic>
        <p:nvPicPr>
          <p:cNvPr id="15" name="Picture 14" descr="A white rectangular object with holes&#10;&#10;AI-generated content may be incorrect.">
            <a:extLst>
              <a:ext uri="{FF2B5EF4-FFF2-40B4-BE49-F238E27FC236}">
                <a16:creationId xmlns:a16="http://schemas.microsoft.com/office/drawing/2014/main" id="{28DD84FF-10D2-C450-8E6B-7E692A143D2A}"/>
              </a:ext>
            </a:extLst>
          </p:cNvPr>
          <p:cNvPicPr>
            <a:picLocks noChangeAspect="1"/>
          </p:cNvPicPr>
          <p:nvPr/>
        </p:nvPicPr>
        <p:blipFill>
          <a:blip r:embed="rId12"/>
          <a:srcRect l="26801" t="13235" r="32691" b="19141"/>
          <a:stretch>
            <a:fillRect/>
          </a:stretch>
        </p:blipFill>
        <p:spPr>
          <a:xfrm>
            <a:off x="9869601" y="4101440"/>
            <a:ext cx="1836858" cy="1861200"/>
          </a:xfrm>
          <a:prstGeom prst="flowChartConnector">
            <a:avLst/>
          </a:prstGeom>
        </p:spPr>
      </p:pic>
    </p:spTree>
    <p:extLst>
      <p:ext uri="{BB962C8B-B14F-4D97-AF65-F5344CB8AC3E}">
        <p14:creationId xmlns:p14="http://schemas.microsoft.com/office/powerpoint/2010/main" val="25363035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86897-2AD0-3C95-9422-63E9373A8974}"/>
            </a:ext>
          </a:extLst>
        </p:cNvPr>
        <p:cNvGrpSpPr/>
        <p:nvPr/>
      </p:nvGrpSpPr>
      <p:grpSpPr>
        <a:xfrm>
          <a:off x="0" y="0"/>
          <a:ext cx="0" cy="0"/>
          <a:chOff x="0" y="0"/>
          <a:chExt cx="0" cy="0"/>
        </a:xfrm>
      </p:grpSpPr>
      <p:pic>
        <p:nvPicPr>
          <p:cNvPr id="30" name="Picture 29" descr="A white and blue background&#10;&#10;AI-generated content may be incorrect.">
            <a:extLst>
              <a:ext uri="{FF2B5EF4-FFF2-40B4-BE49-F238E27FC236}">
                <a16:creationId xmlns:a16="http://schemas.microsoft.com/office/drawing/2014/main" id="{2320027A-494B-38EE-919B-87669D6CA96F}"/>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37590747-35A7-3A45-F00C-16BAD381D703}"/>
              </a:ext>
            </a:extLst>
          </p:cNvPr>
          <p:cNvSpPr txBox="1"/>
          <p:nvPr/>
        </p:nvSpPr>
        <p:spPr>
          <a:xfrm>
            <a:off x="299484" y="407551"/>
            <a:ext cx="120866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44596C"/>
                </a:solidFill>
                <a:effectLst/>
                <a:uLnTx/>
                <a:uFillTx/>
                <a:latin typeface="Darker Grotesque" pitchFamily="2" charset="0"/>
              </a:rPr>
              <a:t>Easy</a:t>
            </a:r>
            <a:r>
              <a:rPr lang="en-US" kern="0">
                <a:solidFill>
                  <a:srgbClr val="44596C"/>
                </a:solidFill>
                <a:latin typeface="Darker Grotesque" pitchFamily="2" charset="0"/>
              </a:rPr>
              <a:t>-Up CAD</a:t>
            </a:r>
            <a:endParaRPr kumimoji="0" lang="en-US" b="0" i="0" u="none" strike="noStrike" kern="0" cap="none" spc="0" normalizeH="0" baseline="0" noProof="0">
              <a:ln>
                <a:noFill/>
              </a:ln>
              <a:solidFill>
                <a:srgbClr val="44596C"/>
              </a:solidFill>
              <a:effectLst/>
              <a:uLnTx/>
              <a:uFillTx/>
              <a:latin typeface="Darker Grotesque" pitchFamily="2" charset="0"/>
            </a:endParaRPr>
          </a:p>
        </p:txBody>
      </p:sp>
      <p:grpSp>
        <p:nvGrpSpPr>
          <p:cNvPr id="25" name="!!model">
            <a:extLst>
              <a:ext uri="{FF2B5EF4-FFF2-40B4-BE49-F238E27FC236}">
                <a16:creationId xmlns:a16="http://schemas.microsoft.com/office/drawing/2014/main" id="{EB0BA23B-BBEC-EB38-DD46-469E56884691}"/>
              </a:ext>
            </a:extLst>
          </p:cNvPr>
          <p:cNvGrpSpPr/>
          <p:nvPr/>
        </p:nvGrpSpPr>
        <p:grpSpPr>
          <a:xfrm>
            <a:off x="11198873" y="171011"/>
            <a:ext cx="507586" cy="507586"/>
            <a:chOff x="11129404" y="1615036"/>
            <a:chExt cx="507586" cy="507586"/>
          </a:xfrm>
        </p:grpSpPr>
        <p:sp>
          <p:nvSpPr>
            <p:cNvPr id="26" name="Oval 25">
              <a:extLst>
                <a:ext uri="{FF2B5EF4-FFF2-40B4-BE49-F238E27FC236}">
                  <a16:creationId xmlns:a16="http://schemas.microsoft.com/office/drawing/2014/main" id="{9B35001C-2471-7163-3E4B-628A9BBEEFEE}"/>
                </a:ext>
              </a:extLst>
            </p:cNvPr>
            <p:cNvSpPr/>
            <p:nvPr/>
          </p:nvSpPr>
          <p:spPr>
            <a:xfrm>
              <a:off x="11129404" y="1615036"/>
              <a:ext cx="507586" cy="507586"/>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7" name="Graphic 26">
              <a:extLst>
                <a:ext uri="{FF2B5EF4-FFF2-40B4-BE49-F238E27FC236}">
                  <a16:creationId xmlns:a16="http://schemas.microsoft.com/office/drawing/2014/main" id="{088C2023-8891-D532-23C4-133AE9252C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7197" y="1742829"/>
              <a:ext cx="252000" cy="252000"/>
            </a:xfrm>
            <a:prstGeom prst="rect">
              <a:avLst/>
            </a:prstGeom>
          </p:spPr>
        </p:pic>
      </p:grpSp>
      <mc:AlternateContent xmlns:mc="http://schemas.openxmlformats.org/markup-compatibility/2006">
        <mc:Choice xmlns:am3d="http://schemas.microsoft.com/office/drawing/2017/model3d" Requires="am3d">
          <p:graphicFrame>
            <p:nvGraphicFramePr>
              <p:cNvPr id="29" name="3D Model 28">
                <a:extLst>
                  <a:ext uri="{FF2B5EF4-FFF2-40B4-BE49-F238E27FC236}">
                    <a16:creationId xmlns:a16="http://schemas.microsoft.com/office/drawing/2014/main" id="{A9303E51-593D-EDFD-69A3-96D8B5B7FBE4}"/>
                  </a:ext>
                </a:extLst>
              </p:cNvPr>
              <p:cNvGraphicFramePr>
                <a:graphicFrameLocks noChangeAspect="1"/>
              </p:cNvGraphicFramePr>
              <p:nvPr>
                <p:extLst>
                  <p:ext uri="{D42A27DB-BD31-4B8C-83A1-F6EECF244321}">
                    <p14:modId xmlns:p14="http://schemas.microsoft.com/office/powerpoint/2010/main" val="1041829994"/>
                  </p:ext>
                </p:extLst>
              </p:nvPr>
            </p:nvGraphicFramePr>
            <p:xfrm>
              <a:off x="-4054865" y="-2822246"/>
              <a:ext cx="15761324" cy="11808404"/>
            </p:xfrm>
            <a:graphic>
              <a:graphicData uri="http://schemas.microsoft.com/office/drawing/2017/model3d">
                <am3d:model3d r:embed="rId5">
                  <am3d:spPr>
                    <a:xfrm>
                      <a:off x="0" y="0"/>
                      <a:ext cx="15761324" cy="11808404"/>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10061737" ay="1660237" az="10415611"/>
                    <am3d:postTrans dx="0" dy="0" dz="0"/>
                  </am3d:trans>
                  <am3d:raster rName="Office3DRenderer" rVer="16.0.8326">
                    <am3d:blip r:embed="rId6"/>
                  </am3d:raster>
                  <am3d:objViewport viewportSz="1761168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9" name="3D Model 28">
                <a:extLst>
                  <a:ext uri="{FF2B5EF4-FFF2-40B4-BE49-F238E27FC236}">
                    <a16:creationId xmlns:a16="http://schemas.microsoft.com/office/drawing/2014/main" id="{A9303E51-593D-EDFD-69A3-96D8B5B7FBE4}"/>
                  </a:ext>
                </a:extLst>
              </p:cNvPr>
              <p:cNvPicPr>
                <a:picLocks noGrp="1" noRot="1" noChangeAspect="1" noMove="1" noResize="1" noEditPoints="1" noAdjustHandles="1" noChangeArrowheads="1" noChangeShapeType="1" noCrop="1"/>
              </p:cNvPicPr>
              <p:nvPr/>
            </p:nvPicPr>
            <p:blipFill>
              <a:blip r:embed="rId6"/>
              <a:stretch>
                <a:fillRect/>
              </a:stretch>
            </p:blipFill>
            <p:spPr>
              <a:xfrm>
                <a:off x="-4054865" y="-2822246"/>
                <a:ext cx="15761324" cy="11808404"/>
              </a:xfrm>
              <a:prstGeom prst="rect">
                <a:avLst/>
              </a:prstGeom>
            </p:spPr>
          </p:pic>
        </mc:Fallback>
      </mc:AlternateContent>
      <p:sp>
        <p:nvSpPr>
          <p:cNvPr id="4" name="Rectangle 3">
            <a:extLst>
              <a:ext uri="{FF2B5EF4-FFF2-40B4-BE49-F238E27FC236}">
                <a16:creationId xmlns:a16="http://schemas.microsoft.com/office/drawing/2014/main" id="{DD29C37E-CE66-E9EC-B355-F98706942670}"/>
              </a:ext>
            </a:extLst>
          </p:cNvPr>
          <p:cNvSpPr/>
          <p:nvPr/>
        </p:nvSpPr>
        <p:spPr>
          <a:xfrm>
            <a:off x="4180893" y="2786351"/>
            <a:ext cx="1980030" cy="923330"/>
          </a:xfrm>
          <a:prstGeom prst="rect">
            <a:avLst/>
          </a:prstGeom>
          <a:noFill/>
        </p:spPr>
        <p:txBody>
          <a:bodyPr wrap="none" lIns="91440" tIns="45720" rIns="91440" bIns="45720">
            <a:spAutoFit/>
          </a:bodyPr>
          <a:lstStyle/>
          <a:p>
            <a:pPr algn="ctr"/>
            <a:r>
              <a:rPr lang="en-US" sz="5400" dirty="0">
                <a:ln w="0"/>
                <a:effectLst>
                  <a:outerShdw blurRad="38100" dist="19050" dir="2700000" algn="tl" rotWithShape="0">
                    <a:schemeClr val="dk1">
                      <a:alpha val="40000"/>
                    </a:schemeClr>
                  </a:outerShdw>
                </a:effectLst>
              </a:rPr>
              <a:t>4.8 </a:t>
            </a:r>
            <a:r>
              <a:rPr lang="en-US" sz="5400" dirty="0" err="1">
                <a:ln w="0"/>
                <a:effectLst>
                  <a:outerShdw blurRad="38100" dist="19050" dir="2700000" algn="tl" rotWithShape="0">
                    <a:schemeClr val="dk1">
                      <a:alpha val="40000"/>
                    </a:schemeClr>
                  </a:outerShdw>
                </a:effectLst>
              </a:rPr>
              <a:t>kN</a:t>
            </a:r>
            <a:endParaRPr lang="en-US" sz="5400" b="0" cap="none" spc="0" dirty="0">
              <a:ln w="0"/>
              <a:solidFill>
                <a:schemeClr val="tx1"/>
              </a:solidFill>
              <a:effectLst>
                <a:outerShdw blurRad="38100" dist="19050" dir="2700000" algn="tl" rotWithShape="0">
                  <a:schemeClr val="dk1">
                    <a:alpha val="40000"/>
                  </a:schemeClr>
                </a:outerShdw>
              </a:effectLst>
            </a:endParaRPr>
          </a:p>
        </p:txBody>
      </p:sp>
      <p:sp>
        <p:nvSpPr>
          <p:cNvPr id="7" name="Rectangle 6">
            <a:extLst>
              <a:ext uri="{FF2B5EF4-FFF2-40B4-BE49-F238E27FC236}">
                <a16:creationId xmlns:a16="http://schemas.microsoft.com/office/drawing/2014/main" id="{F5BC3347-6464-B53A-584B-1DB23A69E217}"/>
              </a:ext>
            </a:extLst>
          </p:cNvPr>
          <p:cNvSpPr/>
          <p:nvPr/>
        </p:nvSpPr>
        <p:spPr>
          <a:xfrm>
            <a:off x="7187582" y="1155136"/>
            <a:ext cx="4692361" cy="2554545"/>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a:latin typeface="+mj-lt"/>
              </a:rPr>
              <a:t>Our device uses a </a:t>
            </a:r>
            <a:r>
              <a:rPr lang="en-US" sz="2000" b="1">
                <a:latin typeface="+mj-lt"/>
              </a:rPr>
              <a:t>gas spring (piston) mechanism</a:t>
            </a:r>
            <a:r>
              <a:rPr lang="en-US" sz="2000">
                <a:latin typeface="+mj-lt"/>
              </a:rPr>
              <a:t> to assist the sit-to-stand motion.</a:t>
            </a:r>
          </a:p>
          <a:p>
            <a:pPr marL="342900" indent="-342900">
              <a:buFont typeface="Arial" panose="020B0604020202020204" pitchFamily="34" charset="0"/>
              <a:buChar char="•"/>
            </a:pPr>
            <a:r>
              <a:rPr lang="en-US" sz="2000">
                <a:latin typeface="+mj-lt"/>
              </a:rPr>
              <a:t>The piston generates an </a:t>
            </a:r>
            <a:r>
              <a:rPr lang="en-US" sz="2000" b="1">
                <a:latin typeface="+mj-lt"/>
              </a:rPr>
              <a:t>upward torque on the seat</a:t>
            </a:r>
            <a:r>
              <a:rPr lang="en-US" sz="2000">
                <a:latin typeface="+mj-lt"/>
              </a:rPr>
              <a:t>, reducing how much force the user must push with their legs.</a:t>
            </a:r>
          </a:p>
          <a:p>
            <a:pPr marL="342900" indent="-342900">
              <a:buFont typeface="Arial" panose="020B0604020202020204" pitchFamily="34" charset="0"/>
              <a:buChar char="•"/>
            </a:pPr>
            <a:r>
              <a:rPr lang="en-US" sz="2000">
                <a:latin typeface="+mj-lt"/>
              </a:rPr>
              <a:t>Provides roughly </a:t>
            </a:r>
            <a:r>
              <a:rPr lang="en-US" sz="2000" b="1">
                <a:latin typeface="+mj-lt"/>
              </a:rPr>
              <a:t>40–50% of lift assistance</a:t>
            </a:r>
            <a:r>
              <a:rPr lang="en-US" sz="2000">
                <a:latin typeface="+mj-lt"/>
              </a:rPr>
              <a:t> for a typical user.</a:t>
            </a:r>
            <a:endParaRPr lang="en-US" sz="2000" b="0" cap="none" spc="0">
              <a:ln w="0"/>
              <a:solidFill>
                <a:schemeClr val="tx1"/>
              </a:solidFill>
              <a:effectLst>
                <a:outerShdw blurRad="38100" dist="19050" dir="2700000" algn="tl" rotWithShape="0">
                  <a:schemeClr val="dk1">
                    <a:alpha val="40000"/>
                  </a:schemeClr>
                </a:outerShdw>
              </a:effectLst>
              <a:latin typeface="+mj-lt"/>
            </a:endParaRPr>
          </a:p>
        </p:txBody>
      </p:sp>
      <p:sp>
        <p:nvSpPr>
          <p:cNvPr id="17" name="TextBox 16">
            <a:extLst>
              <a:ext uri="{FF2B5EF4-FFF2-40B4-BE49-F238E27FC236}">
                <a16:creationId xmlns:a16="http://schemas.microsoft.com/office/drawing/2014/main" id="{18F4FF9D-736C-AD25-DC29-DDA9656C0D18}"/>
              </a:ext>
            </a:extLst>
          </p:cNvPr>
          <p:cNvSpPr txBox="1"/>
          <p:nvPr/>
        </p:nvSpPr>
        <p:spPr>
          <a:xfrm>
            <a:off x="7261335" y="550804"/>
            <a:ext cx="344895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dirty="0">
                <a:ln>
                  <a:noFill/>
                </a:ln>
                <a:solidFill>
                  <a:srgbClr val="002060"/>
                </a:solidFill>
                <a:effectLst/>
                <a:uLnTx/>
                <a:uFillTx/>
                <a:latin typeface="Darker Grotesque SemiBold"/>
                <a:ea typeface="+mn-ea"/>
                <a:cs typeface="+mn-cs"/>
              </a:rPr>
              <a:t>How the Lift Works:</a:t>
            </a:r>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C85BDF1F-C518-F5C3-B1A0-6FC82DBD1DC4}"/>
                  </a:ext>
                </a:extLst>
              </p:cNvPr>
              <p:cNvSpPr/>
              <p:nvPr/>
            </p:nvSpPr>
            <p:spPr>
              <a:xfrm>
                <a:off x="7031552" y="1155136"/>
                <a:ext cx="5465247" cy="1015663"/>
              </a:xfrm>
              <a:prstGeom prst="rect">
                <a:avLst/>
              </a:prstGeom>
              <a:noFill/>
            </p:spPr>
            <p:txBody>
              <a:bodyPr wrap="square" lIns="91440" tIns="45720" rIns="91440" bIns="45720">
                <a:spAutoFit/>
              </a:bodyPr>
              <a:lstStyle/>
              <a:p>
                <a:r>
                  <a:rPr lang="en-US" sz="2000">
                    <a:ln w="0"/>
                    <a:effectLst/>
                    <a:latin typeface="+mj-lt"/>
                    <a:sym typeface="Wingdings" panose="05000000000000000000" pitchFamily="2" charset="2"/>
                  </a:rPr>
                  <a:t> Required piston force </a:t>
                </a:r>
                <a14:m>
                  <m:oMath xmlns:m="http://schemas.openxmlformats.org/officeDocument/2006/math">
                    <m:r>
                      <a:rPr lang="en-US" sz="2000" i="1" smtClean="0">
                        <a:ln w="0"/>
                        <a:effectLst/>
                        <a:latin typeface="Cambria Math" panose="02040503050406030204" pitchFamily="18" charset="0"/>
                        <a:ea typeface="Cambria Math" panose="02040503050406030204" pitchFamily="18" charset="0"/>
                        <a:sym typeface="Wingdings" panose="05000000000000000000" pitchFamily="2" charset="2"/>
                      </a:rPr>
                      <m:t>≈</m:t>
                    </m:r>
                    <m:r>
                      <a:rPr lang="en-AU" sz="2000" b="0" i="1" smtClean="0">
                        <a:ln w="0"/>
                        <a:effectLst/>
                        <a:latin typeface="Cambria Math" panose="02040503050406030204" pitchFamily="18" charset="0"/>
                        <a:ea typeface="Cambria Math" panose="02040503050406030204" pitchFamily="18" charset="0"/>
                        <a:sym typeface="Wingdings" panose="05000000000000000000" pitchFamily="2" charset="2"/>
                      </a:rPr>
                      <m:t>3−4 </m:t>
                    </m:r>
                    <m:r>
                      <a:rPr lang="en-AU" sz="2000" b="0" i="1" smtClean="0">
                        <a:ln w="0"/>
                        <a:effectLst/>
                        <a:latin typeface="Cambria Math" panose="02040503050406030204" pitchFamily="18" charset="0"/>
                        <a:ea typeface="Cambria Math" panose="02040503050406030204" pitchFamily="18" charset="0"/>
                        <a:sym typeface="Wingdings" panose="05000000000000000000" pitchFamily="2" charset="2"/>
                      </a:rPr>
                      <m:t>𝑘𝑁</m:t>
                    </m:r>
                    <m:r>
                      <a:rPr lang="en-AU" sz="2000" b="0" i="1" smtClean="0">
                        <a:ln w="0"/>
                        <a:effectLst/>
                        <a:latin typeface="Cambria Math" panose="02040503050406030204" pitchFamily="18" charset="0"/>
                        <a:ea typeface="Cambria Math" panose="02040503050406030204" pitchFamily="18" charset="0"/>
                        <a:sym typeface="Wingdings" panose="05000000000000000000" pitchFamily="2" charset="2"/>
                      </a:rPr>
                      <m:t> </m:t>
                    </m:r>
                  </m:oMath>
                </a14:m>
                <a:r>
                  <a:rPr lang="en-US" sz="2000" b="0" cap="none" spc="0">
                    <a:ln w="0"/>
                    <a:solidFill>
                      <a:schemeClr val="tx1"/>
                    </a:solidFill>
                    <a:effectLst/>
                    <a:latin typeface="+mj-lt"/>
                  </a:rPr>
                  <a:t>at the hardest part of lift. </a:t>
                </a:r>
                <a:br>
                  <a:rPr lang="en-US" sz="2000" b="0" cap="none" spc="0">
                    <a:ln w="0"/>
                    <a:solidFill>
                      <a:schemeClr val="tx1"/>
                    </a:solidFill>
                    <a:effectLst/>
                    <a:latin typeface="+mj-lt"/>
                  </a:rPr>
                </a:br>
                <a:r>
                  <a:rPr lang="en-US" sz="2000" b="0" cap="none" spc="0">
                    <a:ln w="0"/>
                    <a:solidFill>
                      <a:schemeClr val="tx1"/>
                    </a:solidFill>
                    <a:effectLst/>
                    <a:latin typeface="+mj-lt"/>
                    <a:sym typeface="Wingdings" panose="05000000000000000000" pitchFamily="2" charset="2"/>
                  </a:rPr>
                  <a:t> we select a piston </a:t>
                </a:r>
                <a14:m>
                  <m:oMath xmlns:m="http://schemas.openxmlformats.org/officeDocument/2006/math">
                    <m:r>
                      <a:rPr lang="en-US" sz="2000" i="1">
                        <a:ln w="0"/>
                        <a:effectLst/>
                        <a:latin typeface="Cambria Math" panose="02040503050406030204" pitchFamily="18" charset="0"/>
                        <a:ea typeface="Cambria Math" panose="02040503050406030204" pitchFamily="18" charset="0"/>
                        <a:sym typeface="Wingdings" panose="05000000000000000000" pitchFamily="2" charset="2"/>
                      </a:rPr>
                      <m:t>≈</m:t>
                    </m:r>
                    <m:r>
                      <a:rPr lang="en-AU" sz="2000" b="0" i="1" smtClean="0">
                        <a:ln w="0"/>
                        <a:effectLst/>
                        <a:latin typeface="Cambria Math" panose="02040503050406030204" pitchFamily="18" charset="0"/>
                        <a:ea typeface="Cambria Math" panose="02040503050406030204" pitchFamily="18" charset="0"/>
                        <a:sym typeface="Wingdings" panose="05000000000000000000" pitchFamily="2" charset="2"/>
                      </a:rPr>
                      <m:t>4</m:t>
                    </m:r>
                    <m:r>
                      <a:rPr lang="en-AU" sz="2000" i="1">
                        <a:ln w="0"/>
                        <a:effectLst/>
                        <a:latin typeface="Cambria Math" panose="02040503050406030204" pitchFamily="18" charset="0"/>
                        <a:ea typeface="Cambria Math" panose="02040503050406030204" pitchFamily="18" charset="0"/>
                        <a:sym typeface="Wingdings" panose="05000000000000000000" pitchFamily="2" charset="2"/>
                      </a:rPr>
                      <m:t>−4</m:t>
                    </m:r>
                    <m:r>
                      <a:rPr lang="en-AU" sz="2000" b="0" i="1" smtClean="0">
                        <a:ln w="0"/>
                        <a:effectLst/>
                        <a:latin typeface="Cambria Math" panose="02040503050406030204" pitchFamily="18" charset="0"/>
                        <a:ea typeface="Cambria Math" panose="02040503050406030204" pitchFamily="18" charset="0"/>
                        <a:sym typeface="Wingdings" panose="05000000000000000000" pitchFamily="2" charset="2"/>
                      </a:rPr>
                      <m:t>.8</m:t>
                    </m:r>
                    <m:r>
                      <a:rPr lang="en-AU" sz="2000" i="1">
                        <a:ln w="0"/>
                        <a:effectLst/>
                        <a:latin typeface="Cambria Math" panose="02040503050406030204" pitchFamily="18" charset="0"/>
                        <a:ea typeface="Cambria Math" panose="02040503050406030204" pitchFamily="18" charset="0"/>
                        <a:sym typeface="Wingdings" panose="05000000000000000000" pitchFamily="2" charset="2"/>
                      </a:rPr>
                      <m:t> </m:t>
                    </m:r>
                    <m:r>
                      <a:rPr lang="en-AU" sz="2000" i="1">
                        <a:ln w="0"/>
                        <a:effectLst/>
                        <a:latin typeface="Cambria Math" panose="02040503050406030204" pitchFamily="18" charset="0"/>
                        <a:ea typeface="Cambria Math" panose="02040503050406030204" pitchFamily="18" charset="0"/>
                        <a:sym typeface="Wingdings" panose="05000000000000000000" pitchFamily="2" charset="2"/>
                      </a:rPr>
                      <m:t>𝑘𝑁</m:t>
                    </m:r>
                  </m:oMath>
                </a14:m>
                <a:r>
                  <a:rPr lang="en-US" sz="2000" b="0" cap="none" spc="0">
                    <a:ln w="0"/>
                    <a:solidFill>
                      <a:schemeClr val="tx1"/>
                    </a:solidFill>
                    <a:effectLst/>
                    <a:latin typeface="+mj-lt"/>
                    <a:sym typeface="Wingdings" panose="05000000000000000000" pitchFamily="2" charset="2"/>
                  </a:rPr>
                  <a:t> </a:t>
                </a:r>
                <a:endParaRPr lang="en-US" sz="2000" b="0" cap="none" spc="0">
                  <a:ln w="0"/>
                  <a:solidFill>
                    <a:schemeClr val="tx1"/>
                  </a:solidFill>
                  <a:effectLst/>
                  <a:latin typeface="+mj-lt"/>
                </a:endParaRPr>
              </a:p>
            </p:txBody>
          </p:sp>
        </mc:Choice>
        <mc:Fallback xmlns="">
          <p:sp>
            <p:nvSpPr>
              <p:cNvPr id="18" name="Rectangle 17">
                <a:extLst>
                  <a:ext uri="{FF2B5EF4-FFF2-40B4-BE49-F238E27FC236}">
                    <a16:creationId xmlns:a16="http://schemas.microsoft.com/office/drawing/2014/main" id="{C85BDF1F-C518-F5C3-B1A0-6FC82DBD1DC4}"/>
                  </a:ext>
                </a:extLst>
              </p:cNvPr>
              <p:cNvSpPr>
                <a:spLocks noRot="1" noChangeAspect="1" noMove="1" noResize="1" noEditPoints="1" noAdjustHandles="1" noChangeArrowheads="1" noChangeShapeType="1" noTextEdit="1"/>
              </p:cNvSpPr>
              <p:nvPr/>
            </p:nvSpPr>
            <p:spPr>
              <a:xfrm>
                <a:off x="7031552" y="1155136"/>
                <a:ext cx="5465247" cy="1015663"/>
              </a:xfrm>
              <a:prstGeom prst="rect">
                <a:avLst/>
              </a:prstGeom>
              <a:blipFill>
                <a:blip r:embed="rId7"/>
                <a:stretch>
                  <a:fillRect l="-1115" t="-3593" b="-9581"/>
                </a:stretch>
              </a:blipFill>
            </p:spPr>
            <p:txBody>
              <a:bodyPr/>
              <a:lstStyle/>
              <a:p>
                <a:r>
                  <a:rPr lang="en-US">
                    <a:noFill/>
                  </a:rPr>
                  <a:t> </a:t>
                </a:r>
              </a:p>
            </p:txBody>
          </p:sp>
        </mc:Fallback>
      </mc:AlternateContent>
      <p:sp>
        <p:nvSpPr>
          <p:cNvPr id="32" name="TextBox 31">
            <a:extLst>
              <a:ext uri="{FF2B5EF4-FFF2-40B4-BE49-F238E27FC236}">
                <a16:creationId xmlns:a16="http://schemas.microsoft.com/office/drawing/2014/main" id="{FAA23718-8A9D-7E96-A5DD-4C515092A4A6}"/>
              </a:ext>
            </a:extLst>
          </p:cNvPr>
          <p:cNvSpPr txBox="1"/>
          <p:nvPr/>
        </p:nvSpPr>
        <p:spPr>
          <a:xfrm>
            <a:off x="6879152" y="2202550"/>
            <a:ext cx="5465247" cy="2246769"/>
          </a:xfrm>
          <a:prstGeom prst="rect">
            <a:avLst/>
          </a:prstGeom>
          <a:noFill/>
        </p:spPr>
        <p:txBody>
          <a:bodyPr wrap="square">
            <a:spAutoFit/>
          </a:bodyPr>
          <a:lstStyle/>
          <a:p>
            <a:pPr lvl="0">
              <a:defRPr/>
            </a:pPr>
            <a:endParaRPr lang="en-AU" sz="2000"/>
          </a:p>
          <a:p>
            <a:pPr lvl="0">
              <a:defRPr/>
            </a:pPr>
            <a:r>
              <a:rPr lang="en-AU" sz="2000"/>
              <a:t>Why a gas spring?</a:t>
            </a:r>
          </a:p>
          <a:p>
            <a:pPr marL="342900" lvl="0" indent="-342900">
              <a:buFont typeface="Arial" panose="020B0604020202020204" pitchFamily="34" charset="0"/>
              <a:buChar char="•"/>
              <a:defRPr/>
            </a:pPr>
            <a:r>
              <a:rPr lang="en-US" sz="2000" b="1"/>
              <a:t>Self-powered</a:t>
            </a:r>
            <a:r>
              <a:rPr lang="en-US" sz="2000"/>
              <a:t> : no battery, no cables.</a:t>
            </a:r>
          </a:p>
          <a:p>
            <a:pPr marL="342900" lvl="0" indent="-342900">
              <a:buFont typeface="Arial" panose="020B0604020202020204" pitchFamily="34" charset="0"/>
              <a:buChar char="•"/>
              <a:defRPr/>
            </a:pPr>
            <a:r>
              <a:rPr lang="en-US" sz="2000" b="1"/>
              <a:t>Built-in damping</a:t>
            </a:r>
            <a:r>
              <a:rPr lang="en-US" sz="2000"/>
              <a:t> : smooth, controlled rise.</a:t>
            </a:r>
          </a:p>
          <a:p>
            <a:pPr marL="342900" lvl="0" indent="-342900">
              <a:buFont typeface="Arial" panose="020B0604020202020204" pitchFamily="34" charset="0"/>
              <a:buChar char="•"/>
              <a:defRPr/>
            </a:pPr>
            <a:r>
              <a:rPr lang="en-US" sz="2000" b="1"/>
              <a:t>Compact &amp; enclosed</a:t>
            </a:r>
            <a:r>
              <a:rPr lang="en-US" sz="2000"/>
              <a:t> : easy to package under the seat, no exposed coils.</a:t>
            </a:r>
            <a:br>
              <a:rPr lang="en-AU" sz="2000"/>
            </a:br>
            <a:endParaRPr kumimoji="0" lang="en-US" sz="20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Darker Grotesque SemiBold"/>
              <a:ea typeface="+mn-ea"/>
              <a:cs typeface="+mn-cs"/>
            </a:endParaRPr>
          </a:p>
        </p:txBody>
      </p:sp>
      <p:pic>
        <p:nvPicPr>
          <p:cNvPr id="3" name="Picture 2" descr="A logo with text and a square with a arrow up&#10;&#10;AI-generated content may be incorrect.">
            <a:extLst>
              <a:ext uri="{FF2B5EF4-FFF2-40B4-BE49-F238E27FC236}">
                <a16:creationId xmlns:a16="http://schemas.microsoft.com/office/drawing/2014/main" id="{1376BDE4-FF88-FA07-59C6-CCBCEC0078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95818" y="5620082"/>
            <a:ext cx="984125" cy="984125"/>
          </a:xfrm>
          <a:prstGeom prst="roundRect">
            <a:avLst/>
          </a:prstGeom>
        </p:spPr>
      </p:pic>
    </p:spTree>
    <p:extLst>
      <p:ext uri="{BB962C8B-B14F-4D97-AF65-F5344CB8AC3E}">
        <p14:creationId xmlns:p14="http://schemas.microsoft.com/office/powerpoint/2010/main" val="46999952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7"/>
                                        </p:tgtEl>
                                      </p:cBhvr>
                                    </p:animEffect>
                                    <p:anim calcmode="lin" valueType="num">
                                      <p:cBhvr>
                                        <p:cTn id="7" dur="1000"/>
                                        <p:tgtEl>
                                          <p:spTgt spid="7"/>
                                        </p:tgtEl>
                                        <p:attrNameLst>
                                          <p:attrName>ppt_x</p:attrName>
                                        </p:attrNameLst>
                                      </p:cBhvr>
                                      <p:tavLst>
                                        <p:tav tm="0">
                                          <p:val>
                                            <p:strVal val="ppt_x"/>
                                          </p:val>
                                        </p:tav>
                                        <p:tav tm="100000">
                                          <p:val>
                                            <p:strVal val="ppt_x"/>
                                          </p:val>
                                        </p:tav>
                                      </p:tavLst>
                                    </p:anim>
                                    <p:anim calcmode="lin" valueType="num">
                                      <p:cBhvr>
                                        <p:cTn id="8" dur="1000"/>
                                        <p:tgtEl>
                                          <p:spTgt spid="7"/>
                                        </p:tgtEl>
                                        <p:attrNameLst>
                                          <p:attrName>ppt_y</p:attrName>
                                        </p:attrNameLst>
                                      </p:cBhvr>
                                      <p:tavLst>
                                        <p:tav tm="0">
                                          <p:val>
                                            <p:strVal val="ppt_y"/>
                                          </p:val>
                                        </p:tav>
                                        <p:tav tm="100000">
                                          <p:val>
                                            <p:strVal val="ppt_y+.1"/>
                                          </p:val>
                                        </p:tav>
                                      </p:tavLst>
                                    </p:anim>
                                    <p:set>
                                      <p:cBhvr>
                                        <p:cTn id="9" dur="1" fill="hold">
                                          <p:stCondLst>
                                            <p:cond delay="999"/>
                                          </p:stCondLst>
                                        </p:cTn>
                                        <p:tgtEl>
                                          <p:spTgt spid="7"/>
                                        </p:tgtEl>
                                        <p:attrNameLst>
                                          <p:attrName>style.visibility</p:attrName>
                                        </p:attrNameLst>
                                      </p:cBhvr>
                                      <p:to>
                                        <p:strVal val="hidden"/>
                                      </p:to>
                                    </p:set>
                                  </p:childTnLst>
                                </p:cTn>
                              </p:par>
                            </p:childTnLst>
                          </p:cTn>
                        </p:par>
                        <p:par>
                          <p:cTn id="10" fill="hold">
                            <p:stCondLst>
                              <p:cond delay="1000"/>
                            </p:stCondLst>
                            <p:childTnLst>
                              <p:par>
                                <p:cTn id="11" presetID="16" presetClass="entr" presetSubtype="21"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barn(inVertical)">
                                      <p:cBhvr>
                                        <p:cTn id="13" dur="500"/>
                                        <p:tgtEl>
                                          <p:spTgt spid="18"/>
                                        </p:tgtEl>
                                      </p:cBhvr>
                                    </p:animEffect>
                                  </p:childTnLst>
                                </p:cTn>
                              </p:par>
                              <p:par>
                                <p:cTn id="14" presetID="42"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1000"/>
                                        <p:tgtEl>
                                          <p:spTgt spid="32"/>
                                        </p:tgtEl>
                                      </p:cBhvr>
                                    </p:animEffect>
                                    <p:anim calcmode="lin" valueType="num">
                                      <p:cBhvr>
                                        <p:cTn id="17" dur="1000" fill="hold"/>
                                        <p:tgtEl>
                                          <p:spTgt spid="32"/>
                                        </p:tgtEl>
                                        <p:attrNameLst>
                                          <p:attrName>ppt_x</p:attrName>
                                        </p:attrNameLst>
                                      </p:cBhvr>
                                      <p:tavLst>
                                        <p:tav tm="0">
                                          <p:val>
                                            <p:strVal val="#ppt_x"/>
                                          </p:val>
                                        </p:tav>
                                        <p:tav tm="100000">
                                          <p:val>
                                            <p:strVal val="#ppt_x"/>
                                          </p:val>
                                        </p:tav>
                                      </p:tavLst>
                                    </p:anim>
                                    <p:anim calcmode="lin" valueType="num">
                                      <p:cBhvr>
                                        <p:cTn id="18" dur="1000" fill="hold"/>
                                        <p:tgtEl>
                                          <p:spTgt spid="32"/>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18" grpId="0"/>
      <p:bldP spid="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0B39E-7812-81E0-ABD3-C570E6BDB377}"/>
            </a:ext>
          </a:extLst>
        </p:cNvPr>
        <p:cNvGrpSpPr/>
        <p:nvPr/>
      </p:nvGrpSpPr>
      <p:grpSpPr>
        <a:xfrm>
          <a:off x="0" y="0"/>
          <a:ext cx="0" cy="0"/>
          <a:chOff x="0" y="0"/>
          <a:chExt cx="0" cy="0"/>
        </a:xfrm>
      </p:grpSpPr>
      <p:pic>
        <p:nvPicPr>
          <p:cNvPr id="30" name="Picture 29" descr="A white and blue background&#10;&#10;AI-generated content may be incorrect.">
            <a:extLst>
              <a:ext uri="{FF2B5EF4-FFF2-40B4-BE49-F238E27FC236}">
                <a16:creationId xmlns:a16="http://schemas.microsoft.com/office/drawing/2014/main" id="{816E054A-EFF9-61AC-DF96-E3FD0953D5C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101EAD6B-1EDC-C709-5850-D45734AFDC98}"/>
              </a:ext>
            </a:extLst>
          </p:cNvPr>
          <p:cNvSpPr txBox="1"/>
          <p:nvPr/>
        </p:nvSpPr>
        <p:spPr>
          <a:xfrm>
            <a:off x="299484" y="407551"/>
            <a:ext cx="120866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44596C"/>
                </a:solidFill>
                <a:effectLst/>
                <a:uLnTx/>
                <a:uFillTx/>
                <a:latin typeface="Darker Grotesque" pitchFamily="2" charset="0"/>
              </a:rPr>
              <a:t>Easy</a:t>
            </a:r>
            <a:r>
              <a:rPr lang="en-US" kern="0">
                <a:solidFill>
                  <a:srgbClr val="44596C"/>
                </a:solidFill>
                <a:latin typeface="Darker Grotesque" pitchFamily="2" charset="0"/>
              </a:rPr>
              <a:t>-Up CAD</a:t>
            </a:r>
            <a:endParaRPr kumimoji="0" lang="en-US" b="0" i="0" u="none" strike="noStrike" kern="0" cap="none" spc="0" normalizeH="0" baseline="0" noProof="0">
              <a:ln>
                <a:noFill/>
              </a:ln>
              <a:solidFill>
                <a:srgbClr val="44596C"/>
              </a:solidFill>
              <a:effectLst/>
              <a:uLnTx/>
              <a:uFillTx/>
              <a:latin typeface="Darker Grotesque" pitchFamily="2" charset="0"/>
            </a:endParaRPr>
          </a:p>
        </p:txBody>
      </p:sp>
      <p:grpSp>
        <p:nvGrpSpPr>
          <p:cNvPr id="25" name="!!model">
            <a:extLst>
              <a:ext uri="{FF2B5EF4-FFF2-40B4-BE49-F238E27FC236}">
                <a16:creationId xmlns:a16="http://schemas.microsoft.com/office/drawing/2014/main" id="{E4543E45-7F54-A302-2EB2-D17E1B43BD09}"/>
              </a:ext>
            </a:extLst>
          </p:cNvPr>
          <p:cNvGrpSpPr/>
          <p:nvPr/>
        </p:nvGrpSpPr>
        <p:grpSpPr>
          <a:xfrm>
            <a:off x="11198873" y="171011"/>
            <a:ext cx="507586" cy="507586"/>
            <a:chOff x="11129404" y="1615036"/>
            <a:chExt cx="507586" cy="507586"/>
          </a:xfrm>
        </p:grpSpPr>
        <p:sp>
          <p:nvSpPr>
            <p:cNvPr id="26" name="Oval 25">
              <a:extLst>
                <a:ext uri="{FF2B5EF4-FFF2-40B4-BE49-F238E27FC236}">
                  <a16:creationId xmlns:a16="http://schemas.microsoft.com/office/drawing/2014/main" id="{EEEEAFA4-62B7-D162-9717-C28F9DA657B6}"/>
                </a:ext>
              </a:extLst>
            </p:cNvPr>
            <p:cNvSpPr/>
            <p:nvPr/>
          </p:nvSpPr>
          <p:spPr>
            <a:xfrm>
              <a:off x="11129404" y="1615036"/>
              <a:ext cx="507586" cy="507586"/>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7" name="Graphic 26">
              <a:extLst>
                <a:ext uri="{FF2B5EF4-FFF2-40B4-BE49-F238E27FC236}">
                  <a16:creationId xmlns:a16="http://schemas.microsoft.com/office/drawing/2014/main" id="{98622041-89C3-61E0-A8DD-8F937143FC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57197" y="1742829"/>
              <a:ext cx="252000" cy="252000"/>
            </a:xfrm>
            <a:prstGeom prst="rect">
              <a:avLst/>
            </a:prstGeom>
          </p:spPr>
        </p:pic>
      </p:grpSp>
      <p:pic>
        <p:nvPicPr>
          <p:cNvPr id="4" name="Picture 3" descr="A white rectangular object with holes&#10;&#10;AI-generated content may be incorrect.">
            <a:extLst>
              <a:ext uri="{FF2B5EF4-FFF2-40B4-BE49-F238E27FC236}">
                <a16:creationId xmlns:a16="http://schemas.microsoft.com/office/drawing/2014/main" id="{89B27891-8523-61B4-B804-B35F5F377FBC}"/>
              </a:ext>
            </a:extLst>
          </p:cNvPr>
          <p:cNvPicPr>
            <a:picLocks noChangeAspect="1"/>
          </p:cNvPicPr>
          <p:nvPr/>
        </p:nvPicPr>
        <p:blipFill>
          <a:blip r:embed="rId6"/>
          <a:stretch>
            <a:fillRect/>
          </a:stretch>
        </p:blipFill>
        <p:spPr>
          <a:xfrm>
            <a:off x="385545" y="4306220"/>
            <a:ext cx="4370038" cy="2155072"/>
          </a:xfrm>
          <a:prstGeom prst="rect">
            <a:avLst/>
          </a:prstGeom>
        </p:spPr>
      </p:pic>
      <p:pic>
        <p:nvPicPr>
          <p:cNvPr id="7" name="Picture 6" descr="A drawing of a graph&#10;&#10;AI-generated content may be incorrect.">
            <a:extLst>
              <a:ext uri="{FF2B5EF4-FFF2-40B4-BE49-F238E27FC236}">
                <a16:creationId xmlns:a16="http://schemas.microsoft.com/office/drawing/2014/main" id="{F70D92BD-A351-723B-007E-89A006F125AE}"/>
              </a:ext>
            </a:extLst>
          </p:cNvPr>
          <p:cNvPicPr>
            <a:picLocks noChangeAspect="1"/>
          </p:cNvPicPr>
          <p:nvPr/>
        </p:nvPicPr>
        <p:blipFill>
          <a:blip r:embed="rId7"/>
          <a:stretch>
            <a:fillRect/>
          </a:stretch>
        </p:blipFill>
        <p:spPr>
          <a:xfrm>
            <a:off x="5978503" y="167898"/>
            <a:ext cx="4974892" cy="3138408"/>
          </a:xfrm>
          <a:prstGeom prst="rect">
            <a:avLst/>
          </a:prstGeom>
        </p:spPr>
      </p:pic>
      <p:sp>
        <p:nvSpPr>
          <p:cNvPr id="8" name="TextBox 7">
            <a:extLst>
              <a:ext uri="{FF2B5EF4-FFF2-40B4-BE49-F238E27FC236}">
                <a16:creationId xmlns:a16="http://schemas.microsoft.com/office/drawing/2014/main" id="{0D28E19F-E92E-C2E0-9BAA-6269F99DDA18}"/>
              </a:ext>
            </a:extLst>
          </p:cNvPr>
          <p:cNvSpPr txBox="1"/>
          <p:nvPr/>
        </p:nvSpPr>
        <p:spPr>
          <a:xfrm>
            <a:off x="6096000" y="3418410"/>
            <a:ext cx="546315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alibri"/>
              <a:buChar char="-"/>
            </a:pPr>
            <a:r>
              <a:rPr lang="en-GB" sz="1400" dirty="0">
                <a:latin typeface="+mj-lt"/>
              </a:rPr>
              <a:t>Simulated bend at 0, 90, 180mm of plate interference</a:t>
            </a:r>
            <a:endParaRPr lang="en-US" sz="1400" dirty="0">
              <a:latin typeface="+mj-lt"/>
            </a:endParaRPr>
          </a:p>
        </p:txBody>
      </p:sp>
      <p:sp>
        <p:nvSpPr>
          <p:cNvPr id="9" name="TextBox 8">
            <a:extLst>
              <a:ext uri="{FF2B5EF4-FFF2-40B4-BE49-F238E27FC236}">
                <a16:creationId xmlns:a16="http://schemas.microsoft.com/office/drawing/2014/main" id="{EF191C57-9EB6-6981-D7DD-EBE069917725}"/>
              </a:ext>
            </a:extLst>
          </p:cNvPr>
          <p:cNvSpPr txBox="1"/>
          <p:nvPr/>
        </p:nvSpPr>
        <p:spPr>
          <a:xfrm>
            <a:off x="385545" y="699554"/>
            <a:ext cx="5508623" cy="44012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latin typeface="Century Gothic" panose="020B0502020202020204" pitchFamily="34" charset="0"/>
            </a:endParaRPr>
          </a:p>
          <a:p>
            <a:endParaRPr lang="en-US" sz="2000" dirty="0">
              <a:latin typeface="Century Gothic" panose="020B0502020202020204" pitchFamily="34" charset="0"/>
            </a:endParaRPr>
          </a:p>
          <a:p>
            <a:r>
              <a:rPr lang="en-US" sz="2000" dirty="0">
                <a:latin typeface="Century Gothic" panose="020B0502020202020204" pitchFamily="34" charset="0"/>
              </a:rPr>
              <a:t>a) PE plastic component with limited ability </a:t>
            </a:r>
            <a:r>
              <a:rPr lang="en-US" sz="2000" dirty="0">
                <a:latin typeface="+mj-lt"/>
              </a:rPr>
              <a:t>to</a:t>
            </a:r>
            <a:r>
              <a:rPr lang="en-US" sz="2000" dirty="0">
                <a:latin typeface="Century Gothic" panose="020B0502020202020204" pitchFamily="34" charset="0"/>
              </a:rPr>
              <a:t> bend.</a:t>
            </a:r>
            <a:br>
              <a:rPr lang="en-US" sz="2000" dirty="0">
                <a:latin typeface="Century Gothic" panose="020B0502020202020204" pitchFamily="34" charset="0"/>
              </a:rPr>
            </a:br>
            <a:r>
              <a:rPr lang="en-US" sz="2000" dirty="0">
                <a:latin typeface="Century Gothic" panose="020B0502020202020204" pitchFamily="34" charset="0"/>
              </a:rPr>
              <a:t>     - Unibody design improves durability</a:t>
            </a:r>
            <a:br>
              <a:rPr lang="en-US" sz="2000" dirty="0">
                <a:latin typeface="Century Gothic" panose="020B0502020202020204" pitchFamily="34" charset="0"/>
              </a:rPr>
            </a:br>
            <a:r>
              <a:rPr lang="en-US" sz="2000" dirty="0">
                <a:latin typeface="Century Gothic" panose="020B0502020202020204" pitchFamily="34" charset="0"/>
              </a:rPr>
              <a:t>     - Cheap to mass produce</a:t>
            </a:r>
            <a:br>
              <a:rPr lang="en-US" sz="2000" dirty="0">
                <a:latin typeface="Century Gothic" panose="020B0502020202020204" pitchFamily="34" charset="0"/>
              </a:rPr>
            </a:br>
            <a:endParaRPr lang="en-US" sz="2000" dirty="0">
              <a:latin typeface="Century Gothic" panose="020B0502020202020204" pitchFamily="34" charset="0"/>
            </a:endParaRPr>
          </a:p>
          <a:p>
            <a:r>
              <a:rPr lang="en-US" sz="2000" dirty="0">
                <a:latin typeface="Century Gothic" panose="020B0502020202020204" pitchFamily="34" charset="0"/>
              </a:rPr>
              <a:t>b) Sliding plate mechanism that partially supports the hinge. </a:t>
            </a:r>
            <a:br>
              <a:rPr lang="en-US" sz="2000" dirty="0">
                <a:latin typeface="Century Gothic" panose="020B0502020202020204" pitchFamily="34" charset="0"/>
              </a:rPr>
            </a:br>
            <a:r>
              <a:rPr lang="en-US" sz="2000" dirty="0">
                <a:latin typeface="Century Gothic" panose="020B0502020202020204" pitchFamily="34" charset="0"/>
              </a:rPr>
              <a:t>     - Seat height profile is adjustable for comfort.</a:t>
            </a:r>
          </a:p>
          <a:p>
            <a:pPr marL="342900" indent="-342900">
              <a:buFontTx/>
              <a:buAutoNum type="arabicPeriod"/>
            </a:pPr>
            <a:endParaRPr lang="en-US" sz="2000" dirty="0">
              <a:latin typeface="Century Gothic" panose="020B0502020202020204" pitchFamily="34" charset="0"/>
            </a:endParaRPr>
          </a:p>
          <a:p>
            <a:endParaRPr lang="en-US" sz="2000" dirty="0">
              <a:latin typeface="Century Gothic" panose="020B0502020202020204" pitchFamily="34" charset="0"/>
            </a:endParaRPr>
          </a:p>
          <a:p>
            <a:endParaRPr lang="en-US" sz="2000" dirty="0">
              <a:latin typeface="Century Gothic" panose="020B0502020202020204" pitchFamily="34" charset="0"/>
            </a:endParaRPr>
          </a:p>
        </p:txBody>
      </p:sp>
      <p:sp>
        <p:nvSpPr>
          <p:cNvPr id="3" name="TextBox 2">
            <a:extLst>
              <a:ext uri="{FF2B5EF4-FFF2-40B4-BE49-F238E27FC236}">
                <a16:creationId xmlns:a16="http://schemas.microsoft.com/office/drawing/2014/main" id="{F45EEBC1-964D-8591-B97A-E7042F10CCFB}"/>
              </a:ext>
            </a:extLst>
          </p:cNvPr>
          <p:cNvSpPr txBox="1"/>
          <p:nvPr/>
        </p:nvSpPr>
        <p:spPr>
          <a:xfrm>
            <a:off x="385545" y="6351868"/>
            <a:ext cx="3820695" cy="307777"/>
          </a:xfrm>
          <a:prstGeom prst="rect">
            <a:avLst/>
          </a:prstGeom>
          <a:noFill/>
        </p:spPr>
        <p:txBody>
          <a:bodyPr wrap="square" rtlCol="0">
            <a:spAutoFit/>
          </a:bodyPr>
          <a:lstStyle/>
          <a:p>
            <a:r>
              <a:rPr lang="en-US" sz="1400" dirty="0">
                <a:latin typeface="+mj-lt"/>
              </a:rPr>
              <a:t>a) Model of living hinge</a:t>
            </a:r>
          </a:p>
        </p:txBody>
      </p:sp>
      <p:sp>
        <p:nvSpPr>
          <p:cNvPr id="5" name="TextBox 4">
            <a:extLst>
              <a:ext uri="{FF2B5EF4-FFF2-40B4-BE49-F238E27FC236}">
                <a16:creationId xmlns:a16="http://schemas.microsoft.com/office/drawing/2014/main" id="{582F6240-65A4-364D-98D9-8D32A123676B}"/>
              </a:ext>
            </a:extLst>
          </p:cNvPr>
          <p:cNvSpPr txBox="1"/>
          <p:nvPr/>
        </p:nvSpPr>
        <p:spPr>
          <a:xfrm>
            <a:off x="5978503" y="3418409"/>
            <a:ext cx="363553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mj-lt"/>
              </a:rPr>
              <a:t>b) Model of sliding plate mechanism</a:t>
            </a:r>
          </a:p>
        </p:txBody>
      </p:sp>
      <p:sp>
        <p:nvSpPr>
          <p:cNvPr id="6" name="TextBox 5">
            <a:extLst>
              <a:ext uri="{FF2B5EF4-FFF2-40B4-BE49-F238E27FC236}">
                <a16:creationId xmlns:a16="http://schemas.microsoft.com/office/drawing/2014/main" id="{3E93872D-3D71-69F1-F013-77596E3787F2}"/>
              </a:ext>
            </a:extLst>
          </p:cNvPr>
          <p:cNvSpPr txBox="1"/>
          <p:nvPr/>
        </p:nvSpPr>
        <p:spPr>
          <a:xfrm>
            <a:off x="385545" y="704930"/>
            <a:ext cx="4688115" cy="954107"/>
          </a:xfrm>
          <a:prstGeom prst="rect">
            <a:avLst/>
          </a:prstGeom>
          <a:noFill/>
        </p:spPr>
        <p:txBody>
          <a:bodyPr wrap="square" rtlCol="0">
            <a:spAutoFit/>
          </a:bodyPr>
          <a:lstStyle/>
          <a:p>
            <a:r>
              <a:rPr lang="en-US" sz="2800" b="1" dirty="0">
                <a:solidFill>
                  <a:srgbClr val="002060"/>
                </a:solidFill>
                <a:latin typeface="+mj-lt"/>
              </a:rPr>
              <a:t>Living Hinge Component:</a:t>
            </a:r>
          </a:p>
          <a:p>
            <a:endParaRPr lang="en-US" sz="2800" b="1" dirty="0">
              <a:solidFill>
                <a:srgbClr val="002060"/>
              </a:solidFill>
              <a:latin typeface="+mj-lt"/>
            </a:endParaRPr>
          </a:p>
        </p:txBody>
      </p:sp>
      <p:sp>
        <p:nvSpPr>
          <p:cNvPr id="10" name="TextBox 9">
            <a:extLst>
              <a:ext uri="{FF2B5EF4-FFF2-40B4-BE49-F238E27FC236}">
                <a16:creationId xmlns:a16="http://schemas.microsoft.com/office/drawing/2014/main" id="{4C3C6D3B-A240-FA6F-CEBD-8E7DC7898A70}"/>
              </a:ext>
            </a:extLst>
          </p:cNvPr>
          <p:cNvSpPr txBox="1"/>
          <p:nvPr/>
        </p:nvSpPr>
        <p:spPr>
          <a:xfrm>
            <a:off x="389179" y="1292669"/>
            <a:ext cx="5258218" cy="2862322"/>
          </a:xfrm>
          <a:prstGeom prst="rect">
            <a:avLst/>
          </a:prstGeom>
          <a:noFill/>
        </p:spPr>
        <p:txBody>
          <a:bodyPr wrap="square" rtlCol="0">
            <a:spAutoFit/>
          </a:bodyPr>
          <a:lstStyle/>
          <a:p>
            <a:r>
              <a:rPr lang="en-US" sz="2000" dirty="0">
                <a:latin typeface="+mj-lt"/>
              </a:rPr>
              <a:t>Expected working stress of 20.11 mPa when supporting a weight of 80kg</a:t>
            </a:r>
          </a:p>
          <a:p>
            <a:endParaRPr lang="en-US" sz="2000" dirty="0">
              <a:latin typeface="+mj-lt"/>
            </a:endParaRPr>
          </a:p>
          <a:p>
            <a:r>
              <a:rPr lang="en-US" sz="2000" dirty="0">
                <a:latin typeface="+mj-lt"/>
              </a:rPr>
              <a:t>- FOS of 1.65 when user is within the 80kg weight limit, ensuring the hinge will not deform/snap under day-to-day use.</a:t>
            </a:r>
          </a:p>
          <a:p>
            <a:endParaRPr lang="en-US" sz="2000" dirty="0">
              <a:latin typeface="+mj-lt"/>
            </a:endParaRPr>
          </a:p>
          <a:p>
            <a:endParaRPr lang="en-US" sz="2000" dirty="0">
              <a:latin typeface="+mj-lt"/>
            </a:endParaRPr>
          </a:p>
          <a:p>
            <a:endParaRPr lang="en-US" sz="2000" dirty="0">
              <a:latin typeface="+mj-lt"/>
            </a:endParaRPr>
          </a:p>
        </p:txBody>
      </p:sp>
      <p:pic>
        <p:nvPicPr>
          <p:cNvPr id="13" name="Picture 12" descr="A metal piece with a black background&#10;&#10;AI-generated content may be incorrect.">
            <a:extLst>
              <a:ext uri="{FF2B5EF4-FFF2-40B4-BE49-F238E27FC236}">
                <a16:creationId xmlns:a16="http://schemas.microsoft.com/office/drawing/2014/main" id="{8FD01223-8564-7186-4333-37E22E9036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9634" y="182315"/>
            <a:ext cx="4974892" cy="3236095"/>
          </a:xfrm>
          <a:prstGeom prst="rect">
            <a:avLst/>
          </a:prstGeom>
        </p:spPr>
      </p:pic>
      <p:pic>
        <p:nvPicPr>
          <p:cNvPr id="11" name="Picture 10" descr="A logo with text and a square with a arrow up&#10;&#10;AI-generated content may be incorrect.">
            <a:extLst>
              <a:ext uri="{FF2B5EF4-FFF2-40B4-BE49-F238E27FC236}">
                <a16:creationId xmlns:a16="http://schemas.microsoft.com/office/drawing/2014/main" id="{E0A60CFC-F1A3-0369-9263-8F1E4522A3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068307" y="5754746"/>
            <a:ext cx="932243" cy="932243"/>
          </a:xfrm>
          <a:prstGeom prst="roundRect">
            <a:avLst/>
          </a:prstGeom>
        </p:spPr>
      </p:pic>
      <mc:AlternateContent xmlns:mc="http://schemas.openxmlformats.org/markup-compatibility/2006">
        <mc:Choice xmlns:am3d="http://schemas.microsoft.com/office/drawing/2017/model3d" Requires="am3d">
          <p:graphicFrame>
            <p:nvGraphicFramePr>
              <p:cNvPr id="12" name="3D Model 11">
                <a:extLst>
                  <a:ext uri="{FF2B5EF4-FFF2-40B4-BE49-F238E27FC236}">
                    <a16:creationId xmlns:a16="http://schemas.microsoft.com/office/drawing/2014/main" id="{CCF5D76E-4E74-E84E-0BDF-260F14056561}"/>
                  </a:ext>
                </a:extLst>
              </p:cNvPr>
              <p:cNvGraphicFramePr>
                <a:graphicFrameLocks noChangeAspect="1"/>
              </p:cNvGraphicFramePr>
              <p:nvPr>
                <p:extLst>
                  <p:ext uri="{D42A27DB-BD31-4B8C-83A1-F6EECF244321}">
                    <p14:modId xmlns:p14="http://schemas.microsoft.com/office/powerpoint/2010/main" val="856547117"/>
                  </p:ext>
                </p:extLst>
              </p:nvPr>
            </p:nvGraphicFramePr>
            <p:xfrm>
              <a:off x="2697508" y="2613937"/>
              <a:ext cx="12276033" cy="8123496"/>
            </p:xfrm>
            <a:graphic>
              <a:graphicData uri="http://schemas.microsoft.com/office/drawing/2017/model3d">
                <am3d:model3d r:embed="rId10">
                  <am3d:spPr>
                    <a:xfrm>
                      <a:off x="0" y="0"/>
                      <a:ext cx="12276033" cy="8123496"/>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10463386" ay="-919216" az="-10747652"/>
                    <am3d:postTrans dx="0" dy="0" dz="0"/>
                  </am3d:trans>
                  <am3d:raster rName="Office3DRenderer" rVer="16.0.8326">
                    <am3d:blip r:embed="rId11"/>
                  </am3d:raster>
                  <am3d:objViewport viewportSz="1459703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2" name="3D Model 11">
                <a:extLst>
                  <a:ext uri="{FF2B5EF4-FFF2-40B4-BE49-F238E27FC236}">
                    <a16:creationId xmlns:a16="http://schemas.microsoft.com/office/drawing/2014/main" id="{CCF5D76E-4E74-E84E-0BDF-260F14056561}"/>
                  </a:ext>
                </a:extLst>
              </p:cNvPr>
              <p:cNvPicPr>
                <a:picLocks noGrp="1" noRot="1" noChangeAspect="1" noMove="1" noResize="1" noEditPoints="1" noAdjustHandles="1" noChangeArrowheads="1" noChangeShapeType="1" noCrop="1"/>
              </p:cNvPicPr>
              <p:nvPr/>
            </p:nvPicPr>
            <p:blipFill>
              <a:blip r:embed="rId11"/>
              <a:stretch>
                <a:fillRect/>
              </a:stretch>
            </p:blipFill>
            <p:spPr>
              <a:xfrm>
                <a:off x="2697508" y="2613937"/>
                <a:ext cx="12276033" cy="8123496"/>
              </a:xfrm>
              <a:prstGeom prst="rect">
                <a:avLst/>
              </a:prstGeom>
            </p:spPr>
          </p:pic>
        </mc:Fallback>
      </mc:AlternateContent>
    </p:spTree>
    <p:extLst>
      <p:ext uri="{BB962C8B-B14F-4D97-AF65-F5344CB8AC3E}">
        <p14:creationId xmlns:p14="http://schemas.microsoft.com/office/powerpoint/2010/main" val="2545473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1000"/>
                                        <p:tgtEl>
                                          <p:spTgt spid="9"/>
                                        </p:tgtEl>
                                      </p:cBhvr>
                                    </p:animEffect>
                                    <p:set>
                                      <p:cBhvr>
                                        <p:cTn id="7" dur="1" fill="hold">
                                          <p:stCondLst>
                                            <p:cond delay="999"/>
                                          </p:stCondLst>
                                        </p:cTn>
                                        <p:tgtEl>
                                          <p:spTgt spid="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1000"/>
                                        <p:tgtEl>
                                          <p:spTgt spid="13"/>
                                        </p:tgtEl>
                                      </p:cBhvr>
                                    </p:animEffect>
                                    <p:set>
                                      <p:cBhvr>
                                        <p:cTn id="10" dur="1" fill="hold">
                                          <p:stCondLst>
                                            <p:cond delay="999"/>
                                          </p:stCondLst>
                                        </p:cTn>
                                        <p:tgtEl>
                                          <p:spTgt spid="13"/>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1000"/>
                                        <p:tgtEl>
                                          <p:spTgt spid="5"/>
                                        </p:tgtEl>
                                      </p:cBhvr>
                                    </p:animEffect>
                                    <p:set>
                                      <p:cBhvr>
                                        <p:cTn id="13" dur="1" fill="hold">
                                          <p:stCondLst>
                                            <p:cond delay="999"/>
                                          </p:stCondLst>
                                        </p:cTn>
                                        <p:tgtEl>
                                          <p:spTgt spid="5"/>
                                        </p:tgtEl>
                                        <p:attrNameLst>
                                          <p:attrName>style.visibility</p:attrName>
                                        </p:attrNameLst>
                                      </p:cBhvr>
                                      <p:to>
                                        <p:strVal val="hidden"/>
                                      </p:to>
                                    </p:set>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1000" fill="hold"/>
                                        <p:tgtEl>
                                          <p:spTgt spid="8"/>
                                        </p:tgtEl>
                                        <p:attrNameLst>
                                          <p:attrName>ppt_x</p:attrName>
                                        </p:attrNameLst>
                                      </p:cBhvr>
                                      <p:tavLst>
                                        <p:tav tm="0">
                                          <p:val>
                                            <p:strVal val="1+#ppt_w/2"/>
                                          </p:val>
                                        </p:tav>
                                        <p:tav tm="100000">
                                          <p:val>
                                            <p:strVal val="#ppt_x"/>
                                          </p:val>
                                        </p:tav>
                                      </p:tavLst>
                                    </p:anim>
                                    <p:anim calcmode="lin" valueType="num">
                                      <p:cBhvr additive="base">
                                        <p:cTn id="18" dur="1000" fill="hold"/>
                                        <p:tgtEl>
                                          <p:spTgt spid="8"/>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1000" fill="hold"/>
                                        <p:tgtEl>
                                          <p:spTgt spid="7"/>
                                        </p:tgtEl>
                                        <p:attrNameLst>
                                          <p:attrName>ppt_x</p:attrName>
                                        </p:attrNameLst>
                                      </p:cBhvr>
                                      <p:tavLst>
                                        <p:tav tm="0">
                                          <p:val>
                                            <p:strVal val="1+#ppt_w/2"/>
                                          </p:val>
                                        </p:tav>
                                        <p:tav tm="100000">
                                          <p:val>
                                            <p:strVal val="#ppt_x"/>
                                          </p:val>
                                        </p:tav>
                                      </p:tavLst>
                                    </p:anim>
                                    <p:anim calcmode="lin" valueType="num">
                                      <p:cBhvr additive="base">
                                        <p:cTn id="22" dur="1000" fill="hold"/>
                                        <p:tgtEl>
                                          <p:spTgt spid="7"/>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1000" fill="hold"/>
                                        <p:tgtEl>
                                          <p:spTgt spid="10"/>
                                        </p:tgtEl>
                                        <p:attrNameLst>
                                          <p:attrName>ppt_x</p:attrName>
                                        </p:attrNameLst>
                                      </p:cBhvr>
                                      <p:tavLst>
                                        <p:tav tm="0">
                                          <p:val>
                                            <p:strVal val="0-#ppt_w/2"/>
                                          </p:val>
                                        </p:tav>
                                        <p:tav tm="100000">
                                          <p:val>
                                            <p:strVal val="#ppt_x"/>
                                          </p:val>
                                        </p:tav>
                                      </p:tavLst>
                                    </p:anim>
                                    <p:anim calcmode="lin" valueType="num">
                                      <p:cBhvr additive="base">
                                        <p:cTn id="2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5" grpId="0"/>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22579" y="1700928"/>
            <a:ext cx="11998232" cy="348281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600" b="0" i="0" u="none" strike="noStrike" kern="0" cap="none" spc="0" normalizeH="0" baseline="0" noProof="0">
                <a:ln>
                  <a:noFill/>
                </a:ln>
                <a:solidFill>
                  <a:prstClr val="white"/>
                </a:solidFill>
                <a:effectLst/>
                <a:uLnTx/>
                <a:uFillTx/>
                <a:latin typeface="Century Gothic" panose="020B0502020202020204" pitchFamily="34" charset="0"/>
              </a:rPr>
              <a:t>Materials Analysis</a:t>
            </a:r>
          </a:p>
        </p:txBody>
      </p:sp>
      <p:grpSp>
        <p:nvGrpSpPr>
          <p:cNvPr id="3" name="Group 2">
            <a:extLst>
              <a:ext uri="{FF2B5EF4-FFF2-40B4-BE49-F238E27FC236}">
                <a16:creationId xmlns:a16="http://schemas.microsoft.com/office/drawing/2014/main" id="{D83A33A8-33B8-4E6D-B494-9434B939D75E}"/>
              </a:ext>
            </a:extLst>
          </p:cNvPr>
          <p:cNvGrpSpPr/>
          <p:nvPr/>
        </p:nvGrpSpPr>
        <p:grpSpPr>
          <a:xfrm>
            <a:off x="234547" y="7117920"/>
            <a:ext cx="11709360" cy="5721781"/>
            <a:chOff x="234547" y="369986"/>
            <a:chExt cx="11709360" cy="5721781"/>
          </a:xfrm>
        </p:grpSpPr>
        <p:cxnSp>
          <p:nvCxnSpPr>
            <p:cNvPr id="8" name="Straight Connector 7">
              <a:extLst>
                <a:ext uri="{FF2B5EF4-FFF2-40B4-BE49-F238E27FC236}">
                  <a16:creationId xmlns:a16="http://schemas.microsoft.com/office/drawing/2014/main" id="{C02B145E-6E3D-DB2F-ED0F-24AD2C32056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9" name="!!competition">
              <a:extLst>
                <a:ext uri="{FF2B5EF4-FFF2-40B4-BE49-F238E27FC236}">
                  <a16:creationId xmlns:a16="http://schemas.microsoft.com/office/drawing/2014/main" id="{C9FC7EC9-B5D3-AEB7-60DB-B5AD839732E2}"/>
                </a:ext>
              </a:extLst>
            </p:cNvPr>
            <p:cNvGrpSpPr/>
            <p:nvPr/>
          </p:nvGrpSpPr>
          <p:grpSpPr>
            <a:xfrm>
              <a:off x="5842207" y="369986"/>
              <a:ext cx="507586" cy="507586"/>
              <a:chOff x="7790768" y="1868829"/>
              <a:chExt cx="507586" cy="507586"/>
            </a:xfrm>
          </p:grpSpPr>
          <p:sp useBgFill="1">
            <p:nvSpPr>
              <p:cNvPr id="21" name="Oval 20">
                <a:extLst>
                  <a:ext uri="{FF2B5EF4-FFF2-40B4-BE49-F238E27FC236}">
                    <a16:creationId xmlns:a16="http://schemas.microsoft.com/office/drawing/2014/main" id="{9814BA89-76E7-4B1A-228B-D946D0D31FBA}"/>
                  </a:ext>
                </a:extLst>
              </p:cNvPr>
              <p:cNvSpPr/>
              <p:nvPr/>
            </p:nvSpPr>
            <p:spPr>
              <a:xfrm>
                <a:off x="7790768" y="1868829"/>
                <a:ext cx="507586" cy="507586"/>
              </a:xfrm>
              <a:prstGeom prst="ellipse">
                <a:avLst/>
              </a:prstGeom>
              <a:blipFill dpi="0" rotWithShape="0">
                <a:blip r:embed="rId2">
                  <a:lum/>
                </a:blip>
                <a:srcRect/>
                <a:stretch>
                  <a:fillRect l="-1536723" t="-367961" r="-765235"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2" name="Graphic 21">
                <a:extLst>
                  <a:ext uri="{FF2B5EF4-FFF2-40B4-BE49-F238E27FC236}">
                    <a16:creationId xmlns:a16="http://schemas.microsoft.com/office/drawing/2014/main" id="{D70225EC-796E-470A-3354-38C40BCCD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8561" y="1996622"/>
                <a:ext cx="252000" cy="252000"/>
              </a:xfrm>
              <a:prstGeom prst="rect">
                <a:avLst/>
              </a:prstGeom>
            </p:spPr>
          </p:pic>
        </p:grpSp>
        <p:sp>
          <p:nvSpPr>
            <p:cNvPr id="10" name="TextBox 9">
              <a:extLst>
                <a:ext uri="{FF2B5EF4-FFF2-40B4-BE49-F238E27FC236}">
                  <a16:creationId xmlns:a16="http://schemas.microsoft.com/office/drawing/2014/main" id="{AF2FE122-AA77-F371-D05B-FF31D06992EE}"/>
                </a:ext>
              </a:extLst>
            </p:cNvPr>
            <p:cNvSpPr txBox="1"/>
            <p:nvPr/>
          </p:nvSpPr>
          <p:spPr>
            <a:xfrm>
              <a:off x="234547" y="1056986"/>
              <a:ext cx="4046199" cy="1472326"/>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We're well positioned to win in this market.</a:t>
              </a:r>
            </a:p>
          </p:txBody>
        </p:sp>
        <p:cxnSp>
          <p:nvCxnSpPr>
            <p:cNvPr id="11" name="Straight Connector 10">
              <a:extLst>
                <a:ext uri="{FF2B5EF4-FFF2-40B4-BE49-F238E27FC236}">
                  <a16:creationId xmlns:a16="http://schemas.microsoft.com/office/drawing/2014/main" id="{145E196F-6CDA-1324-DCF4-A1B9B6D375B8}"/>
                </a:ext>
              </a:extLst>
            </p:cNvPr>
            <p:cNvCxnSpPr>
              <a:cxnSpLocks/>
            </p:cNvCxnSpPr>
            <p:nvPr/>
          </p:nvCxnSpPr>
          <p:spPr>
            <a:xfrm>
              <a:off x="6096000" y="1899703"/>
              <a:ext cx="0" cy="3811064"/>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2" name="Rectangle: Rounded Corners 11">
              <a:extLst>
                <a:ext uri="{FF2B5EF4-FFF2-40B4-BE49-F238E27FC236}">
                  <a16:creationId xmlns:a16="http://schemas.microsoft.com/office/drawing/2014/main" id="{18BAD8B3-BFB5-1D73-A655-B85A44125381}"/>
                </a:ext>
              </a:extLst>
            </p:cNvPr>
            <p:cNvSpPr/>
            <p:nvPr/>
          </p:nvSpPr>
          <p:spPr>
            <a:xfrm>
              <a:off x="5496558" y="1518703"/>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Top</a:t>
              </a:r>
              <a:endParaRPr lang="en-GB" sz="1400" spc="30">
                <a:solidFill>
                  <a:srgbClr val="FFFFFF"/>
                </a:solidFill>
                <a:latin typeface="Darker Grotesque" pitchFamily="2" charset="0"/>
                <a:cs typeface="Poppins SemiBold" panose="00000700000000000000" pitchFamily="2" charset="0"/>
              </a:endParaRPr>
            </a:p>
          </p:txBody>
        </p:sp>
        <p:sp>
          <p:nvSpPr>
            <p:cNvPr id="13" name="Rectangle: Rounded Corners 12">
              <a:extLst>
                <a:ext uri="{FF2B5EF4-FFF2-40B4-BE49-F238E27FC236}">
                  <a16:creationId xmlns:a16="http://schemas.microsoft.com/office/drawing/2014/main" id="{F3ECCCA7-6369-1C2E-1BEC-EABE0C1E0B7D}"/>
                </a:ext>
              </a:extLst>
            </p:cNvPr>
            <p:cNvSpPr/>
            <p:nvPr/>
          </p:nvSpPr>
          <p:spPr>
            <a:xfrm>
              <a:off x="5496558" y="5710767"/>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Bottom</a:t>
              </a:r>
              <a:endParaRPr lang="en-GB" sz="1400" spc="30">
                <a:solidFill>
                  <a:srgbClr val="FFFFFF"/>
                </a:solidFill>
                <a:latin typeface="Darker Grotesque" pitchFamily="2" charset="0"/>
                <a:cs typeface="Poppins SemiBold" panose="00000700000000000000" pitchFamily="2" charset="0"/>
              </a:endParaRPr>
            </a:p>
          </p:txBody>
        </p:sp>
        <p:cxnSp>
          <p:nvCxnSpPr>
            <p:cNvPr id="14" name="Straight Connector 13">
              <a:extLst>
                <a:ext uri="{FF2B5EF4-FFF2-40B4-BE49-F238E27FC236}">
                  <a16:creationId xmlns:a16="http://schemas.microsoft.com/office/drawing/2014/main" id="{43E6D8F3-28AD-22C1-F561-5174DB8EFEAB}"/>
                </a:ext>
              </a:extLst>
            </p:cNvPr>
            <p:cNvCxnSpPr>
              <a:cxnSpLocks/>
              <a:stCxn id="15" idx="1"/>
              <a:endCxn id="16" idx="3"/>
            </p:cNvCxnSpPr>
            <p:nvPr/>
          </p:nvCxnSpPr>
          <p:spPr>
            <a:xfrm flipH="1">
              <a:off x="4190468" y="3805235"/>
              <a:ext cx="3811064" cy="0"/>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5" name="Rectangle: Rounded Corners 14">
              <a:extLst>
                <a:ext uri="{FF2B5EF4-FFF2-40B4-BE49-F238E27FC236}">
                  <a16:creationId xmlns:a16="http://schemas.microsoft.com/office/drawing/2014/main" id="{7B072959-358F-6B59-FAFA-CF22CB94DFDC}"/>
                </a:ext>
              </a:extLst>
            </p:cNvPr>
            <p:cNvSpPr/>
            <p:nvPr/>
          </p:nvSpPr>
          <p:spPr>
            <a:xfrm>
              <a:off x="8001532"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Right</a:t>
              </a:r>
              <a:endParaRPr lang="en-GB" sz="1400" spc="30">
                <a:solidFill>
                  <a:srgbClr val="FFFFFF"/>
                </a:solidFill>
                <a:latin typeface="Darker Grotesque" pitchFamily="2" charset="0"/>
                <a:cs typeface="Poppins SemiBold" panose="00000700000000000000" pitchFamily="2" charset="0"/>
              </a:endParaRPr>
            </a:p>
          </p:txBody>
        </p:sp>
        <p:sp>
          <p:nvSpPr>
            <p:cNvPr id="16" name="Rectangle: Rounded Corners 15">
              <a:extLst>
                <a:ext uri="{FF2B5EF4-FFF2-40B4-BE49-F238E27FC236}">
                  <a16:creationId xmlns:a16="http://schemas.microsoft.com/office/drawing/2014/main" id="{293D0BF9-1B83-C23D-ECB1-C78D6CF90266}"/>
                </a:ext>
              </a:extLst>
            </p:cNvPr>
            <p:cNvSpPr/>
            <p:nvPr/>
          </p:nvSpPr>
          <p:spPr>
            <a:xfrm>
              <a:off x="2991584"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Left</a:t>
              </a:r>
              <a:endParaRPr lang="en-GB" sz="1400" spc="30">
                <a:solidFill>
                  <a:srgbClr val="FFFFFF"/>
                </a:solidFill>
                <a:latin typeface="Darker Grotesque" pitchFamily="2" charset="0"/>
                <a:cs typeface="Poppins SemiBold" panose="00000700000000000000" pitchFamily="2" charset="0"/>
              </a:endParaRPr>
            </a:p>
          </p:txBody>
        </p:sp>
        <p:sp>
          <p:nvSpPr>
            <p:cNvPr id="17" name="Rectangle: Rounded Corners 16">
              <a:extLst>
                <a:ext uri="{FF2B5EF4-FFF2-40B4-BE49-F238E27FC236}">
                  <a16:creationId xmlns:a16="http://schemas.microsoft.com/office/drawing/2014/main" id="{B9352442-738A-B26A-F06A-C18BF12378F5}"/>
                </a:ext>
              </a:extLst>
            </p:cNvPr>
            <p:cNvSpPr/>
            <p:nvPr/>
          </p:nvSpPr>
          <p:spPr>
            <a:xfrm>
              <a:off x="4069873" y="2555272"/>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sp>
          <p:nvSpPr>
            <p:cNvPr id="18" name="Rectangle: Rounded Corners 17">
              <a:extLst>
                <a:ext uri="{FF2B5EF4-FFF2-40B4-BE49-F238E27FC236}">
                  <a16:creationId xmlns:a16="http://schemas.microsoft.com/office/drawing/2014/main" id="{B59E0B5F-8805-8FB7-899E-A3C5E405613A}"/>
                </a:ext>
              </a:extLst>
            </p:cNvPr>
            <p:cNvSpPr/>
            <p:nvPr/>
          </p:nvSpPr>
          <p:spPr>
            <a:xfrm>
              <a:off x="7119992" y="2555272"/>
              <a:ext cx="1163638" cy="403894"/>
            </a:xfrm>
            <a:prstGeom prst="roundRect">
              <a:avLst>
                <a:gd name="adj" fmla="val 50000"/>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r>
                <a:rPr lang="en-US" sz="2000">
                  <a:solidFill>
                    <a:schemeClr val="bg1"/>
                  </a:solidFill>
                  <a:latin typeface="Darker Grotesque SemiBold" pitchFamily="2" charset="0"/>
                </a:rPr>
                <a:t>LOGO</a:t>
              </a:r>
              <a:endParaRPr lang="en-GB" sz="2000">
                <a:solidFill>
                  <a:schemeClr val="bg1"/>
                </a:solidFill>
                <a:latin typeface="Darker Grotesque SemiBold" pitchFamily="2" charset="0"/>
              </a:endParaRPr>
            </a:p>
          </p:txBody>
        </p:sp>
        <p:sp>
          <p:nvSpPr>
            <p:cNvPr id="19" name="Rectangle: Rounded Corners 18">
              <a:extLst>
                <a:ext uri="{FF2B5EF4-FFF2-40B4-BE49-F238E27FC236}">
                  <a16:creationId xmlns:a16="http://schemas.microsoft.com/office/drawing/2014/main" id="{23121AD7-EC5F-06A3-19DC-1819377C94D0}"/>
                </a:ext>
              </a:extLst>
            </p:cNvPr>
            <p:cNvSpPr/>
            <p:nvPr/>
          </p:nvSpPr>
          <p:spPr>
            <a:xfrm>
              <a:off x="4069873"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sp>
          <p:nvSpPr>
            <p:cNvPr id="20" name="Rectangle: Rounded Corners 19">
              <a:extLst>
                <a:ext uri="{FF2B5EF4-FFF2-40B4-BE49-F238E27FC236}">
                  <a16:creationId xmlns:a16="http://schemas.microsoft.com/office/drawing/2014/main" id="{2DBA2A10-3AF5-629C-9665-E84715C8E208}"/>
                </a:ext>
              </a:extLst>
            </p:cNvPr>
            <p:cNvSpPr/>
            <p:nvPr/>
          </p:nvSpPr>
          <p:spPr>
            <a:xfrm>
              <a:off x="7119992"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grpSp>
    </p:spTree>
    <p:extLst>
      <p:ext uri="{BB962C8B-B14F-4D97-AF65-F5344CB8AC3E}">
        <p14:creationId xmlns:p14="http://schemas.microsoft.com/office/powerpoint/2010/main" val="2319019701"/>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22579" y="1700928"/>
            <a:ext cx="11998232" cy="348281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600" b="0" i="0" u="none" strike="noStrike" kern="0" cap="none" spc="0" normalizeH="0" baseline="0" noProof="0">
                <a:ln>
                  <a:noFill/>
                </a:ln>
                <a:solidFill>
                  <a:prstClr val="white"/>
                </a:solidFill>
                <a:effectLst/>
                <a:uLnTx/>
                <a:uFillTx/>
                <a:latin typeface="Century Gothic" panose="020B0502020202020204" pitchFamily="34" charset="0"/>
              </a:rPr>
              <a:t>Materials Analysis</a:t>
            </a:r>
          </a:p>
        </p:txBody>
      </p:sp>
      <p:grpSp>
        <p:nvGrpSpPr>
          <p:cNvPr id="3" name="Group 2">
            <a:extLst>
              <a:ext uri="{FF2B5EF4-FFF2-40B4-BE49-F238E27FC236}">
                <a16:creationId xmlns:a16="http://schemas.microsoft.com/office/drawing/2014/main" id="{D83A33A8-33B8-4E6D-B494-9434B939D75E}"/>
              </a:ext>
            </a:extLst>
          </p:cNvPr>
          <p:cNvGrpSpPr/>
          <p:nvPr/>
        </p:nvGrpSpPr>
        <p:grpSpPr>
          <a:xfrm>
            <a:off x="234547" y="7117920"/>
            <a:ext cx="11709360" cy="5721781"/>
            <a:chOff x="234547" y="369986"/>
            <a:chExt cx="11709360" cy="5721781"/>
          </a:xfrm>
        </p:grpSpPr>
        <p:cxnSp>
          <p:nvCxnSpPr>
            <p:cNvPr id="8" name="Straight Connector 7">
              <a:extLst>
                <a:ext uri="{FF2B5EF4-FFF2-40B4-BE49-F238E27FC236}">
                  <a16:creationId xmlns:a16="http://schemas.microsoft.com/office/drawing/2014/main" id="{C02B145E-6E3D-DB2F-ED0F-24AD2C32056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9" name="!!competition">
              <a:extLst>
                <a:ext uri="{FF2B5EF4-FFF2-40B4-BE49-F238E27FC236}">
                  <a16:creationId xmlns:a16="http://schemas.microsoft.com/office/drawing/2014/main" id="{C9FC7EC9-B5D3-AEB7-60DB-B5AD839732E2}"/>
                </a:ext>
              </a:extLst>
            </p:cNvPr>
            <p:cNvGrpSpPr/>
            <p:nvPr/>
          </p:nvGrpSpPr>
          <p:grpSpPr>
            <a:xfrm>
              <a:off x="5842207" y="369986"/>
              <a:ext cx="507586" cy="507586"/>
              <a:chOff x="7790768" y="1868829"/>
              <a:chExt cx="507586" cy="507586"/>
            </a:xfrm>
          </p:grpSpPr>
          <p:sp useBgFill="1">
            <p:nvSpPr>
              <p:cNvPr id="21" name="Oval 20">
                <a:extLst>
                  <a:ext uri="{FF2B5EF4-FFF2-40B4-BE49-F238E27FC236}">
                    <a16:creationId xmlns:a16="http://schemas.microsoft.com/office/drawing/2014/main" id="{9814BA89-76E7-4B1A-228B-D946D0D31FBA}"/>
                  </a:ext>
                </a:extLst>
              </p:cNvPr>
              <p:cNvSpPr/>
              <p:nvPr/>
            </p:nvSpPr>
            <p:spPr>
              <a:xfrm>
                <a:off x="7790768" y="1868829"/>
                <a:ext cx="507586" cy="507586"/>
              </a:xfrm>
              <a:prstGeom prst="ellipse">
                <a:avLst/>
              </a:prstGeom>
              <a:blipFill dpi="0" rotWithShape="0">
                <a:blip r:embed="rId2">
                  <a:lum/>
                </a:blip>
                <a:srcRect/>
                <a:stretch>
                  <a:fillRect l="-1536723" t="-367961" r="-765235"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2" name="Graphic 21">
                <a:extLst>
                  <a:ext uri="{FF2B5EF4-FFF2-40B4-BE49-F238E27FC236}">
                    <a16:creationId xmlns:a16="http://schemas.microsoft.com/office/drawing/2014/main" id="{D70225EC-796E-470A-3354-38C40BCCD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8561" y="1996622"/>
                <a:ext cx="252000" cy="252000"/>
              </a:xfrm>
              <a:prstGeom prst="rect">
                <a:avLst/>
              </a:prstGeom>
            </p:spPr>
          </p:pic>
        </p:grpSp>
        <p:sp>
          <p:nvSpPr>
            <p:cNvPr id="10" name="TextBox 9">
              <a:extLst>
                <a:ext uri="{FF2B5EF4-FFF2-40B4-BE49-F238E27FC236}">
                  <a16:creationId xmlns:a16="http://schemas.microsoft.com/office/drawing/2014/main" id="{AF2FE122-AA77-F371-D05B-FF31D06992EE}"/>
                </a:ext>
              </a:extLst>
            </p:cNvPr>
            <p:cNvSpPr txBox="1"/>
            <p:nvPr/>
          </p:nvSpPr>
          <p:spPr>
            <a:xfrm>
              <a:off x="234547" y="1056986"/>
              <a:ext cx="4046199" cy="1472326"/>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We're well positioned to win in this market.</a:t>
              </a:r>
            </a:p>
          </p:txBody>
        </p:sp>
        <p:cxnSp>
          <p:nvCxnSpPr>
            <p:cNvPr id="11" name="Straight Connector 10">
              <a:extLst>
                <a:ext uri="{FF2B5EF4-FFF2-40B4-BE49-F238E27FC236}">
                  <a16:creationId xmlns:a16="http://schemas.microsoft.com/office/drawing/2014/main" id="{145E196F-6CDA-1324-DCF4-A1B9B6D375B8}"/>
                </a:ext>
              </a:extLst>
            </p:cNvPr>
            <p:cNvCxnSpPr>
              <a:cxnSpLocks/>
            </p:cNvCxnSpPr>
            <p:nvPr/>
          </p:nvCxnSpPr>
          <p:spPr>
            <a:xfrm>
              <a:off x="6096000" y="1899703"/>
              <a:ext cx="0" cy="3811064"/>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2" name="Rectangle: Rounded Corners 11">
              <a:extLst>
                <a:ext uri="{FF2B5EF4-FFF2-40B4-BE49-F238E27FC236}">
                  <a16:creationId xmlns:a16="http://schemas.microsoft.com/office/drawing/2014/main" id="{18BAD8B3-BFB5-1D73-A655-B85A44125381}"/>
                </a:ext>
              </a:extLst>
            </p:cNvPr>
            <p:cNvSpPr/>
            <p:nvPr/>
          </p:nvSpPr>
          <p:spPr>
            <a:xfrm>
              <a:off x="5496558" y="1518703"/>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Top</a:t>
              </a:r>
              <a:endParaRPr lang="en-GB" sz="1400" spc="30">
                <a:solidFill>
                  <a:srgbClr val="FFFFFF"/>
                </a:solidFill>
                <a:latin typeface="Darker Grotesque" pitchFamily="2" charset="0"/>
                <a:cs typeface="Poppins SemiBold" panose="00000700000000000000" pitchFamily="2" charset="0"/>
              </a:endParaRPr>
            </a:p>
          </p:txBody>
        </p:sp>
        <p:sp>
          <p:nvSpPr>
            <p:cNvPr id="13" name="Rectangle: Rounded Corners 12">
              <a:extLst>
                <a:ext uri="{FF2B5EF4-FFF2-40B4-BE49-F238E27FC236}">
                  <a16:creationId xmlns:a16="http://schemas.microsoft.com/office/drawing/2014/main" id="{F3ECCCA7-6369-1C2E-1BEC-EABE0C1E0B7D}"/>
                </a:ext>
              </a:extLst>
            </p:cNvPr>
            <p:cNvSpPr/>
            <p:nvPr/>
          </p:nvSpPr>
          <p:spPr>
            <a:xfrm>
              <a:off x="5496558" y="5710767"/>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Bottom</a:t>
              </a:r>
              <a:endParaRPr lang="en-GB" sz="1400" spc="30">
                <a:solidFill>
                  <a:srgbClr val="FFFFFF"/>
                </a:solidFill>
                <a:latin typeface="Darker Grotesque" pitchFamily="2" charset="0"/>
                <a:cs typeface="Poppins SemiBold" panose="00000700000000000000" pitchFamily="2" charset="0"/>
              </a:endParaRPr>
            </a:p>
          </p:txBody>
        </p:sp>
        <p:cxnSp>
          <p:nvCxnSpPr>
            <p:cNvPr id="14" name="Straight Connector 13">
              <a:extLst>
                <a:ext uri="{FF2B5EF4-FFF2-40B4-BE49-F238E27FC236}">
                  <a16:creationId xmlns:a16="http://schemas.microsoft.com/office/drawing/2014/main" id="{43E6D8F3-28AD-22C1-F561-5174DB8EFEAB}"/>
                </a:ext>
              </a:extLst>
            </p:cNvPr>
            <p:cNvCxnSpPr>
              <a:cxnSpLocks/>
              <a:stCxn id="15" idx="1"/>
              <a:endCxn id="16" idx="3"/>
            </p:cNvCxnSpPr>
            <p:nvPr/>
          </p:nvCxnSpPr>
          <p:spPr>
            <a:xfrm flipH="1">
              <a:off x="4190468" y="3805235"/>
              <a:ext cx="3811064" cy="0"/>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5" name="Rectangle: Rounded Corners 14">
              <a:extLst>
                <a:ext uri="{FF2B5EF4-FFF2-40B4-BE49-F238E27FC236}">
                  <a16:creationId xmlns:a16="http://schemas.microsoft.com/office/drawing/2014/main" id="{7B072959-358F-6B59-FAFA-CF22CB94DFDC}"/>
                </a:ext>
              </a:extLst>
            </p:cNvPr>
            <p:cNvSpPr/>
            <p:nvPr/>
          </p:nvSpPr>
          <p:spPr>
            <a:xfrm>
              <a:off x="8001532"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Right</a:t>
              </a:r>
              <a:endParaRPr lang="en-GB" sz="1400" spc="30">
                <a:solidFill>
                  <a:srgbClr val="FFFFFF"/>
                </a:solidFill>
                <a:latin typeface="Darker Grotesque" pitchFamily="2" charset="0"/>
                <a:cs typeface="Poppins SemiBold" panose="00000700000000000000" pitchFamily="2" charset="0"/>
              </a:endParaRPr>
            </a:p>
          </p:txBody>
        </p:sp>
        <p:sp>
          <p:nvSpPr>
            <p:cNvPr id="16" name="Rectangle: Rounded Corners 15">
              <a:extLst>
                <a:ext uri="{FF2B5EF4-FFF2-40B4-BE49-F238E27FC236}">
                  <a16:creationId xmlns:a16="http://schemas.microsoft.com/office/drawing/2014/main" id="{293D0BF9-1B83-C23D-ECB1-C78D6CF90266}"/>
                </a:ext>
              </a:extLst>
            </p:cNvPr>
            <p:cNvSpPr/>
            <p:nvPr/>
          </p:nvSpPr>
          <p:spPr>
            <a:xfrm>
              <a:off x="2991584"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Left</a:t>
              </a:r>
              <a:endParaRPr lang="en-GB" sz="1400" spc="30">
                <a:solidFill>
                  <a:srgbClr val="FFFFFF"/>
                </a:solidFill>
                <a:latin typeface="Darker Grotesque" pitchFamily="2" charset="0"/>
                <a:cs typeface="Poppins SemiBold" panose="00000700000000000000" pitchFamily="2" charset="0"/>
              </a:endParaRPr>
            </a:p>
          </p:txBody>
        </p:sp>
        <p:sp>
          <p:nvSpPr>
            <p:cNvPr id="17" name="Rectangle: Rounded Corners 16">
              <a:extLst>
                <a:ext uri="{FF2B5EF4-FFF2-40B4-BE49-F238E27FC236}">
                  <a16:creationId xmlns:a16="http://schemas.microsoft.com/office/drawing/2014/main" id="{B9352442-738A-B26A-F06A-C18BF12378F5}"/>
                </a:ext>
              </a:extLst>
            </p:cNvPr>
            <p:cNvSpPr/>
            <p:nvPr/>
          </p:nvSpPr>
          <p:spPr>
            <a:xfrm>
              <a:off x="4069873" y="2555272"/>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sp>
          <p:nvSpPr>
            <p:cNvPr id="18" name="Rectangle: Rounded Corners 17">
              <a:extLst>
                <a:ext uri="{FF2B5EF4-FFF2-40B4-BE49-F238E27FC236}">
                  <a16:creationId xmlns:a16="http://schemas.microsoft.com/office/drawing/2014/main" id="{B59E0B5F-8805-8FB7-899E-A3C5E405613A}"/>
                </a:ext>
              </a:extLst>
            </p:cNvPr>
            <p:cNvSpPr/>
            <p:nvPr/>
          </p:nvSpPr>
          <p:spPr>
            <a:xfrm>
              <a:off x="7119992" y="2555272"/>
              <a:ext cx="1163638" cy="403894"/>
            </a:xfrm>
            <a:prstGeom prst="roundRect">
              <a:avLst>
                <a:gd name="adj" fmla="val 50000"/>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r>
                <a:rPr lang="en-US" sz="2000">
                  <a:solidFill>
                    <a:schemeClr val="bg1"/>
                  </a:solidFill>
                  <a:latin typeface="Darker Grotesque SemiBold" pitchFamily="2" charset="0"/>
                </a:rPr>
                <a:t>LOGO</a:t>
              </a:r>
              <a:endParaRPr lang="en-GB" sz="2000">
                <a:solidFill>
                  <a:schemeClr val="bg1"/>
                </a:solidFill>
                <a:latin typeface="Darker Grotesque SemiBold" pitchFamily="2" charset="0"/>
              </a:endParaRPr>
            </a:p>
          </p:txBody>
        </p:sp>
        <p:sp>
          <p:nvSpPr>
            <p:cNvPr id="19" name="Rectangle: Rounded Corners 18">
              <a:extLst>
                <a:ext uri="{FF2B5EF4-FFF2-40B4-BE49-F238E27FC236}">
                  <a16:creationId xmlns:a16="http://schemas.microsoft.com/office/drawing/2014/main" id="{23121AD7-EC5F-06A3-19DC-1819377C94D0}"/>
                </a:ext>
              </a:extLst>
            </p:cNvPr>
            <p:cNvSpPr/>
            <p:nvPr/>
          </p:nvSpPr>
          <p:spPr>
            <a:xfrm>
              <a:off x="4069873"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sp>
          <p:nvSpPr>
            <p:cNvPr id="20" name="Rectangle: Rounded Corners 19">
              <a:extLst>
                <a:ext uri="{FF2B5EF4-FFF2-40B4-BE49-F238E27FC236}">
                  <a16:creationId xmlns:a16="http://schemas.microsoft.com/office/drawing/2014/main" id="{2DBA2A10-3AF5-629C-9665-E84715C8E208}"/>
                </a:ext>
              </a:extLst>
            </p:cNvPr>
            <p:cNvSpPr/>
            <p:nvPr/>
          </p:nvSpPr>
          <p:spPr>
            <a:xfrm>
              <a:off x="7119992"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a:solidFill>
                  <a:srgbClr val="FFFFFF"/>
                </a:solidFill>
                <a:latin typeface="Darker Grotesque" pitchFamily="2" charset="0"/>
                <a:cs typeface="Poppins SemiBold" panose="00000700000000000000" pitchFamily="2" charset="0"/>
              </a:endParaRPr>
            </a:p>
          </p:txBody>
        </p:sp>
      </p:grpSp>
    </p:spTree>
    <p:extLst>
      <p:ext uri="{BB962C8B-B14F-4D97-AF65-F5344CB8AC3E}">
        <p14:creationId xmlns:p14="http://schemas.microsoft.com/office/powerpoint/2010/main" val="2319019701"/>
      </p:ext>
    </p:extLst>
  </p:cSld>
  <p:clrMapOvr>
    <a:masterClrMapping/>
  </p:clrMapOvr>
  <mc:AlternateContent xmlns:mc="http://schemas.openxmlformats.org/markup-compatibility/2006">
    <mc:Choice xmlns:p159="http://schemas.microsoft.com/office/powerpoint/2015/09/main" Requires="p159">
      <p:transition spd="slow" advTm="0">
        <p159:morph option="byObject"/>
      </p:transition>
    </mc:Choice>
    <mc:Fallback>
      <p:transition spd="slow" advTm="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68DCB-2AC4-FF8D-6E19-B7682FAFC9B8}"/>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451BDA2C-9E51-7C09-9125-F334959B01CB}"/>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1663E97B-E293-EC2F-0B70-8DFCF062DE71}"/>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971A3066-10C3-6A9C-6D5A-DB651A66FE29}"/>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FEF01BFC-F818-C2CE-4949-2A67C6DABD10}"/>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33EB5ED8-3965-0EEC-DC33-C79EC9A65E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3" name="Rectangle 2">
            <a:extLst>
              <a:ext uri="{FF2B5EF4-FFF2-40B4-BE49-F238E27FC236}">
                <a16:creationId xmlns:a16="http://schemas.microsoft.com/office/drawing/2014/main" id="{84881DD8-5CD3-0537-4EFA-1768603BCF07}"/>
              </a:ext>
            </a:extLst>
          </p:cNvPr>
          <p:cNvSpPr/>
          <p:nvPr/>
        </p:nvSpPr>
        <p:spPr>
          <a:xfrm>
            <a:off x="283821" y="1148122"/>
            <a:ext cx="2895880" cy="1309146"/>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4" name="Table 3">
            <a:extLst>
              <a:ext uri="{FF2B5EF4-FFF2-40B4-BE49-F238E27FC236}">
                <a16:creationId xmlns:a16="http://schemas.microsoft.com/office/drawing/2014/main" id="{D8C05C36-4F4E-A316-6E80-7593D57C8258}"/>
              </a:ext>
            </a:extLst>
          </p:cNvPr>
          <p:cNvGraphicFramePr>
            <a:graphicFrameLocks noGrp="1"/>
          </p:cNvGraphicFramePr>
          <p:nvPr>
            <p:extLst>
              <p:ext uri="{D42A27DB-BD31-4B8C-83A1-F6EECF244321}">
                <p14:modId xmlns:p14="http://schemas.microsoft.com/office/powerpoint/2010/main" val="944018712"/>
              </p:ext>
            </p:extLst>
          </p:nvPr>
        </p:nvGraphicFramePr>
        <p:xfrm>
          <a:off x="299485" y="1131365"/>
          <a:ext cx="11794710" cy="5508922"/>
        </p:xfrm>
        <a:graphic>
          <a:graphicData uri="http://schemas.openxmlformats.org/drawingml/2006/table">
            <a:tbl>
              <a:tblPr firstRow="1" bandRow="1">
                <a:tableStyleId>{5940675A-B579-460E-94D1-54222C63F5DA}</a:tableStyleId>
              </a:tblPr>
              <a:tblGrid>
                <a:gridCol w="2882284">
                  <a:extLst>
                    <a:ext uri="{9D8B030D-6E8A-4147-A177-3AD203B41FA5}">
                      <a16:colId xmlns:a16="http://schemas.microsoft.com/office/drawing/2014/main" val="2052256654"/>
                    </a:ext>
                  </a:extLst>
                </a:gridCol>
                <a:gridCol w="8912426">
                  <a:extLst>
                    <a:ext uri="{9D8B030D-6E8A-4147-A177-3AD203B41FA5}">
                      <a16:colId xmlns:a16="http://schemas.microsoft.com/office/drawing/2014/main" val="3572757817"/>
                    </a:ext>
                  </a:extLst>
                </a:gridCol>
              </a:tblGrid>
              <a:tr h="1316515">
                <a:tc>
                  <a:txBody>
                    <a:bodyPr/>
                    <a:lstStyle/>
                    <a:p>
                      <a:r>
                        <a:rPr lang="en-AU" b="1" dirty="0"/>
                        <a:t>Seat</a:t>
                      </a:r>
                      <a:r>
                        <a:rPr lang="en-AU" b="0" dirty="0"/>
                        <a:t> </a:t>
                      </a:r>
                      <a:r>
                        <a:rPr lang="en-AU" b="1" dirty="0"/>
                        <a:t>Hinge</a:t>
                      </a:r>
                    </a:p>
                  </a:txBody>
                  <a:tcPr/>
                </a:tc>
                <a:tc rowSpan="4">
                  <a:txBody>
                    <a:bodyPr/>
                    <a:lstStyle/>
                    <a:p>
                      <a:endParaRPr lang="en-AU" dirty="0"/>
                    </a:p>
                  </a:txBody>
                  <a:tcPr/>
                </a:tc>
                <a:extLst>
                  <a:ext uri="{0D108BD9-81ED-4DB2-BD59-A6C34878D82A}">
                    <a16:rowId xmlns:a16="http://schemas.microsoft.com/office/drawing/2014/main" val="3265519103"/>
                  </a:ext>
                </a:extLst>
              </a:tr>
              <a:tr h="1159847">
                <a:tc>
                  <a:txBody>
                    <a:bodyPr/>
                    <a:lstStyle/>
                    <a:p>
                      <a:r>
                        <a:rPr lang="en-AU"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32806">
                <a:tc>
                  <a:txBody>
                    <a:bodyPr/>
                    <a:lstStyle/>
                    <a:p>
                      <a:r>
                        <a:rPr lang="en-AU"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699754">
                <a:tc>
                  <a:txBody>
                    <a:bodyPr/>
                    <a:lstStyle/>
                    <a:p>
                      <a:r>
                        <a:rPr lang="en-AU" b="0"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7D7097BB-2FC0-ECBF-0693-E44E9F5652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mc:AlternateContent xmlns:mc="http://schemas.openxmlformats.org/markup-compatibility/2006" xmlns:a14="http://schemas.microsoft.com/office/drawing/2010/main">
        <mc:Choice Requires="a14">
          <p:graphicFrame>
            <p:nvGraphicFramePr>
              <p:cNvPr id="19" name="Table 18">
                <a:extLst>
                  <a:ext uri="{FF2B5EF4-FFF2-40B4-BE49-F238E27FC236}">
                    <a16:creationId xmlns:a16="http://schemas.microsoft.com/office/drawing/2014/main" id="{9A05D850-6470-33E1-75C3-16471C099B6F}"/>
                  </a:ext>
                </a:extLst>
              </p:cNvPr>
              <p:cNvGraphicFramePr>
                <a:graphicFrameLocks noGrp="1"/>
              </p:cNvGraphicFramePr>
              <p:nvPr>
                <p:extLst>
                  <p:ext uri="{D42A27DB-BD31-4B8C-83A1-F6EECF244321}">
                    <p14:modId xmlns:p14="http://schemas.microsoft.com/office/powerpoint/2010/main" val="2085365449"/>
                  </p:ext>
                </p:extLst>
              </p:nvPr>
            </p:nvGraphicFramePr>
            <p:xfrm>
              <a:off x="3329989" y="1221846"/>
              <a:ext cx="8427902" cy="2995730"/>
            </p:xfrm>
            <a:graphic>
              <a:graphicData uri="http://schemas.openxmlformats.org/drawingml/2006/table">
                <a:tbl>
                  <a:tblPr firstRow="1" bandRow="1">
                    <a:tableStyleId>{5940675A-B579-460E-94D1-54222C63F5DA}</a:tableStyleId>
                  </a:tblPr>
                  <a:tblGrid>
                    <a:gridCol w="3458738">
                      <a:extLst>
                        <a:ext uri="{9D8B030D-6E8A-4147-A177-3AD203B41FA5}">
                          <a16:colId xmlns:a16="http://schemas.microsoft.com/office/drawing/2014/main" val="2186101804"/>
                        </a:ext>
                      </a:extLst>
                    </a:gridCol>
                    <a:gridCol w="4969164">
                      <a:extLst>
                        <a:ext uri="{9D8B030D-6E8A-4147-A177-3AD203B41FA5}">
                          <a16:colId xmlns:a16="http://schemas.microsoft.com/office/drawing/2014/main" val="2406339668"/>
                        </a:ext>
                      </a:extLst>
                    </a:gridCol>
                  </a:tblGrid>
                  <a:tr h="615813">
                    <a:tc>
                      <a:txBody>
                        <a:bodyPr/>
                        <a:lstStyle/>
                        <a:p>
                          <a:r>
                            <a:rPr lang="en-AU" b="1"/>
                            <a:t>Function</a:t>
                          </a:r>
                        </a:p>
                      </a:txBody>
                      <a:tcPr/>
                    </a:tc>
                    <a:tc>
                      <a:txBody>
                        <a:bodyPr/>
                        <a:lstStyle/>
                        <a:p>
                          <a:pPr marL="285750" indent="-285750">
                            <a:buFont typeface="Arial" panose="020B0604020202020204" pitchFamily="34" charset="0"/>
                            <a:buChar char="•"/>
                          </a:pPr>
                          <a:r>
                            <a:rPr lang="en-US" sz="1800" b="0" i="0" u="none" strike="noStrike" kern="1200">
                              <a:solidFill>
                                <a:schemeClr val="tx1"/>
                              </a:solidFill>
                              <a:effectLst/>
                              <a:latin typeface="+mn-lt"/>
                              <a:ea typeface="+mn-ea"/>
                              <a:cs typeface="+mn-cs"/>
                            </a:rPr>
                            <a:t>Elastic hinge that bends to allow for seat adjustability </a:t>
                          </a:r>
                          <a:endParaRPr lang="en-AU"/>
                        </a:p>
                      </a:txBody>
                      <a:tcPr/>
                    </a:tc>
                    <a:extLst>
                      <a:ext uri="{0D108BD9-81ED-4DB2-BD59-A6C34878D82A}">
                        <a16:rowId xmlns:a16="http://schemas.microsoft.com/office/drawing/2014/main" val="1007078397"/>
                      </a:ext>
                    </a:extLst>
                  </a:tr>
                  <a:tr h="980483">
                    <a:tc>
                      <a:txBody>
                        <a:bodyPr/>
                        <a:lstStyle/>
                        <a:p>
                          <a:r>
                            <a:rPr lang="en-AU" b="1"/>
                            <a:t>Constrain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strike="noStrike" kern="1200">
                              <a:solidFill>
                                <a:schemeClr val="tx1"/>
                              </a:solidFill>
                              <a:effectLst/>
                              <a:latin typeface="+mn-lt"/>
                              <a:ea typeface="+mn-ea"/>
                              <a:cs typeface="+mn-cs"/>
                            </a:rPr>
                            <a:t>No failure, meaning </a:t>
                          </a:r>
                          <a14:m>
                            <m:oMath xmlns:m="http://schemas.openxmlformats.org/officeDocument/2006/math">
                              <m:r>
                                <a:rPr lang="en-AU" sz="1800" i="1" kern="1200" smtClean="0">
                                  <a:solidFill>
                                    <a:schemeClr val="tx1"/>
                                  </a:solidFill>
                                  <a:effectLst/>
                                  <a:latin typeface="Cambria Math" panose="02040503050406030204" pitchFamily="18" charset="0"/>
                                  <a:ea typeface="+mn-ea"/>
                                  <a:cs typeface="+mn-cs"/>
                                </a:rPr>
                                <m:t>𝜎</m:t>
                              </m:r>
                              <m:r>
                                <a:rPr lang="en-AU" sz="1800" i="1" kern="1200" smtClean="0">
                                  <a:solidFill>
                                    <a:schemeClr val="tx1"/>
                                  </a:solidFill>
                                  <a:effectLst/>
                                  <a:latin typeface="Cambria Math" panose="02040503050406030204" pitchFamily="18" charset="0"/>
                                  <a:ea typeface="+mn-ea"/>
                                  <a:cs typeface="+mn-cs"/>
                                </a:rPr>
                                <m:t>&lt; </m:t>
                              </m:r>
                              <m:sSub>
                                <m:sSubPr>
                                  <m:ctrlPr>
                                    <a:rPr lang="en-AU" sz="1800" i="1" kern="1200">
                                      <a:solidFill>
                                        <a:schemeClr val="tx1"/>
                                      </a:solidFill>
                                      <a:effectLst/>
                                      <a:latin typeface="Cambria Math" panose="02040503050406030204" pitchFamily="18" charset="0"/>
                                      <a:ea typeface="+mn-ea"/>
                                      <a:cs typeface="+mn-cs"/>
                                    </a:rPr>
                                  </m:ctrlPr>
                                </m:sSubPr>
                                <m:e>
                                  <m:r>
                                    <a:rPr lang="en-AU" sz="1800" i="1" kern="1200">
                                      <a:solidFill>
                                        <a:schemeClr val="tx1"/>
                                      </a:solidFill>
                                      <a:effectLst/>
                                      <a:latin typeface="Cambria Math" panose="02040503050406030204" pitchFamily="18" charset="0"/>
                                      <a:ea typeface="+mn-ea"/>
                                      <a:cs typeface="+mn-cs"/>
                                    </a:rPr>
                                    <m:t>𝜎</m:t>
                                  </m:r>
                                </m:e>
                                <m:sub>
                                  <m:r>
                                    <a:rPr lang="en-AU" sz="1800" i="1" kern="1200">
                                      <a:solidFill>
                                        <a:schemeClr val="tx1"/>
                                      </a:solidFill>
                                      <a:effectLst/>
                                      <a:latin typeface="Cambria Math" panose="02040503050406030204" pitchFamily="18" charset="0"/>
                                      <a:ea typeface="+mn-ea"/>
                                      <a:cs typeface="+mn-cs"/>
                                    </a:rPr>
                                    <m:t>𝑓</m:t>
                                  </m:r>
                                </m:sub>
                              </m:sSub>
                              <m:r>
                                <a:rPr lang="en-AU" sz="1800" b="0" i="1" kern="1200" smtClean="0">
                                  <a:solidFill>
                                    <a:schemeClr val="tx1"/>
                                  </a:solidFill>
                                  <a:effectLst/>
                                  <a:latin typeface="Cambria Math" panose="02040503050406030204" pitchFamily="18" charset="0"/>
                                  <a:ea typeface="+mn-ea"/>
                                  <a:cs typeface="+mn-cs"/>
                                </a:rPr>
                                <m:t> </m:t>
                              </m:r>
                            </m:oMath>
                          </a14:m>
                          <a:r>
                            <a:rPr lang="en-US" sz="1800" b="0" i="0" u="none" strike="noStrike" kern="1200">
                              <a:solidFill>
                                <a:schemeClr val="tx1"/>
                              </a:solidFill>
                              <a:effectLst/>
                              <a:latin typeface="+mn-lt"/>
                              <a:ea typeface="+mn-ea"/>
                              <a:cs typeface="+mn-cs"/>
                            </a:rPr>
                            <a:t>throughout the hinge</a:t>
                          </a:r>
                          <a:endParaRPr lang="en-AU"/>
                        </a:p>
                      </a:txBody>
                      <a:tcPr/>
                    </a:tc>
                    <a:extLst>
                      <a:ext uri="{0D108BD9-81ED-4DB2-BD59-A6C34878D82A}">
                        <a16:rowId xmlns:a16="http://schemas.microsoft.com/office/drawing/2014/main" val="3194689625"/>
                      </a:ext>
                    </a:extLst>
                  </a:tr>
                  <a:tr h="620949">
                    <a:tc>
                      <a:txBody>
                        <a:bodyPr/>
                        <a:lstStyle/>
                        <a:p>
                          <a:r>
                            <a:rPr lang="en-AU" b="1"/>
                            <a:t>Objective</a:t>
                          </a:r>
                        </a:p>
                      </a:txBody>
                      <a:tcPr/>
                    </a:tc>
                    <a:tc>
                      <a:txBody>
                        <a:bodyPr/>
                        <a:lstStyle/>
                        <a:p>
                          <a:pPr marL="285750" indent="-285750">
                            <a:buFont typeface="Arial" panose="020B0604020202020204" pitchFamily="34" charset="0"/>
                            <a:buChar char="•"/>
                          </a:pPr>
                          <a:r>
                            <a:rPr lang="en-AU" sz="1800" b="0" i="0" u="none" strike="noStrike" kern="1200">
                              <a:solidFill>
                                <a:schemeClr val="tx1"/>
                              </a:solidFill>
                              <a:effectLst/>
                              <a:latin typeface="+mn-lt"/>
                              <a:ea typeface="+mn-ea"/>
                              <a:cs typeface="+mn-cs"/>
                            </a:rPr>
                            <a:t>Maximise elastic flexure</a:t>
                          </a:r>
                          <a:endParaRPr lang="en-AU"/>
                        </a:p>
                      </a:txBody>
                      <a:tcPr/>
                    </a:tc>
                    <a:extLst>
                      <a:ext uri="{0D108BD9-81ED-4DB2-BD59-A6C34878D82A}">
                        <a16:rowId xmlns:a16="http://schemas.microsoft.com/office/drawing/2014/main" val="1331710103"/>
                      </a:ext>
                    </a:extLst>
                  </a:tr>
                  <a:tr h="754218">
                    <a:tc>
                      <a:txBody>
                        <a:bodyPr/>
                        <a:lstStyle/>
                        <a:p>
                          <a:r>
                            <a:rPr lang="en-AU" b="1"/>
                            <a:t>Free variables</a:t>
                          </a:r>
                        </a:p>
                      </a:txBody>
                      <a:tcPr/>
                    </a:tc>
                    <a:tc>
                      <a:txBody>
                        <a:bodyPr/>
                        <a:lstStyle/>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Material</a:t>
                          </a:r>
                        </a:p>
                        <a:p>
                          <a:pPr marL="285750" indent="-285750">
                            <a:buFont typeface="Arial" panose="020B0604020202020204" pitchFamily="34" charset="0"/>
                            <a:buChar char="•"/>
                          </a:pPr>
                          <a:endParaRPr lang="en-AU"/>
                        </a:p>
                      </a:txBody>
                      <a:tcPr/>
                    </a:tc>
                    <a:extLst>
                      <a:ext uri="{0D108BD9-81ED-4DB2-BD59-A6C34878D82A}">
                        <a16:rowId xmlns:a16="http://schemas.microsoft.com/office/drawing/2014/main" val="2453969532"/>
                      </a:ext>
                    </a:extLst>
                  </a:tr>
                </a:tbl>
              </a:graphicData>
            </a:graphic>
          </p:graphicFrame>
        </mc:Choice>
        <mc:Fallback xmlns="">
          <p:graphicFrame>
            <p:nvGraphicFramePr>
              <p:cNvPr id="19" name="Table 18">
                <a:extLst>
                  <a:ext uri="{FF2B5EF4-FFF2-40B4-BE49-F238E27FC236}">
                    <a16:creationId xmlns:a16="http://schemas.microsoft.com/office/drawing/2014/main" id="{9A05D850-6470-33E1-75C3-16471C099B6F}"/>
                  </a:ext>
                </a:extLst>
              </p:cNvPr>
              <p:cNvGraphicFramePr>
                <a:graphicFrameLocks noGrp="1"/>
              </p:cNvGraphicFramePr>
              <p:nvPr>
                <p:extLst>
                  <p:ext uri="{D42A27DB-BD31-4B8C-83A1-F6EECF244321}">
                    <p14:modId xmlns:p14="http://schemas.microsoft.com/office/powerpoint/2010/main" val="2085365449"/>
                  </p:ext>
                </p:extLst>
              </p:nvPr>
            </p:nvGraphicFramePr>
            <p:xfrm>
              <a:off x="3329989" y="1221846"/>
              <a:ext cx="8427902" cy="2995730"/>
            </p:xfrm>
            <a:graphic>
              <a:graphicData uri="http://schemas.openxmlformats.org/drawingml/2006/table">
                <a:tbl>
                  <a:tblPr firstRow="1" bandRow="1">
                    <a:tableStyleId>{5940675A-B579-460E-94D1-54222C63F5DA}</a:tableStyleId>
                  </a:tblPr>
                  <a:tblGrid>
                    <a:gridCol w="3458738">
                      <a:extLst>
                        <a:ext uri="{9D8B030D-6E8A-4147-A177-3AD203B41FA5}">
                          <a16:colId xmlns:a16="http://schemas.microsoft.com/office/drawing/2014/main" val="2186101804"/>
                        </a:ext>
                      </a:extLst>
                    </a:gridCol>
                    <a:gridCol w="4969164">
                      <a:extLst>
                        <a:ext uri="{9D8B030D-6E8A-4147-A177-3AD203B41FA5}">
                          <a16:colId xmlns:a16="http://schemas.microsoft.com/office/drawing/2014/main" val="2406339668"/>
                        </a:ext>
                      </a:extLst>
                    </a:gridCol>
                  </a:tblGrid>
                  <a:tr h="640080">
                    <a:tc>
                      <a:txBody>
                        <a:bodyPr/>
                        <a:lstStyle/>
                        <a:p>
                          <a:r>
                            <a:rPr lang="en-AU" b="1"/>
                            <a:t>Function</a:t>
                          </a:r>
                        </a:p>
                      </a:txBody>
                      <a:tcPr/>
                    </a:tc>
                    <a:tc>
                      <a:txBody>
                        <a:bodyPr/>
                        <a:lstStyle/>
                        <a:p>
                          <a:pPr marL="285750" indent="-285750">
                            <a:buFont typeface="Arial" panose="020B0604020202020204" pitchFamily="34" charset="0"/>
                            <a:buChar char="•"/>
                          </a:pPr>
                          <a:r>
                            <a:rPr lang="en-US" sz="1800" b="0" i="0" u="none" strike="noStrike" kern="1200">
                              <a:solidFill>
                                <a:schemeClr val="tx1"/>
                              </a:solidFill>
                              <a:effectLst/>
                              <a:latin typeface="+mn-lt"/>
                              <a:ea typeface="+mn-ea"/>
                              <a:cs typeface="+mn-cs"/>
                            </a:rPr>
                            <a:t>Elastic hinge that bends to allow for seat adjustability </a:t>
                          </a:r>
                          <a:endParaRPr lang="en-AU"/>
                        </a:p>
                      </a:txBody>
                      <a:tcPr/>
                    </a:tc>
                    <a:extLst>
                      <a:ext uri="{0D108BD9-81ED-4DB2-BD59-A6C34878D82A}">
                        <a16:rowId xmlns:a16="http://schemas.microsoft.com/office/drawing/2014/main" val="1007078397"/>
                      </a:ext>
                    </a:extLst>
                  </a:tr>
                  <a:tr h="980483">
                    <a:tc>
                      <a:txBody>
                        <a:bodyPr/>
                        <a:lstStyle/>
                        <a:p>
                          <a:r>
                            <a:rPr lang="en-AU" b="1"/>
                            <a:t>Constraints</a:t>
                          </a:r>
                        </a:p>
                      </a:txBody>
                      <a:tcPr/>
                    </a:tc>
                    <a:tc>
                      <a:txBody>
                        <a:bodyPr/>
                        <a:lstStyle/>
                        <a:p>
                          <a:endParaRPr lang="en-US"/>
                        </a:p>
                      </a:txBody>
                      <a:tcPr>
                        <a:blipFill>
                          <a:blip r:embed="rId6"/>
                          <a:stretch>
                            <a:fillRect l="-69816" t="-68323" r="-245" b="-141615"/>
                          </a:stretch>
                        </a:blipFill>
                      </a:tcPr>
                    </a:tc>
                    <a:extLst>
                      <a:ext uri="{0D108BD9-81ED-4DB2-BD59-A6C34878D82A}">
                        <a16:rowId xmlns:a16="http://schemas.microsoft.com/office/drawing/2014/main" val="3194689625"/>
                      </a:ext>
                    </a:extLst>
                  </a:tr>
                  <a:tr h="620949">
                    <a:tc>
                      <a:txBody>
                        <a:bodyPr/>
                        <a:lstStyle/>
                        <a:p>
                          <a:r>
                            <a:rPr lang="en-AU" b="1"/>
                            <a:t>Objective</a:t>
                          </a:r>
                        </a:p>
                      </a:txBody>
                      <a:tcPr/>
                    </a:tc>
                    <a:tc>
                      <a:txBody>
                        <a:bodyPr/>
                        <a:lstStyle/>
                        <a:p>
                          <a:pPr marL="285750" indent="-285750">
                            <a:buFont typeface="Arial" panose="020B0604020202020204" pitchFamily="34" charset="0"/>
                            <a:buChar char="•"/>
                          </a:pPr>
                          <a:r>
                            <a:rPr lang="en-AU" sz="1800" b="0" i="0" u="none" strike="noStrike" kern="1200">
                              <a:solidFill>
                                <a:schemeClr val="tx1"/>
                              </a:solidFill>
                              <a:effectLst/>
                              <a:latin typeface="+mn-lt"/>
                              <a:ea typeface="+mn-ea"/>
                              <a:cs typeface="+mn-cs"/>
                            </a:rPr>
                            <a:t>Maximise elastic flexure</a:t>
                          </a:r>
                          <a:endParaRPr lang="en-AU"/>
                        </a:p>
                      </a:txBody>
                      <a:tcPr/>
                    </a:tc>
                    <a:extLst>
                      <a:ext uri="{0D108BD9-81ED-4DB2-BD59-A6C34878D82A}">
                        <a16:rowId xmlns:a16="http://schemas.microsoft.com/office/drawing/2014/main" val="1331710103"/>
                      </a:ext>
                    </a:extLst>
                  </a:tr>
                  <a:tr h="754218">
                    <a:tc>
                      <a:txBody>
                        <a:bodyPr/>
                        <a:lstStyle/>
                        <a:p>
                          <a:r>
                            <a:rPr lang="en-AU" b="1"/>
                            <a:t>Free variables</a:t>
                          </a:r>
                        </a:p>
                      </a:txBody>
                      <a:tcPr/>
                    </a:tc>
                    <a:tc>
                      <a:txBody>
                        <a:bodyPr/>
                        <a:lstStyle/>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Material</a:t>
                          </a:r>
                        </a:p>
                        <a:p>
                          <a:pPr marL="285750" indent="-285750">
                            <a:buFont typeface="Arial" panose="020B0604020202020204" pitchFamily="34" charset="0"/>
                            <a:buChar char="•"/>
                          </a:pPr>
                          <a:endParaRPr lang="en-AU"/>
                        </a:p>
                      </a:txBody>
                      <a:tcPr/>
                    </a:tc>
                    <a:extLst>
                      <a:ext uri="{0D108BD9-81ED-4DB2-BD59-A6C34878D82A}">
                        <a16:rowId xmlns:a16="http://schemas.microsoft.com/office/drawing/2014/main" val="2453969532"/>
                      </a:ext>
                    </a:extLst>
                  </a:tr>
                </a:tbl>
              </a:graphicData>
            </a:graphic>
          </p:graphicFrame>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1EFD62A-17C2-05F5-8669-F541044F9DDD}"/>
                  </a:ext>
                </a:extLst>
              </p:cNvPr>
              <p:cNvSpPr txBox="1"/>
              <p:nvPr/>
            </p:nvSpPr>
            <p:spPr>
              <a:xfrm>
                <a:off x="3497852" y="4645221"/>
                <a:ext cx="2838691" cy="1330044"/>
              </a:xfrm>
              <a:prstGeom prst="rect">
                <a:avLst/>
              </a:prstGeom>
              <a:noFill/>
            </p:spPr>
            <p:txBody>
              <a:bodyPr wrap="square" rtlCol="0">
                <a:spAutoFit/>
              </a:bodyPr>
              <a:lstStyle/>
              <a:p>
                <a:r>
                  <a:rPr lang="en-AU"/>
                  <a:t>To remain under  </a:t>
                </a:r>
                <a14:m>
                  <m:oMath xmlns:m="http://schemas.openxmlformats.org/officeDocument/2006/math">
                    <m:sSub>
                      <m:sSubPr>
                        <m:ctrlPr>
                          <a:rPr lang="en-AU" i="1">
                            <a:latin typeface="Cambria Math" panose="02040503050406030204" pitchFamily="18" charset="0"/>
                          </a:rPr>
                        </m:ctrlPr>
                      </m:sSubPr>
                      <m:e>
                        <m:r>
                          <a:rPr lang="en-AU" i="1">
                            <a:latin typeface="Cambria Math" panose="02040503050406030204" pitchFamily="18" charset="0"/>
                          </a:rPr>
                          <m:t>𝜎</m:t>
                        </m:r>
                      </m:e>
                      <m:sub>
                        <m:r>
                          <a:rPr lang="en-AU" i="1">
                            <a:latin typeface="Cambria Math" panose="02040503050406030204" pitchFamily="18" charset="0"/>
                          </a:rPr>
                          <m:t>𝑓</m:t>
                        </m:r>
                      </m:sub>
                    </m:sSub>
                  </m:oMath>
                </a14:m>
                <a:r>
                  <a:rPr lang="en-AU"/>
                  <a:t> :</a:t>
                </a:r>
              </a:p>
              <a:p>
                <a:endParaRPr lang="en-AU"/>
              </a:p>
              <a:p>
                <a:pPr/>
                <a14:m>
                  <m:oMathPara xmlns:m="http://schemas.openxmlformats.org/officeDocument/2006/math">
                    <m:oMathParaPr>
                      <m:jc m:val="centerGroup"/>
                    </m:oMathParaPr>
                    <m:oMath xmlns:m="http://schemas.openxmlformats.org/officeDocument/2006/math">
                      <m:sSub>
                        <m:sSubPr>
                          <m:ctrlPr>
                            <a:rPr lang="en-AU" i="1">
                              <a:latin typeface="Cambria Math" panose="02040503050406030204" pitchFamily="18" charset="0"/>
                            </a:rPr>
                          </m:ctrlPr>
                        </m:sSubPr>
                        <m:e>
                          <m:r>
                            <a:rPr lang="en-AU" i="1">
                              <a:latin typeface="Cambria Math" panose="02040503050406030204" pitchFamily="18" charset="0"/>
                            </a:rPr>
                            <m:t>𝑅</m:t>
                          </m:r>
                          <m:r>
                            <a:rPr lang="en-AU" i="1">
                              <a:latin typeface="Cambria Math" panose="02040503050406030204" pitchFamily="18" charset="0"/>
                            </a:rPr>
                            <m:t>&gt; </m:t>
                          </m:r>
                          <m:f>
                            <m:fPr>
                              <m:ctrlPr>
                                <a:rPr lang="en-AU" i="1">
                                  <a:latin typeface="Cambria Math" panose="02040503050406030204" pitchFamily="18" charset="0"/>
                                </a:rPr>
                              </m:ctrlPr>
                            </m:fPr>
                            <m:num>
                              <m:r>
                                <a:rPr lang="en-AU" i="1">
                                  <a:latin typeface="Cambria Math" panose="02040503050406030204" pitchFamily="18" charset="0"/>
                                </a:rPr>
                                <m:t>𝑡</m:t>
                              </m:r>
                            </m:num>
                            <m:den>
                              <m:r>
                                <a:rPr lang="en-AU" i="1">
                                  <a:latin typeface="Cambria Math" panose="02040503050406030204" pitchFamily="18" charset="0"/>
                                </a:rPr>
                                <m:t>2</m:t>
                              </m:r>
                            </m:den>
                          </m:f>
                          <m:d>
                            <m:dPr>
                              <m:begChr m:val="["/>
                              <m:endChr m:val="]"/>
                              <m:ctrlPr>
                                <a:rPr lang="en-AU" i="1">
                                  <a:latin typeface="Cambria Math" panose="02040503050406030204" pitchFamily="18" charset="0"/>
                                </a:rPr>
                              </m:ctrlPr>
                            </m:dPr>
                            <m:e>
                              <m:f>
                                <m:fPr>
                                  <m:ctrlPr>
                                    <a:rPr lang="en-AU" i="1">
                                      <a:latin typeface="Cambria Math" panose="02040503050406030204" pitchFamily="18" charset="0"/>
                                    </a:rPr>
                                  </m:ctrlPr>
                                </m:fPr>
                                <m:num>
                                  <m:r>
                                    <a:rPr lang="en-AU" i="1">
                                      <a:latin typeface="Cambria Math" panose="02040503050406030204" pitchFamily="18" charset="0"/>
                                    </a:rPr>
                                    <m:t>𝐸</m:t>
                                  </m:r>
                                </m:num>
                                <m:den>
                                  <m:sSub>
                                    <m:sSubPr>
                                      <m:ctrlPr>
                                        <a:rPr lang="en-AU" i="1">
                                          <a:latin typeface="Cambria Math" panose="02040503050406030204" pitchFamily="18" charset="0"/>
                                        </a:rPr>
                                      </m:ctrlPr>
                                    </m:sSubPr>
                                    <m:e>
                                      <m:r>
                                        <a:rPr lang="en-AU" i="1">
                                          <a:latin typeface="Cambria Math" panose="02040503050406030204" pitchFamily="18" charset="0"/>
                                        </a:rPr>
                                        <m:t>𝜎</m:t>
                                      </m:r>
                                    </m:e>
                                    <m:sub>
                                      <m:r>
                                        <a:rPr lang="en-AU" i="1">
                                          <a:latin typeface="Cambria Math" panose="02040503050406030204" pitchFamily="18" charset="0"/>
                                        </a:rPr>
                                        <m:t>𝑓</m:t>
                                      </m:r>
                                    </m:sub>
                                  </m:sSub>
                                </m:den>
                              </m:f>
                            </m:e>
                          </m:d>
                        </m:e>
                        <m:sub>
                          <m:r>
                            <a:rPr lang="en-AU" i="1">
                              <a:latin typeface="Cambria Math" panose="02040503050406030204" pitchFamily="18" charset="0"/>
                            </a:rPr>
                            <m:t> </m:t>
                          </m:r>
                        </m:sub>
                      </m:sSub>
                    </m:oMath>
                  </m:oMathPara>
                </a14:m>
                <a:endParaRPr lang="en-AU"/>
              </a:p>
            </p:txBody>
          </p:sp>
        </mc:Choice>
        <mc:Fallback xmlns="">
          <p:sp>
            <p:nvSpPr>
              <p:cNvPr id="20" name="TextBox 19">
                <a:extLst>
                  <a:ext uri="{FF2B5EF4-FFF2-40B4-BE49-F238E27FC236}">
                    <a16:creationId xmlns:a16="http://schemas.microsoft.com/office/drawing/2014/main" id="{71EFD62A-17C2-05F5-8669-F541044F9DDD}"/>
                  </a:ext>
                </a:extLst>
              </p:cNvPr>
              <p:cNvSpPr txBox="1">
                <a:spLocks noRot="1" noChangeAspect="1" noMove="1" noResize="1" noEditPoints="1" noAdjustHandles="1" noChangeArrowheads="1" noChangeShapeType="1" noTextEdit="1"/>
              </p:cNvSpPr>
              <p:nvPr/>
            </p:nvSpPr>
            <p:spPr>
              <a:xfrm>
                <a:off x="3497852" y="4645221"/>
                <a:ext cx="2838691" cy="1330044"/>
              </a:xfrm>
              <a:prstGeom prst="rect">
                <a:avLst/>
              </a:prstGeom>
              <a:blipFill>
                <a:blip r:embed="rId7"/>
                <a:stretch>
                  <a:fillRect l="-1935" t="-1835"/>
                </a:stretch>
              </a:blipFill>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169D060-A13E-167C-8981-6C3C51143077}"/>
                  </a:ext>
                </a:extLst>
              </p:cNvPr>
              <p:cNvSpPr txBox="1"/>
              <p:nvPr/>
            </p:nvSpPr>
            <p:spPr>
              <a:xfrm>
                <a:off x="7435804" y="4480556"/>
                <a:ext cx="3684149" cy="1387688"/>
              </a:xfrm>
              <a:prstGeom prst="rect">
                <a:avLst/>
              </a:prstGeom>
              <a:noFill/>
            </p:spPr>
            <p:txBody>
              <a:bodyPr wrap="square" rtlCol="0">
                <a:spAutoFit/>
              </a:bodyPr>
              <a:lstStyle/>
              <a:p>
                <a:r>
                  <a:rPr lang="en-AU"/>
                  <a:t>Minimize R 	 Maximise </a:t>
                </a:r>
                <a14:m>
                  <m:oMath xmlns:m="http://schemas.openxmlformats.org/officeDocument/2006/math">
                    <m:f>
                      <m:fPr>
                        <m:ctrlPr>
                          <a:rPr lang="en-AU" sz="2400" i="1">
                            <a:latin typeface="Cambria Math" panose="02040503050406030204" pitchFamily="18" charset="0"/>
                          </a:rPr>
                        </m:ctrlPr>
                      </m:fPr>
                      <m:num>
                        <m:sSub>
                          <m:sSubPr>
                            <m:ctrlPr>
                              <a:rPr lang="en-AU" sz="2400" i="1">
                                <a:latin typeface="Cambria Math" panose="02040503050406030204" pitchFamily="18" charset="0"/>
                              </a:rPr>
                            </m:ctrlPr>
                          </m:sSubPr>
                          <m:e>
                            <m:r>
                              <a:rPr lang="en-AU" sz="2400" i="1">
                                <a:latin typeface="Cambria Math" panose="02040503050406030204" pitchFamily="18" charset="0"/>
                              </a:rPr>
                              <m:t>𝜎</m:t>
                            </m:r>
                          </m:e>
                          <m:sub>
                            <m:r>
                              <a:rPr lang="en-AU" sz="2400" i="1">
                                <a:latin typeface="Cambria Math" panose="02040503050406030204" pitchFamily="18" charset="0"/>
                              </a:rPr>
                              <m:t>𝑓</m:t>
                            </m:r>
                          </m:sub>
                        </m:sSub>
                      </m:num>
                      <m:den>
                        <m:r>
                          <a:rPr lang="en-AU" sz="2400" i="1">
                            <a:latin typeface="Cambria Math" panose="02040503050406030204" pitchFamily="18" charset="0"/>
                          </a:rPr>
                          <m:t>𝐸</m:t>
                        </m:r>
                      </m:den>
                    </m:f>
                  </m:oMath>
                </a14:m>
                <a:r>
                  <a:rPr lang="en-AU"/>
                  <a:t>.</a:t>
                </a:r>
              </a:p>
              <a:p>
                <a:endParaRPr lang="en-AU"/>
              </a:p>
              <a:p>
                <a14:m>
                  <m:oMath xmlns:m="http://schemas.openxmlformats.org/officeDocument/2006/math">
                    <m:r>
                      <a:rPr lang="en-AU" sz="2400" i="1">
                        <a:latin typeface="Cambria Math" panose="02040503050406030204" pitchFamily="18" charset="0"/>
                      </a:rPr>
                      <m:t>𝑀</m:t>
                    </m:r>
                    <m:r>
                      <a:rPr lang="en-AU" sz="2400" i="1">
                        <a:latin typeface="Cambria Math" panose="02040503050406030204" pitchFamily="18" charset="0"/>
                      </a:rPr>
                      <m:t>= </m:t>
                    </m:r>
                    <m:f>
                      <m:fPr>
                        <m:ctrlPr>
                          <a:rPr lang="en-AU" sz="2400" i="1">
                            <a:latin typeface="Cambria Math" panose="02040503050406030204" pitchFamily="18" charset="0"/>
                          </a:rPr>
                        </m:ctrlPr>
                      </m:fPr>
                      <m:num>
                        <m:sSub>
                          <m:sSubPr>
                            <m:ctrlPr>
                              <a:rPr lang="en-AU" sz="2400" i="1">
                                <a:latin typeface="Cambria Math" panose="02040503050406030204" pitchFamily="18" charset="0"/>
                              </a:rPr>
                            </m:ctrlPr>
                          </m:sSubPr>
                          <m:e>
                            <m:r>
                              <a:rPr lang="en-AU" sz="2400" i="1">
                                <a:latin typeface="Cambria Math" panose="02040503050406030204" pitchFamily="18" charset="0"/>
                              </a:rPr>
                              <m:t>𝜎</m:t>
                            </m:r>
                          </m:e>
                          <m:sub>
                            <m:r>
                              <a:rPr lang="en-AU" sz="2400" i="1">
                                <a:latin typeface="Cambria Math" panose="02040503050406030204" pitchFamily="18" charset="0"/>
                              </a:rPr>
                              <m:t>𝑓</m:t>
                            </m:r>
                          </m:sub>
                        </m:sSub>
                      </m:num>
                      <m:den>
                        <m:r>
                          <a:rPr lang="en-AU" sz="2400" i="1">
                            <a:latin typeface="Cambria Math" panose="02040503050406030204" pitchFamily="18" charset="0"/>
                          </a:rPr>
                          <m:t>𝐸</m:t>
                        </m:r>
                      </m:den>
                    </m:f>
                  </m:oMath>
                </a14:m>
                <a:r>
                  <a:rPr lang="en-AU"/>
                  <a:t>.</a:t>
                </a:r>
              </a:p>
            </p:txBody>
          </p:sp>
        </mc:Choice>
        <mc:Fallback xmlns="">
          <p:sp>
            <p:nvSpPr>
              <p:cNvPr id="22" name="TextBox 21">
                <a:extLst>
                  <a:ext uri="{FF2B5EF4-FFF2-40B4-BE49-F238E27FC236}">
                    <a16:creationId xmlns:a16="http://schemas.microsoft.com/office/drawing/2014/main" id="{1169D060-A13E-167C-8981-6C3C51143077}"/>
                  </a:ext>
                </a:extLst>
              </p:cNvPr>
              <p:cNvSpPr txBox="1">
                <a:spLocks noRot="1" noChangeAspect="1" noMove="1" noResize="1" noEditPoints="1" noAdjustHandles="1" noChangeArrowheads="1" noChangeShapeType="1" noTextEdit="1"/>
              </p:cNvSpPr>
              <p:nvPr/>
            </p:nvSpPr>
            <p:spPr>
              <a:xfrm>
                <a:off x="7435804" y="4480556"/>
                <a:ext cx="3684149" cy="1387688"/>
              </a:xfrm>
              <a:prstGeom prst="rect">
                <a:avLst/>
              </a:prstGeom>
              <a:blipFill>
                <a:blip r:embed="rId8"/>
                <a:stretch>
                  <a:fillRect l="-1490"/>
                </a:stretch>
              </a:blipFill>
            </p:spPr>
            <p:txBody>
              <a:bodyPr/>
              <a:lstStyle/>
              <a:p>
                <a:r>
                  <a:rPr lang="en-AU">
                    <a:noFill/>
                  </a:rPr>
                  <a:t> </a:t>
                </a:r>
              </a:p>
            </p:txBody>
          </p:sp>
        </mc:Fallback>
      </mc:AlternateContent>
      <p:sp>
        <p:nvSpPr>
          <p:cNvPr id="11" name="Arrow: Right 10">
            <a:extLst>
              <a:ext uri="{FF2B5EF4-FFF2-40B4-BE49-F238E27FC236}">
                <a16:creationId xmlns:a16="http://schemas.microsoft.com/office/drawing/2014/main" id="{4042FC17-907B-58E5-027E-0F215E7689FE}"/>
              </a:ext>
            </a:extLst>
          </p:cNvPr>
          <p:cNvSpPr/>
          <p:nvPr/>
        </p:nvSpPr>
        <p:spPr>
          <a:xfrm>
            <a:off x="8806823" y="4755826"/>
            <a:ext cx="471055" cy="81162"/>
          </a:xfrm>
          <a:prstGeom prst="rightArrow">
            <a:avLst/>
          </a:prstGeom>
          <a:solidFill>
            <a:srgbClr val="27333D"/>
          </a:solidFill>
          <a:ln>
            <a:solidFill>
              <a:srgbClr val="2733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4" name="Picture 13" descr="A white rectangular object with holes&#10;&#10;AI-generated content may be incorrect.">
            <a:extLst>
              <a:ext uri="{FF2B5EF4-FFF2-40B4-BE49-F238E27FC236}">
                <a16:creationId xmlns:a16="http://schemas.microsoft.com/office/drawing/2014/main" id="{46BF5410-51CA-BDF6-0DA2-A10CD3E4CB06}"/>
              </a:ext>
            </a:extLst>
          </p:cNvPr>
          <p:cNvPicPr>
            <a:picLocks noChangeAspect="1"/>
          </p:cNvPicPr>
          <p:nvPr/>
        </p:nvPicPr>
        <p:blipFill>
          <a:blip r:embed="rId9"/>
          <a:stretch>
            <a:fillRect/>
          </a:stretch>
        </p:blipFill>
        <p:spPr>
          <a:xfrm>
            <a:off x="1088827" y="1379503"/>
            <a:ext cx="1818993" cy="897031"/>
          </a:xfrm>
          <a:prstGeom prst="rect">
            <a:avLst/>
          </a:prstGeom>
        </p:spPr>
      </p:pic>
      <p:pic>
        <p:nvPicPr>
          <p:cNvPr id="15" name="Picture 14">
            <a:extLst>
              <a:ext uri="{FF2B5EF4-FFF2-40B4-BE49-F238E27FC236}">
                <a16:creationId xmlns:a16="http://schemas.microsoft.com/office/drawing/2014/main" id="{D9BA5F7A-3F94-CB15-B294-222C76C1938C}"/>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18" name="Picture 17">
            <a:extLst>
              <a:ext uri="{FF2B5EF4-FFF2-40B4-BE49-F238E27FC236}">
                <a16:creationId xmlns:a16="http://schemas.microsoft.com/office/drawing/2014/main" id="{C551FCBB-4683-0706-728B-1C219D7D245F}"/>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23" name="Picture 22">
            <a:extLst>
              <a:ext uri="{FF2B5EF4-FFF2-40B4-BE49-F238E27FC236}">
                <a16:creationId xmlns:a16="http://schemas.microsoft.com/office/drawing/2014/main" id="{1764DA4B-37FF-384E-FDAC-990B0F1B60B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5" name="Picture 24">
            <a:extLst>
              <a:ext uri="{FF2B5EF4-FFF2-40B4-BE49-F238E27FC236}">
                <a16:creationId xmlns:a16="http://schemas.microsoft.com/office/drawing/2014/main" id="{850E776B-5BE5-CEBE-3576-F60D5B70AE94}"/>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169602593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DE480-F943-3658-3442-859638006457}"/>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CFD975D2-3415-8655-F52C-DF6522E14825}"/>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638EFF88-E88A-8C78-B9FE-4E1935C1B186}"/>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04CD066B-7B1F-AF87-E543-D098A6AF0157}"/>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8BF11711-7EA8-EDA2-F807-96E0B2B41BA7}"/>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4DB1D901-60CB-7920-1A70-43A922B22A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77B926AF-3D81-0610-A499-E5D12AE2DA92}"/>
              </a:ext>
            </a:extLst>
          </p:cNvPr>
          <p:cNvSpPr/>
          <p:nvPr/>
        </p:nvSpPr>
        <p:spPr>
          <a:xfrm>
            <a:off x="230711" y="1100700"/>
            <a:ext cx="2905745" cy="1312743"/>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893668E-0E1E-454E-F101-1886F31CCB49}"/>
                  </a:ext>
                </a:extLst>
              </p:cNvPr>
              <p:cNvGraphicFramePr>
                <a:graphicFrameLocks noGrp="1"/>
              </p:cNvGraphicFramePr>
              <p:nvPr>
                <p:extLst>
                  <p:ext uri="{D42A27DB-BD31-4B8C-83A1-F6EECF244321}">
                    <p14:modId xmlns:p14="http://schemas.microsoft.com/office/powerpoint/2010/main" val="4224192086"/>
                  </p:ext>
                </p:extLst>
              </p:nvPr>
            </p:nvGraphicFramePr>
            <p:xfrm>
              <a:off x="230710" y="1100700"/>
              <a:ext cx="11863484" cy="5561437"/>
            </p:xfrm>
            <a:graphic>
              <a:graphicData uri="http://schemas.openxmlformats.org/drawingml/2006/table">
                <a:tbl>
                  <a:tblPr firstRow="1" bandRow="1">
                    <a:tableStyleId>{5940675A-B579-460E-94D1-54222C63F5DA}</a:tableStyleId>
                  </a:tblPr>
                  <a:tblGrid>
                    <a:gridCol w="2899091">
                      <a:extLst>
                        <a:ext uri="{9D8B030D-6E8A-4147-A177-3AD203B41FA5}">
                          <a16:colId xmlns:a16="http://schemas.microsoft.com/office/drawing/2014/main" val="2052256654"/>
                        </a:ext>
                      </a:extLst>
                    </a:gridCol>
                    <a:gridCol w="8964393">
                      <a:extLst>
                        <a:ext uri="{9D8B030D-6E8A-4147-A177-3AD203B41FA5}">
                          <a16:colId xmlns:a16="http://schemas.microsoft.com/office/drawing/2014/main" val="3572757817"/>
                        </a:ext>
                      </a:extLst>
                    </a:gridCol>
                  </a:tblGrid>
                  <a:tr h="1329065">
                    <a:tc>
                      <a:txBody>
                        <a:bodyPr/>
                        <a:lstStyle/>
                        <a:p>
                          <a:r>
                            <a:rPr lang="en-AU" b="1" dirty="0"/>
                            <a:t>Seat Hinge</a:t>
                          </a:r>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AU" sz="1800" i="1" kern="1200" smtClean="0">
                                    <a:solidFill>
                                      <a:schemeClr val="tx1"/>
                                    </a:solidFill>
                                    <a:effectLst/>
                                    <a:latin typeface="Cambria Math" panose="02040503050406030204" pitchFamily="18" charset="0"/>
                                    <a:ea typeface="+mn-ea"/>
                                    <a:cs typeface="+mn-cs"/>
                                  </a:rPr>
                                  <m:t>𝑀</m:t>
                                </m:r>
                                <m:r>
                                  <a:rPr lang="en-AU" sz="1800" i="1" kern="1200" smtClean="0">
                                    <a:solidFill>
                                      <a:schemeClr val="tx1"/>
                                    </a:solidFill>
                                    <a:effectLst/>
                                    <a:latin typeface="Cambria Math" panose="02040503050406030204" pitchFamily="18" charset="0"/>
                                    <a:ea typeface="+mn-ea"/>
                                    <a:cs typeface="+mn-cs"/>
                                  </a:rPr>
                                  <m:t>=2×</m:t>
                                </m:r>
                                <m:sSup>
                                  <m:sSupPr>
                                    <m:ctrlPr>
                                      <a:rPr lang="en-AU" sz="1800" i="1" kern="1200">
                                        <a:solidFill>
                                          <a:schemeClr val="tx1"/>
                                        </a:solidFill>
                                        <a:effectLst/>
                                        <a:latin typeface="Cambria Math" panose="02040503050406030204" pitchFamily="18" charset="0"/>
                                        <a:ea typeface="+mn-ea"/>
                                        <a:cs typeface="+mn-cs"/>
                                      </a:rPr>
                                    </m:ctrlPr>
                                  </m:sSupPr>
                                  <m:e>
                                    <m:r>
                                      <a:rPr lang="en-AU" sz="1800" i="1" kern="1200">
                                        <a:solidFill>
                                          <a:schemeClr val="tx1"/>
                                        </a:solidFill>
                                        <a:effectLst/>
                                        <a:latin typeface="Cambria Math" panose="02040503050406030204" pitchFamily="18" charset="0"/>
                                        <a:ea typeface="+mn-ea"/>
                                        <a:cs typeface="+mn-cs"/>
                                      </a:rPr>
                                      <m:t>10</m:t>
                                    </m:r>
                                  </m:e>
                                  <m:sup>
                                    <m:r>
                                      <a:rPr lang="en-AU" sz="1800" i="1" kern="1200">
                                        <a:solidFill>
                                          <a:schemeClr val="tx1"/>
                                        </a:solidFill>
                                        <a:effectLst/>
                                        <a:latin typeface="Cambria Math" panose="02040503050406030204" pitchFamily="18" charset="0"/>
                                        <a:ea typeface="+mn-ea"/>
                                        <a:cs typeface="+mn-cs"/>
                                      </a:rPr>
                                      <m:t>−2</m:t>
                                    </m:r>
                                  </m:sup>
                                </m:sSup>
                              </m:oMath>
                            </m:oMathPara>
                          </a14:m>
                          <a:endParaRPr lang="en-AU" sz="1800" kern="1200">
                            <a:solidFill>
                              <a:schemeClr val="tx1"/>
                            </a:solidFill>
                            <a:effectLst/>
                            <a:latin typeface="+mn-lt"/>
                            <a:ea typeface="+mn-ea"/>
                            <a:cs typeface="+mn-cs"/>
                          </a:endParaRPr>
                        </a:p>
                        <a:p>
                          <a:endParaRPr lang="en-AU"/>
                        </a:p>
                      </a:txBody>
                      <a:tcPr/>
                    </a:tc>
                    <a:extLst>
                      <a:ext uri="{0D108BD9-81ED-4DB2-BD59-A6C34878D82A}">
                        <a16:rowId xmlns:a16="http://schemas.microsoft.com/office/drawing/2014/main" val="3265519103"/>
                      </a:ext>
                    </a:extLst>
                  </a:tr>
                  <a:tr h="1170904">
                    <a:tc>
                      <a:txBody>
                        <a:bodyPr/>
                        <a:lstStyle/>
                        <a:p>
                          <a:r>
                            <a:rPr lang="en-AU"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45512">
                    <a:tc>
                      <a:txBody>
                        <a:bodyPr/>
                        <a:lstStyle/>
                        <a:p>
                          <a:r>
                            <a:rPr lang="en-AU"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15956">
                    <a:tc>
                      <a:txBody>
                        <a:bodyPr/>
                        <a:lstStyle/>
                        <a:p>
                          <a:r>
                            <a:rPr lang="en-AU" b="1"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mc:Choice>
        <mc:Fallback xmlns="">
          <p:graphicFrame>
            <p:nvGraphicFramePr>
              <p:cNvPr id="4" name="Table 3">
                <a:extLst>
                  <a:ext uri="{FF2B5EF4-FFF2-40B4-BE49-F238E27FC236}">
                    <a16:creationId xmlns:a16="http://schemas.microsoft.com/office/drawing/2014/main" id="{E893668E-0E1E-454E-F101-1886F31CCB49}"/>
                  </a:ext>
                </a:extLst>
              </p:cNvPr>
              <p:cNvGraphicFramePr>
                <a:graphicFrameLocks noGrp="1"/>
              </p:cNvGraphicFramePr>
              <p:nvPr>
                <p:extLst>
                  <p:ext uri="{D42A27DB-BD31-4B8C-83A1-F6EECF244321}">
                    <p14:modId xmlns:p14="http://schemas.microsoft.com/office/powerpoint/2010/main" val="4224192086"/>
                  </p:ext>
                </p:extLst>
              </p:nvPr>
            </p:nvGraphicFramePr>
            <p:xfrm>
              <a:off x="230710" y="1100700"/>
              <a:ext cx="11863484" cy="5561437"/>
            </p:xfrm>
            <a:graphic>
              <a:graphicData uri="http://schemas.openxmlformats.org/drawingml/2006/table">
                <a:tbl>
                  <a:tblPr firstRow="1" bandRow="1">
                    <a:tableStyleId>{5940675A-B579-460E-94D1-54222C63F5DA}</a:tableStyleId>
                  </a:tblPr>
                  <a:tblGrid>
                    <a:gridCol w="2899091">
                      <a:extLst>
                        <a:ext uri="{9D8B030D-6E8A-4147-A177-3AD203B41FA5}">
                          <a16:colId xmlns:a16="http://schemas.microsoft.com/office/drawing/2014/main" val="2052256654"/>
                        </a:ext>
                      </a:extLst>
                    </a:gridCol>
                    <a:gridCol w="8964393">
                      <a:extLst>
                        <a:ext uri="{9D8B030D-6E8A-4147-A177-3AD203B41FA5}">
                          <a16:colId xmlns:a16="http://schemas.microsoft.com/office/drawing/2014/main" val="3572757817"/>
                        </a:ext>
                      </a:extLst>
                    </a:gridCol>
                  </a:tblGrid>
                  <a:tr h="1329065">
                    <a:tc>
                      <a:txBody>
                        <a:bodyPr/>
                        <a:lstStyle/>
                        <a:p>
                          <a:r>
                            <a:rPr lang="en-AU" b="1" dirty="0"/>
                            <a:t>Seat Hinge</a:t>
                          </a:r>
                        </a:p>
                      </a:txBody>
                      <a:tcPr/>
                    </a:tc>
                    <a:tc rowSpan="4">
                      <a:txBody>
                        <a:bodyPr/>
                        <a:lstStyle/>
                        <a:p>
                          <a:endParaRPr lang="en-US"/>
                        </a:p>
                      </a:txBody>
                      <a:tcPr>
                        <a:blipFill>
                          <a:blip r:embed="rId5"/>
                          <a:stretch>
                            <a:fillRect l="-32427" t="-548" r="-204" b="-219"/>
                          </a:stretch>
                        </a:blipFill>
                      </a:tcPr>
                    </a:tc>
                    <a:extLst>
                      <a:ext uri="{0D108BD9-81ED-4DB2-BD59-A6C34878D82A}">
                        <a16:rowId xmlns:a16="http://schemas.microsoft.com/office/drawing/2014/main" val="3265519103"/>
                      </a:ext>
                    </a:extLst>
                  </a:tr>
                  <a:tr h="1170904">
                    <a:tc>
                      <a:txBody>
                        <a:bodyPr/>
                        <a:lstStyle/>
                        <a:p>
                          <a:r>
                            <a:rPr lang="en-AU"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45512">
                    <a:tc>
                      <a:txBody>
                        <a:bodyPr/>
                        <a:lstStyle/>
                        <a:p>
                          <a:r>
                            <a:rPr lang="en-AU"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15956">
                    <a:tc>
                      <a:txBody>
                        <a:bodyPr/>
                        <a:lstStyle/>
                        <a:p>
                          <a:r>
                            <a:rPr lang="en-AU" b="1"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mc:Fallback>
      </mc:AlternateContent>
      <p:pic>
        <p:nvPicPr>
          <p:cNvPr id="16" name="Picture 15" descr="A logo with text and a square with a arrow up&#10;&#10;AI-generated content may be incorrect.">
            <a:extLst>
              <a:ext uri="{FF2B5EF4-FFF2-40B4-BE49-F238E27FC236}">
                <a16:creationId xmlns:a16="http://schemas.microsoft.com/office/drawing/2014/main" id="{2E404A29-D013-6D4D-973D-43243D38A0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pic>
        <p:nvPicPr>
          <p:cNvPr id="7" name="Picture 6">
            <a:extLst>
              <a:ext uri="{FF2B5EF4-FFF2-40B4-BE49-F238E27FC236}">
                <a16:creationId xmlns:a16="http://schemas.microsoft.com/office/drawing/2014/main" id="{449E25BF-A8EA-8092-E427-119A51BA94B9}"/>
              </a:ext>
            </a:extLst>
          </p:cNvPr>
          <p:cNvPicPr>
            <a:picLocks noChangeAspect="1"/>
          </p:cNvPicPr>
          <p:nvPr/>
        </p:nvPicPr>
        <p:blipFill>
          <a:blip r:embed="rId7"/>
          <a:srcRect t="6170" r="13212"/>
          <a:stretch>
            <a:fillRect/>
          </a:stretch>
        </p:blipFill>
        <p:spPr>
          <a:xfrm>
            <a:off x="3136457" y="1186230"/>
            <a:ext cx="6459945" cy="4894530"/>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20C01DCC-C776-1A5F-55F7-ED6E44FB3F8E}"/>
                  </a:ext>
                </a:extLst>
              </p:cNvPr>
              <p:cNvSpPr txBox="1"/>
              <p:nvPr/>
            </p:nvSpPr>
            <p:spPr>
              <a:xfrm>
                <a:off x="9263721" y="1694805"/>
                <a:ext cx="1856232" cy="65255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AU" i="1" smtClean="0">
                          <a:solidFill>
                            <a:srgbClr val="FF0000"/>
                          </a:solidFill>
                          <a:latin typeface="Cambria Math" panose="02040503050406030204" pitchFamily="18" charset="0"/>
                        </a:rPr>
                        <m:t>𝑀</m:t>
                      </m:r>
                      <m:r>
                        <a:rPr lang="en-AU" i="1" smtClean="0">
                          <a:solidFill>
                            <a:srgbClr val="FF0000"/>
                          </a:solidFill>
                          <a:latin typeface="Cambria Math" panose="02040503050406030204" pitchFamily="18" charset="0"/>
                        </a:rPr>
                        <m:t>=2×</m:t>
                      </m:r>
                      <m:sSup>
                        <m:sSupPr>
                          <m:ctrlPr>
                            <a:rPr lang="en-AU" i="1">
                              <a:solidFill>
                                <a:srgbClr val="FF0000"/>
                              </a:solidFill>
                              <a:latin typeface="Cambria Math" panose="02040503050406030204" pitchFamily="18" charset="0"/>
                            </a:rPr>
                          </m:ctrlPr>
                        </m:sSupPr>
                        <m:e>
                          <m:r>
                            <a:rPr lang="en-AU" i="1">
                              <a:solidFill>
                                <a:srgbClr val="FF0000"/>
                              </a:solidFill>
                              <a:latin typeface="Cambria Math" panose="02040503050406030204" pitchFamily="18" charset="0"/>
                            </a:rPr>
                            <m:t>10</m:t>
                          </m:r>
                        </m:e>
                        <m:sup>
                          <m:r>
                            <a:rPr lang="en-AU" i="1">
                              <a:solidFill>
                                <a:srgbClr val="FF0000"/>
                              </a:solidFill>
                              <a:latin typeface="Cambria Math" panose="02040503050406030204" pitchFamily="18" charset="0"/>
                            </a:rPr>
                            <m:t>−2</m:t>
                          </m:r>
                        </m:sup>
                      </m:sSup>
                    </m:oMath>
                  </m:oMathPara>
                </a14:m>
                <a:endParaRPr lang="en-AU">
                  <a:solidFill>
                    <a:srgbClr val="FF0000"/>
                  </a:solidFill>
                </a:endParaRPr>
              </a:p>
              <a:p>
                <a:endParaRPr lang="en-AU">
                  <a:solidFill>
                    <a:srgbClr val="FF0000"/>
                  </a:solidFill>
                </a:endParaRPr>
              </a:p>
            </p:txBody>
          </p:sp>
        </mc:Choice>
        <mc:Fallback xmlns="">
          <p:sp>
            <p:nvSpPr>
              <p:cNvPr id="11" name="TextBox 10">
                <a:extLst>
                  <a:ext uri="{FF2B5EF4-FFF2-40B4-BE49-F238E27FC236}">
                    <a16:creationId xmlns:a16="http://schemas.microsoft.com/office/drawing/2014/main" id="{20C01DCC-C776-1A5F-55F7-ED6E44FB3F8E}"/>
                  </a:ext>
                </a:extLst>
              </p:cNvPr>
              <p:cNvSpPr txBox="1">
                <a:spLocks noRot="1" noChangeAspect="1" noMove="1" noResize="1" noEditPoints="1" noAdjustHandles="1" noChangeArrowheads="1" noChangeShapeType="1" noTextEdit="1"/>
              </p:cNvSpPr>
              <p:nvPr/>
            </p:nvSpPr>
            <p:spPr>
              <a:xfrm>
                <a:off x="9263721" y="1694805"/>
                <a:ext cx="1856232" cy="652551"/>
              </a:xfrm>
              <a:prstGeom prst="rect">
                <a:avLst/>
              </a:prstGeom>
              <a:blipFill>
                <a:blip r:embed="rId8"/>
                <a:stretch>
                  <a:fillRect/>
                </a:stretch>
              </a:blipFill>
            </p:spPr>
            <p:txBody>
              <a:bodyPr/>
              <a:lstStyle/>
              <a:p>
                <a:r>
                  <a:rPr lang="en-AU">
                    <a:noFill/>
                  </a:rPr>
                  <a:t> </a:t>
                </a:r>
              </a:p>
            </p:txBody>
          </p:sp>
        </mc:Fallback>
      </mc:AlternateContent>
      <p:sp>
        <p:nvSpPr>
          <p:cNvPr id="14" name="TextBox 13">
            <a:extLst>
              <a:ext uri="{FF2B5EF4-FFF2-40B4-BE49-F238E27FC236}">
                <a16:creationId xmlns:a16="http://schemas.microsoft.com/office/drawing/2014/main" id="{7C050CA4-C27C-B2BC-667F-23E4736E29FE}"/>
              </a:ext>
            </a:extLst>
          </p:cNvPr>
          <p:cNvSpPr txBox="1"/>
          <p:nvPr/>
        </p:nvSpPr>
        <p:spPr>
          <a:xfrm>
            <a:off x="9588186" y="2333835"/>
            <a:ext cx="2857609" cy="3139321"/>
          </a:xfrm>
          <a:prstGeom prst="rect">
            <a:avLst/>
          </a:prstGeom>
          <a:noFill/>
        </p:spPr>
        <p:txBody>
          <a:bodyPr wrap="square" rtlCol="0">
            <a:spAutoFit/>
          </a:bodyPr>
          <a:lstStyle/>
          <a:p>
            <a:pPr marL="285750" indent="-285750">
              <a:buFont typeface="Arial" panose="020B0604020202020204" pitchFamily="34" charset="0"/>
              <a:buChar char="•"/>
            </a:pPr>
            <a:r>
              <a:rPr lang="en-AU">
                <a:solidFill>
                  <a:srgbClr val="FF0000"/>
                </a:solidFill>
              </a:rPr>
              <a:t>Polyethylene:    </a:t>
            </a:r>
          </a:p>
          <a:p>
            <a:r>
              <a:rPr lang="en-AU">
                <a:solidFill>
                  <a:srgbClr val="FF0000"/>
                </a:solidFill>
              </a:rPr>
              <a:t>     M = 32</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Polypropylene:  </a:t>
            </a:r>
          </a:p>
          <a:p>
            <a:r>
              <a:rPr lang="en-AU"/>
              <a:t>     M = 30</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Elastomer: </a:t>
            </a:r>
          </a:p>
          <a:p>
            <a:r>
              <a:rPr lang="en-AU"/>
              <a:t>     M = 100 – 1000</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High-strength Copper Alloys: M = 4</a:t>
            </a:r>
          </a:p>
        </p:txBody>
      </p:sp>
      <p:pic>
        <p:nvPicPr>
          <p:cNvPr id="18" name="Picture 17">
            <a:extLst>
              <a:ext uri="{FF2B5EF4-FFF2-40B4-BE49-F238E27FC236}">
                <a16:creationId xmlns:a16="http://schemas.microsoft.com/office/drawing/2014/main" id="{B1AC0BB0-86D3-1520-98DC-CC28C329A97F}"/>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25" name="Picture 24">
            <a:extLst>
              <a:ext uri="{FF2B5EF4-FFF2-40B4-BE49-F238E27FC236}">
                <a16:creationId xmlns:a16="http://schemas.microsoft.com/office/drawing/2014/main" id="{CE4CF8E8-B3C5-DAAD-DCCF-D7CFFCADEB50}"/>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6" name="Picture 25" descr="A white rectangular object with holes&#10;&#10;AI-generated content may be incorrect.">
            <a:extLst>
              <a:ext uri="{FF2B5EF4-FFF2-40B4-BE49-F238E27FC236}">
                <a16:creationId xmlns:a16="http://schemas.microsoft.com/office/drawing/2014/main" id="{2D0896C1-2479-ED7C-CA63-22643BB5EDC8}"/>
              </a:ext>
            </a:extLst>
          </p:cNvPr>
          <p:cNvPicPr>
            <a:picLocks noChangeAspect="1"/>
          </p:cNvPicPr>
          <p:nvPr/>
        </p:nvPicPr>
        <p:blipFill>
          <a:blip r:embed="rId13"/>
          <a:stretch>
            <a:fillRect/>
          </a:stretch>
        </p:blipFill>
        <p:spPr>
          <a:xfrm>
            <a:off x="1088827" y="1379503"/>
            <a:ext cx="1818993" cy="897031"/>
          </a:xfrm>
          <a:prstGeom prst="rect">
            <a:avLst/>
          </a:prstGeom>
        </p:spPr>
      </p:pic>
      <p:pic>
        <p:nvPicPr>
          <p:cNvPr id="27" name="Picture 26">
            <a:extLst>
              <a:ext uri="{FF2B5EF4-FFF2-40B4-BE49-F238E27FC236}">
                <a16:creationId xmlns:a16="http://schemas.microsoft.com/office/drawing/2014/main" id="{C4168BD6-DD2B-C711-0809-8457F61F5F56}"/>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28" name="Picture 27">
            <a:extLst>
              <a:ext uri="{FF2B5EF4-FFF2-40B4-BE49-F238E27FC236}">
                <a16:creationId xmlns:a16="http://schemas.microsoft.com/office/drawing/2014/main" id="{11E58DB1-931C-C8AB-F820-B8ABC59E2070}"/>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37064800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BBF8600C-5C96-C2F5-740F-E341A3CF04BB}"/>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54B0C926-5AB5-0C1A-11A4-74C380391F79}"/>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B3D65C89-62F8-E736-C55E-8E59411116FB}"/>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5AC45562-EF5A-7E04-A272-61897D8CA6A5}"/>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0C75947D-008F-E884-EAA0-74AD83C640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BC2B24F3-B2D5-5554-D8AA-4AFE1BD772C5}"/>
              </a:ext>
            </a:extLst>
          </p:cNvPr>
          <p:cNvSpPr/>
          <p:nvPr/>
        </p:nvSpPr>
        <p:spPr>
          <a:xfrm>
            <a:off x="149195" y="2356945"/>
            <a:ext cx="2929713" cy="1192790"/>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4" name="Table 3">
            <a:extLst>
              <a:ext uri="{FF2B5EF4-FFF2-40B4-BE49-F238E27FC236}">
                <a16:creationId xmlns:a16="http://schemas.microsoft.com/office/drawing/2014/main" id="{DEC6B69F-D38C-7B0F-53D1-51AFD26FB967}"/>
              </a:ext>
            </a:extLst>
          </p:cNvPr>
          <p:cNvGraphicFramePr>
            <a:graphicFrameLocks noGrp="1"/>
          </p:cNvGraphicFramePr>
          <p:nvPr>
            <p:extLst>
              <p:ext uri="{D42A27DB-BD31-4B8C-83A1-F6EECF244321}">
                <p14:modId xmlns:p14="http://schemas.microsoft.com/office/powerpoint/2010/main" val="3355488965"/>
              </p:ext>
            </p:extLst>
          </p:nvPr>
        </p:nvGraphicFramePr>
        <p:xfrm>
          <a:off x="149195" y="1037771"/>
          <a:ext cx="11944999" cy="5602516"/>
        </p:xfrm>
        <a:graphic>
          <a:graphicData uri="http://schemas.openxmlformats.org/drawingml/2006/table">
            <a:tbl>
              <a:tblPr firstRow="1" bandRow="1">
                <a:tableStyleId>{5940675A-B579-460E-94D1-54222C63F5DA}</a:tableStyleId>
              </a:tblPr>
              <a:tblGrid>
                <a:gridCol w="2919011">
                  <a:extLst>
                    <a:ext uri="{9D8B030D-6E8A-4147-A177-3AD203B41FA5}">
                      <a16:colId xmlns:a16="http://schemas.microsoft.com/office/drawing/2014/main" val="2052256654"/>
                    </a:ext>
                  </a:extLst>
                </a:gridCol>
                <a:gridCol w="9025988">
                  <a:extLst>
                    <a:ext uri="{9D8B030D-6E8A-4147-A177-3AD203B41FA5}">
                      <a16:colId xmlns:a16="http://schemas.microsoft.com/office/drawing/2014/main" val="3572757817"/>
                    </a:ext>
                  </a:extLst>
                </a:gridCol>
              </a:tblGrid>
              <a:tr h="1338882">
                <a:tc>
                  <a:txBody>
                    <a:bodyPr/>
                    <a:lstStyle/>
                    <a:p>
                      <a:r>
                        <a:rPr lang="en-AU" b="0" dirty="0"/>
                        <a:t>Seat Hinge</a:t>
                      </a:r>
                    </a:p>
                  </a:txBody>
                  <a:tcPr/>
                </a:tc>
                <a:tc rowSpan="4">
                  <a:txBody>
                    <a:bodyPr/>
                    <a:lstStyle/>
                    <a:p>
                      <a:endParaRPr lang="en-AU" dirty="0"/>
                    </a:p>
                  </a:txBody>
                  <a:tcPr/>
                </a:tc>
                <a:extLst>
                  <a:ext uri="{0D108BD9-81ED-4DB2-BD59-A6C34878D82A}">
                    <a16:rowId xmlns:a16="http://schemas.microsoft.com/office/drawing/2014/main" val="3265519103"/>
                  </a:ext>
                </a:extLst>
              </a:tr>
              <a:tr h="1179553">
                <a:tc>
                  <a:txBody>
                    <a:bodyPr/>
                    <a:lstStyle/>
                    <a:p>
                      <a:r>
                        <a:rPr lang="en-AU" b="1"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55450">
                <a:tc>
                  <a:txBody>
                    <a:bodyPr/>
                    <a:lstStyle/>
                    <a:p>
                      <a:r>
                        <a:rPr lang="en-AU"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28631">
                <a:tc>
                  <a:txBody>
                    <a:bodyPr/>
                    <a:lstStyle/>
                    <a:p>
                      <a:r>
                        <a:rPr lang="en-AU"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C73FE504-B86F-95B4-3688-B254C61384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graphicFrame>
        <p:nvGraphicFramePr>
          <p:cNvPr id="19" name="Table 18">
            <a:extLst>
              <a:ext uri="{FF2B5EF4-FFF2-40B4-BE49-F238E27FC236}">
                <a16:creationId xmlns:a16="http://schemas.microsoft.com/office/drawing/2014/main" id="{4C8DE886-0061-A56E-2C4C-529E96DA6020}"/>
              </a:ext>
            </a:extLst>
          </p:cNvPr>
          <p:cNvGraphicFramePr>
            <a:graphicFrameLocks noGrp="1"/>
          </p:cNvGraphicFramePr>
          <p:nvPr>
            <p:extLst>
              <p:ext uri="{D42A27DB-BD31-4B8C-83A1-F6EECF244321}">
                <p14:modId xmlns:p14="http://schemas.microsoft.com/office/powerpoint/2010/main" val="4115378238"/>
              </p:ext>
            </p:extLst>
          </p:nvPr>
        </p:nvGraphicFramePr>
        <p:xfrm>
          <a:off x="3329989" y="1221846"/>
          <a:ext cx="8427902" cy="3131645"/>
        </p:xfrm>
        <a:graphic>
          <a:graphicData uri="http://schemas.openxmlformats.org/drawingml/2006/table">
            <a:tbl>
              <a:tblPr firstRow="1" bandRow="1">
                <a:tableStyleId>{5940675A-B579-460E-94D1-54222C63F5DA}</a:tableStyleId>
              </a:tblPr>
              <a:tblGrid>
                <a:gridCol w="3458738">
                  <a:extLst>
                    <a:ext uri="{9D8B030D-6E8A-4147-A177-3AD203B41FA5}">
                      <a16:colId xmlns:a16="http://schemas.microsoft.com/office/drawing/2014/main" val="2186101804"/>
                    </a:ext>
                  </a:extLst>
                </a:gridCol>
                <a:gridCol w="4969164">
                  <a:extLst>
                    <a:ext uri="{9D8B030D-6E8A-4147-A177-3AD203B41FA5}">
                      <a16:colId xmlns:a16="http://schemas.microsoft.com/office/drawing/2014/main" val="2406339668"/>
                    </a:ext>
                  </a:extLst>
                </a:gridCol>
              </a:tblGrid>
              <a:tr h="615813">
                <a:tc>
                  <a:txBody>
                    <a:bodyPr/>
                    <a:lstStyle/>
                    <a:p>
                      <a:r>
                        <a:rPr lang="en-AU" b="1"/>
                        <a:t>Function</a:t>
                      </a:r>
                    </a:p>
                  </a:txBody>
                  <a:tcPr/>
                </a:tc>
                <a:tc>
                  <a:txBody>
                    <a:bodyPr/>
                    <a:lstStyle/>
                    <a:p>
                      <a:pPr marL="285750" indent="-285750">
                        <a:buFont typeface="Arial" panose="020B0604020202020204" pitchFamily="34" charset="0"/>
                        <a:buChar char="•"/>
                      </a:pPr>
                      <a:r>
                        <a:rPr lang="en-AU"/>
                        <a:t>Support load of mechanism with the user</a:t>
                      </a:r>
                    </a:p>
                  </a:txBody>
                  <a:tcPr/>
                </a:tc>
                <a:extLst>
                  <a:ext uri="{0D108BD9-81ED-4DB2-BD59-A6C34878D82A}">
                    <a16:rowId xmlns:a16="http://schemas.microsoft.com/office/drawing/2014/main" val="1007078397"/>
                  </a:ext>
                </a:extLst>
              </a:tr>
              <a:tr h="980483">
                <a:tc>
                  <a:txBody>
                    <a:bodyPr/>
                    <a:lstStyle/>
                    <a:p>
                      <a:r>
                        <a:rPr lang="en-AU" b="1"/>
                        <a:t>Constrain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Must be lighter than 3k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Must support 50kg</a:t>
                      </a:r>
                    </a:p>
                    <a:p>
                      <a:endParaRPr lang="en-AU"/>
                    </a:p>
                  </a:txBody>
                  <a:tcPr/>
                </a:tc>
                <a:extLst>
                  <a:ext uri="{0D108BD9-81ED-4DB2-BD59-A6C34878D82A}">
                    <a16:rowId xmlns:a16="http://schemas.microsoft.com/office/drawing/2014/main" val="3194689625"/>
                  </a:ext>
                </a:extLst>
              </a:tr>
              <a:tr h="620949">
                <a:tc>
                  <a:txBody>
                    <a:bodyPr/>
                    <a:lstStyle/>
                    <a:p>
                      <a:r>
                        <a:rPr lang="en-AU" b="1"/>
                        <a:t>Objective</a:t>
                      </a:r>
                    </a:p>
                  </a:txBody>
                  <a:tcPr/>
                </a:tc>
                <a:tc>
                  <a:txBody>
                    <a:bodyPr/>
                    <a:lstStyle/>
                    <a:p>
                      <a:pPr marL="285750" indent="-285750">
                        <a:buFont typeface="Arial" panose="020B0604020202020204" pitchFamily="34" charset="0"/>
                        <a:buChar char="•"/>
                      </a:pPr>
                      <a:r>
                        <a:rPr lang="en-AU"/>
                        <a:t>Maximise stiffness</a:t>
                      </a:r>
                    </a:p>
                  </a:txBody>
                  <a:tcPr/>
                </a:tc>
                <a:extLst>
                  <a:ext uri="{0D108BD9-81ED-4DB2-BD59-A6C34878D82A}">
                    <a16:rowId xmlns:a16="http://schemas.microsoft.com/office/drawing/2014/main" val="1331710103"/>
                  </a:ext>
                </a:extLst>
              </a:tr>
              <a:tr h="754218">
                <a:tc>
                  <a:txBody>
                    <a:bodyPr/>
                    <a:lstStyle/>
                    <a:p>
                      <a:r>
                        <a:rPr lang="en-AU" b="1"/>
                        <a:t>Free variables</a:t>
                      </a:r>
                    </a:p>
                  </a:txBody>
                  <a:tcPr/>
                </a:tc>
                <a:tc>
                  <a:txBody>
                    <a:bodyPr/>
                    <a:lstStyle/>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Thickness </a:t>
                      </a:r>
                    </a:p>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Material</a:t>
                      </a:r>
                    </a:p>
                    <a:p>
                      <a:pPr marL="285750" indent="-285750">
                        <a:buFont typeface="Arial" panose="020B0604020202020204" pitchFamily="34" charset="0"/>
                        <a:buChar char="•"/>
                      </a:pPr>
                      <a:endParaRPr lang="en-AU"/>
                    </a:p>
                  </a:txBody>
                  <a:tcPr/>
                </a:tc>
                <a:extLst>
                  <a:ext uri="{0D108BD9-81ED-4DB2-BD59-A6C34878D82A}">
                    <a16:rowId xmlns:a16="http://schemas.microsoft.com/office/drawing/2014/main" val="2453969532"/>
                  </a:ext>
                </a:extLst>
              </a:tr>
            </a:tbl>
          </a:graphicData>
        </a:graphic>
      </p:graphicFrame>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CD7B7517-56D8-F598-B783-0B17484016EE}"/>
                  </a:ext>
                </a:extLst>
              </p:cNvPr>
              <p:cNvSpPr txBox="1"/>
              <p:nvPr/>
            </p:nvSpPr>
            <p:spPr>
              <a:xfrm>
                <a:off x="4047400" y="4798147"/>
                <a:ext cx="1936955" cy="923330"/>
              </a:xfrm>
              <a:prstGeom prst="rect">
                <a:avLst/>
              </a:prstGeom>
              <a:noFill/>
            </p:spPr>
            <p:txBody>
              <a:bodyPr wrap="square" rtlCol="0">
                <a:spAutoFit/>
              </a:bodyPr>
              <a:lstStyle/>
              <a:p>
                <a:r>
                  <a:rPr lang="en-AU"/>
                  <a:t>Maximum density: </a:t>
                </a:r>
              </a:p>
              <a:p>
                <a:endParaRPr lang="en-AU"/>
              </a:p>
              <a:p>
                <a:pPr algn="ctr"/>
                <a14:m>
                  <m:oMath xmlns:m="http://schemas.openxmlformats.org/officeDocument/2006/math">
                    <m:r>
                      <a:rPr lang="en-AU" i="1" smtClean="0">
                        <a:latin typeface="Cambria Math" panose="02040503050406030204" pitchFamily="18" charset="0"/>
                        <a:ea typeface="Cambria Math" panose="02040503050406030204" pitchFamily="18" charset="0"/>
                      </a:rPr>
                      <m:t>𝜌</m:t>
                    </m:r>
                    <m:r>
                      <a:rPr lang="en-AU" b="0" i="1" smtClean="0">
                        <a:latin typeface="Cambria Math" panose="02040503050406030204" pitchFamily="18" charset="0"/>
                        <a:ea typeface="Cambria Math" panose="02040503050406030204" pitchFamily="18" charset="0"/>
                      </a:rPr>
                      <m:t>=5800</m:t>
                    </m:r>
                  </m:oMath>
                </a14:m>
                <a:r>
                  <a:rPr lang="en-AU"/>
                  <a:t> kg/m</a:t>
                </a:r>
                <a:r>
                  <a:rPr lang="en-AU" baseline="30000"/>
                  <a:t>3</a:t>
                </a:r>
                <a:endParaRPr lang="en-AU"/>
              </a:p>
            </p:txBody>
          </p:sp>
        </mc:Choice>
        <mc:Fallback xmlns="">
          <p:sp>
            <p:nvSpPr>
              <p:cNvPr id="20" name="TextBox 19">
                <a:extLst>
                  <a:ext uri="{FF2B5EF4-FFF2-40B4-BE49-F238E27FC236}">
                    <a16:creationId xmlns:a16="http://schemas.microsoft.com/office/drawing/2014/main" id="{CD7B7517-56D8-F598-B783-0B17484016EE}"/>
                  </a:ext>
                </a:extLst>
              </p:cNvPr>
              <p:cNvSpPr txBox="1">
                <a:spLocks noRot="1" noChangeAspect="1" noMove="1" noResize="1" noEditPoints="1" noAdjustHandles="1" noChangeArrowheads="1" noChangeShapeType="1" noTextEdit="1"/>
              </p:cNvSpPr>
              <p:nvPr/>
            </p:nvSpPr>
            <p:spPr>
              <a:xfrm>
                <a:off x="4047400" y="4798147"/>
                <a:ext cx="1936955" cy="923330"/>
              </a:xfrm>
              <a:prstGeom prst="rect">
                <a:avLst/>
              </a:prstGeom>
              <a:blipFill>
                <a:blip r:embed="rId6"/>
                <a:stretch>
                  <a:fillRect l="-2830" t="-3289" r="-3774" b="-9211"/>
                </a:stretch>
              </a:blipFill>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8AFF6A90-2C9B-1EE0-E526-0E538A0DE805}"/>
                  </a:ext>
                </a:extLst>
              </p:cNvPr>
              <p:cNvSpPr txBox="1"/>
              <p:nvPr/>
            </p:nvSpPr>
            <p:spPr>
              <a:xfrm>
                <a:off x="7790716" y="4798147"/>
                <a:ext cx="2838691" cy="923330"/>
              </a:xfrm>
              <a:prstGeom prst="rect">
                <a:avLst/>
              </a:prstGeom>
              <a:noFill/>
            </p:spPr>
            <p:txBody>
              <a:bodyPr wrap="square" rtlCol="0">
                <a:spAutoFit/>
              </a:bodyPr>
              <a:lstStyle/>
              <a:p>
                <a:r>
                  <a:rPr lang="en-AU"/>
                  <a:t>Minimum Young’s Modulus:</a:t>
                </a:r>
              </a:p>
              <a:p>
                <a:endParaRPr lang="en-AU"/>
              </a:p>
              <a:p>
                <a:pPr/>
                <a14:m>
                  <m:oMathPara xmlns:m="http://schemas.openxmlformats.org/officeDocument/2006/math">
                    <m:oMathParaPr>
                      <m:jc m:val="centerGroup"/>
                    </m:oMathParaPr>
                    <m:oMath xmlns:m="http://schemas.openxmlformats.org/officeDocument/2006/math">
                      <m:sSub>
                        <m:sSubPr>
                          <m:ctrlPr>
                            <a:rPr lang="en-AU" i="1" smtClean="0">
                              <a:latin typeface="Cambria Math" panose="02040503050406030204" pitchFamily="18" charset="0"/>
                            </a:rPr>
                          </m:ctrlPr>
                        </m:sSubPr>
                        <m:e>
                          <m:r>
                            <a:rPr lang="en-AU" b="0" i="1" smtClean="0">
                              <a:latin typeface="Cambria Math" panose="02040503050406030204" pitchFamily="18" charset="0"/>
                            </a:rPr>
                            <m:t>𝐸</m:t>
                          </m:r>
                        </m:e>
                        <m:sub>
                          <m:r>
                            <a:rPr lang="en-AU" b="0" i="1" smtClean="0">
                              <a:latin typeface="Cambria Math" panose="02040503050406030204" pitchFamily="18" charset="0"/>
                            </a:rPr>
                            <m:t>𝑚𝑖𝑛</m:t>
                          </m:r>
                        </m:sub>
                      </m:sSub>
                      <m:r>
                        <a:rPr lang="en-AU" b="0" i="1" smtClean="0">
                          <a:latin typeface="Cambria Math" panose="02040503050406030204" pitchFamily="18" charset="0"/>
                        </a:rPr>
                        <m:t>=0.2285</m:t>
                      </m:r>
                      <m:r>
                        <a:rPr lang="en-AU" b="0" i="1" smtClean="0">
                          <a:latin typeface="Cambria Math" panose="02040503050406030204" pitchFamily="18" charset="0"/>
                        </a:rPr>
                        <m:t>𝐺𝑃𝑎</m:t>
                      </m:r>
                    </m:oMath>
                  </m:oMathPara>
                </a14:m>
                <a:endParaRPr lang="en-AU"/>
              </a:p>
            </p:txBody>
          </p:sp>
        </mc:Choice>
        <mc:Fallback xmlns="">
          <p:sp>
            <p:nvSpPr>
              <p:cNvPr id="21" name="TextBox 20">
                <a:extLst>
                  <a:ext uri="{FF2B5EF4-FFF2-40B4-BE49-F238E27FC236}">
                    <a16:creationId xmlns:a16="http://schemas.microsoft.com/office/drawing/2014/main" id="{8AFF6A90-2C9B-1EE0-E526-0E538A0DE805}"/>
                  </a:ext>
                </a:extLst>
              </p:cNvPr>
              <p:cNvSpPr txBox="1">
                <a:spLocks noRot="1" noChangeAspect="1" noMove="1" noResize="1" noEditPoints="1" noAdjustHandles="1" noChangeArrowheads="1" noChangeShapeType="1" noTextEdit="1"/>
              </p:cNvSpPr>
              <p:nvPr/>
            </p:nvSpPr>
            <p:spPr>
              <a:xfrm>
                <a:off x="7790716" y="4798147"/>
                <a:ext cx="2838691" cy="923330"/>
              </a:xfrm>
              <a:prstGeom prst="rect">
                <a:avLst/>
              </a:prstGeom>
              <a:blipFill>
                <a:blip r:embed="rId7"/>
                <a:stretch>
                  <a:fillRect l="-1717" t="-3289" r="-215"/>
                </a:stretch>
              </a:blipFill>
            </p:spPr>
            <p:txBody>
              <a:bodyPr/>
              <a:lstStyle/>
              <a:p>
                <a:r>
                  <a:rPr lang="en-AU">
                    <a:noFill/>
                  </a:rPr>
                  <a:t> </a:t>
                </a:r>
              </a:p>
            </p:txBody>
          </p:sp>
        </mc:Fallback>
      </mc:AlternateContent>
      <p:pic>
        <p:nvPicPr>
          <p:cNvPr id="6" name="Picture 5">
            <a:extLst>
              <a:ext uri="{FF2B5EF4-FFF2-40B4-BE49-F238E27FC236}">
                <a16:creationId xmlns:a16="http://schemas.microsoft.com/office/drawing/2014/main" id="{7240D110-F0C5-67DE-F6AF-0D724E4DBEB6}"/>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28" name="Picture 27" descr="A white rectangular object with holes&#10;&#10;AI-generated content may be incorrect.">
            <a:extLst>
              <a:ext uri="{FF2B5EF4-FFF2-40B4-BE49-F238E27FC236}">
                <a16:creationId xmlns:a16="http://schemas.microsoft.com/office/drawing/2014/main" id="{0EECB733-19D9-0F0F-494C-0F92FB8B7EC2}"/>
              </a:ext>
            </a:extLst>
          </p:cNvPr>
          <p:cNvPicPr>
            <a:picLocks noChangeAspect="1"/>
          </p:cNvPicPr>
          <p:nvPr/>
        </p:nvPicPr>
        <p:blipFill>
          <a:blip r:embed="rId10"/>
          <a:stretch>
            <a:fillRect/>
          </a:stretch>
        </p:blipFill>
        <p:spPr>
          <a:xfrm>
            <a:off x="1088827" y="1379503"/>
            <a:ext cx="1818993" cy="897031"/>
          </a:xfrm>
          <a:prstGeom prst="rect">
            <a:avLst/>
          </a:prstGeom>
        </p:spPr>
      </p:pic>
      <p:pic>
        <p:nvPicPr>
          <p:cNvPr id="3" name="Picture 2">
            <a:extLst>
              <a:ext uri="{FF2B5EF4-FFF2-40B4-BE49-F238E27FC236}">
                <a16:creationId xmlns:a16="http://schemas.microsoft.com/office/drawing/2014/main" id="{BD970E9E-9FCF-A886-6A24-064982ECF684}"/>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13" name="Picture 12">
            <a:extLst>
              <a:ext uri="{FF2B5EF4-FFF2-40B4-BE49-F238E27FC236}">
                <a16:creationId xmlns:a16="http://schemas.microsoft.com/office/drawing/2014/main" id="{CFA391F6-C9EA-1AD7-F236-6E9CD7C96442}"/>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14" name="Picture 13">
            <a:extLst>
              <a:ext uri="{FF2B5EF4-FFF2-40B4-BE49-F238E27FC236}">
                <a16:creationId xmlns:a16="http://schemas.microsoft.com/office/drawing/2014/main" id="{C90D6684-BC29-F2D5-19C4-738E6F4DBA2A}"/>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142056431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AABD0-A3C7-4646-EDF0-7FBCF25CAD4C}"/>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6A6E4BAC-CB70-CDAA-20F3-7054D2A1F139}"/>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41B8C1C4-1F4E-5349-3F19-4226928CD77E}"/>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7614FF9E-E940-DB70-3B7B-A5EC941A0788}"/>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88052A0A-E7BE-8371-0195-D4DA777D5321}"/>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2373A805-9FCC-554E-177D-7E6669BF9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5E69DFDD-53C3-00FC-35F6-5AED6DB3EF0B}"/>
              </a:ext>
            </a:extLst>
          </p:cNvPr>
          <p:cNvSpPr/>
          <p:nvPr/>
        </p:nvSpPr>
        <p:spPr>
          <a:xfrm>
            <a:off x="145995" y="2392116"/>
            <a:ext cx="2929713" cy="1150346"/>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4" name="Table 3">
            <a:extLst>
              <a:ext uri="{FF2B5EF4-FFF2-40B4-BE49-F238E27FC236}">
                <a16:creationId xmlns:a16="http://schemas.microsoft.com/office/drawing/2014/main" id="{52045E7D-FDD4-FBC3-7E29-6370B5CF55AA}"/>
              </a:ext>
            </a:extLst>
          </p:cNvPr>
          <p:cNvGraphicFramePr>
            <a:graphicFrameLocks noGrp="1"/>
          </p:cNvGraphicFramePr>
          <p:nvPr>
            <p:extLst>
              <p:ext uri="{D42A27DB-BD31-4B8C-83A1-F6EECF244321}">
                <p14:modId xmlns:p14="http://schemas.microsoft.com/office/powerpoint/2010/main" val="3292187312"/>
              </p:ext>
            </p:extLst>
          </p:nvPr>
        </p:nvGraphicFramePr>
        <p:xfrm>
          <a:off x="145995" y="1037771"/>
          <a:ext cx="11948199" cy="5602516"/>
        </p:xfrm>
        <a:graphic>
          <a:graphicData uri="http://schemas.openxmlformats.org/drawingml/2006/table">
            <a:tbl>
              <a:tblPr firstRow="1" bandRow="1">
                <a:tableStyleId>{5940675A-B579-460E-94D1-54222C63F5DA}</a:tableStyleId>
              </a:tblPr>
              <a:tblGrid>
                <a:gridCol w="2919793">
                  <a:extLst>
                    <a:ext uri="{9D8B030D-6E8A-4147-A177-3AD203B41FA5}">
                      <a16:colId xmlns:a16="http://schemas.microsoft.com/office/drawing/2014/main" val="2052256654"/>
                    </a:ext>
                  </a:extLst>
                </a:gridCol>
                <a:gridCol w="9028406">
                  <a:extLst>
                    <a:ext uri="{9D8B030D-6E8A-4147-A177-3AD203B41FA5}">
                      <a16:colId xmlns:a16="http://schemas.microsoft.com/office/drawing/2014/main" val="3572757817"/>
                    </a:ext>
                  </a:extLst>
                </a:gridCol>
              </a:tblGrid>
              <a:tr h="1338882">
                <a:tc>
                  <a:txBody>
                    <a:bodyPr/>
                    <a:lstStyle/>
                    <a:p>
                      <a:r>
                        <a:rPr lang="en-AU" b="0" dirty="0"/>
                        <a:t>Seat Hinge</a:t>
                      </a:r>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1800" kern="1200">
                        <a:solidFill>
                          <a:schemeClr val="tx1"/>
                        </a:solidFill>
                        <a:effectLst/>
                        <a:latin typeface="+mn-lt"/>
                        <a:ea typeface="+mn-ea"/>
                        <a:cs typeface="+mn-cs"/>
                      </a:endParaRPr>
                    </a:p>
                    <a:p>
                      <a:endParaRPr lang="en-AU"/>
                    </a:p>
                  </a:txBody>
                  <a:tcPr/>
                </a:tc>
                <a:extLst>
                  <a:ext uri="{0D108BD9-81ED-4DB2-BD59-A6C34878D82A}">
                    <a16:rowId xmlns:a16="http://schemas.microsoft.com/office/drawing/2014/main" val="3265519103"/>
                  </a:ext>
                </a:extLst>
              </a:tr>
              <a:tr h="1179553">
                <a:tc>
                  <a:txBody>
                    <a:bodyPr/>
                    <a:lstStyle/>
                    <a:p>
                      <a:r>
                        <a:rPr lang="en-AU" b="1"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55450">
                <a:tc>
                  <a:txBody>
                    <a:bodyPr/>
                    <a:lstStyle/>
                    <a:p>
                      <a:r>
                        <a:rPr lang="en-AU"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28631">
                <a:tc>
                  <a:txBody>
                    <a:bodyPr/>
                    <a:lstStyle/>
                    <a:p>
                      <a:r>
                        <a:rPr lang="en-AU"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871CF7C0-6896-A756-0E39-EA51B8944D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sp>
        <p:nvSpPr>
          <p:cNvPr id="20" name="TextBox 19">
            <a:extLst>
              <a:ext uri="{FF2B5EF4-FFF2-40B4-BE49-F238E27FC236}">
                <a16:creationId xmlns:a16="http://schemas.microsoft.com/office/drawing/2014/main" id="{45A0F237-B5A5-795E-52D6-0552FF919CBA}"/>
              </a:ext>
            </a:extLst>
          </p:cNvPr>
          <p:cNvSpPr txBox="1"/>
          <p:nvPr/>
        </p:nvSpPr>
        <p:spPr>
          <a:xfrm>
            <a:off x="9612081" y="2142323"/>
            <a:ext cx="2838691" cy="3139321"/>
          </a:xfrm>
          <a:prstGeom prst="rect">
            <a:avLst/>
          </a:prstGeom>
          <a:noFill/>
        </p:spPr>
        <p:txBody>
          <a:bodyPr wrap="square" rtlCol="0">
            <a:spAutoFit/>
          </a:bodyPr>
          <a:lstStyle/>
          <a:p>
            <a:pPr marL="285750" indent="-285750">
              <a:buFont typeface="Arial" panose="020B0604020202020204" pitchFamily="34" charset="0"/>
              <a:buChar char="•"/>
            </a:pPr>
            <a:r>
              <a:rPr lang="en-AU"/>
              <a:t>Woods/ Bamboo: </a:t>
            </a:r>
          </a:p>
          <a:p>
            <a:r>
              <a:rPr lang="en-AU"/>
              <a:t>     Needs screw inser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Polymers: </a:t>
            </a:r>
          </a:p>
          <a:p>
            <a:r>
              <a:rPr lang="en-AU"/>
              <a:t>     Lighter, but lowers</a:t>
            </a:r>
          </a:p>
          <a:p>
            <a:r>
              <a:rPr lang="en-AU"/>
              <a:t>     stiffness and more</a:t>
            </a:r>
          </a:p>
          <a:p>
            <a:r>
              <a:rPr lang="en-AU"/>
              <a:t>     expensive</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solidFill>
                  <a:srgbClr val="FF0000"/>
                </a:solidFill>
              </a:rPr>
              <a:t>Aluminium Alloys: </a:t>
            </a:r>
          </a:p>
          <a:p>
            <a:r>
              <a:rPr lang="en-AU">
                <a:solidFill>
                  <a:srgbClr val="FF0000"/>
                </a:solidFill>
              </a:rPr>
              <a:t>     Higher stiffness, </a:t>
            </a:r>
          </a:p>
          <a:p>
            <a:r>
              <a:rPr lang="en-AU">
                <a:solidFill>
                  <a:srgbClr val="FF0000"/>
                </a:solidFill>
              </a:rPr>
              <a:t>     cheaper</a:t>
            </a:r>
          </a:p>
        </p:txBody>
      </p:sp>
      <p:pic>
        <p:nvPicPr>
          <p:cNvPr id="7" name="Picture 6">
            <a:extLst>
              <a:ext uri="{FF2B5EF4-FFF2-40B4-BE49-F238E27FC236}">
                <a16:creationId xmlns:a16="http://schemas.microsoft.com/office/drawing/2014/main" id="{EE9FA38F-FD13-8EEC-FAB2-0DC074D52F5E}"/>
              </a:ext>
            </a:extLst>
          </p:cNvPr>
          <p:cNvPicPr>
            <a:picLocks noChangeAspect="1"/>
          </p:cNvPicPr>
          <p:nvPr/>
        </p:nvPicPr>
        <p:blipFill>
          <a:blip r:embed="rId6"/>
          <a:srcRect t="6197" r="12775"/>
          <a:stretch>
            <a:fillRect/>
          </a:stretch>
        </p:blipFill>
        <p:spPr>
          <a:xfrm>
            <a:off x="3146412" y="1348150"/>
            <a:ext cx="6388850" cy="4305467"/>
          </a:xfrm>
          <a:prstGeom prst="rect">
            <a:avLst/>
          </a:prstGeom>
        </p:spPr>
      </p:pic>
      <mc:AlternateContent xmlns:mc="http://schemas.openxmlformats.org/markup-compatibility/2006" xmlns:a14="http://schemas.microsoft.com/office/drawing/2010/main">
        <mc:Choice Requires="a14">
          <p:sp>
            <p:nvSpPr>
              <p:cNvPr id="14" name="Text Box 8">
                <a:extLst>
                  <a:ext uri="{FF2B5EF4-FFF2-40B4-BE49-F238E27FC236}">
                    <a16:creationId xmlns:a16="http://schemas.microsoft.com/office/drawing/2014/main" id="{3648F5C1-9B6B-5199-D288-73B593B8279D}"/>
                  </a:ext>
                </a:extLst>
              </p:cNvPr>
              <p:cNvSpPr txBox="1"/>
              <p:nvPr/>
            </p:nvSpPr>
            <p:spPr>
              <a:xfrm>
                <a:off x="7265026" y="982192"/>
                <a:ext cx="1620739" cy="421538"/>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AU" i="1" kern="100">
                              <a:solidFill>
                                <a:srgbClr val="FF0000"/>
                              </a:solidFill>
                              <a:effectLst/>
                              <a:latin typeface="Cambria Math" panose="02040503050406030204" pitchFamily="18" charset="0"/>
                              <a:ea typeface="Aptos" panose="020B0004020202020204" pitchFamily="34" charset="0"/>
                              <a:cs typeface="Times New Roman" panose="02020603050405020304" pitchFamily="18" charset="0"/>
                            </a:rPr>
                          </m:ctrlPr>
                        </m:sSubPr>
                        <m:e>
                          <m:r>
                            <a:rPr lang="en-US" i="1" kern="100">
                              <a:solidFill>
                                <a:srgbClr val="FF0000"/>
                              </a:solidFill>
                              <a:effectLst/>
                              <a:latin typeface="Cambria Math" panose="02040503050406030204" pitchFamily="18" charset="0"/>
                              <a:ea typeface="Aptos" panose="020B0004020202020204" pitchFamily="34" charset="0"/>
                              <a:cs typeface="Times New Roman" panose="02020603050405020304" pitchFamily="18" charset="0"/>
                            </a:rPr>
                            <m:t>𝜌</m:t>
                          </m:r>
                        </m:e>
                        <m:sub>
                          <m:r>
                            <a:rPr lang="en-US" i="1" kern="100">
                              <a:solidFill>
                                <a:srgbClr val="FF0000"/>
                              </a:solidFill>
                              <a:effectLst/>
                              <a:latin typeface="Cambria Math" panose="02040503050406030204" pitchFamily="18" charset="0"/>
                              <a:ea typeface="Aptos" panose="020B0004020202020204" pitchFamily="34" charset="0"/>
                              <a:cs typeface="Times New Roman" panose="02020603050405020304" pitchFamily="18" charset="0"/>
                            </a:rPr>
                            <m:t>𝑚𝑎𝑥</m:t>
                          </m:r>
                        </m:sub>
                      </m:sSub>
                      <m:r>
                        <a:rPr lang="en-US" i="1" kern="100">
                          <a:solidFill>
                            <a:srgbClr val="FF0000"/>
                          </a:solidFill>
                          <a:effectLst/>
                          <a:latin typeface="Cambria Math" panose="02040503050406030204" pitchFamily="18" charset="0"/>
                          <a:ea typeface="Aptos" panose="020B0004020202020204" pitchFamily="34" charset="0"/>
                          <a:cs typeface="Times New Roman" panose="02020603050405020304" pitchFamily="18" charset="0"/>
                        </a:rPr>
                        <m:t>=5800</m:t>
                      </m:r>
                    </m:oMath>
                  </m:oMathPara>
                </a14:m>
                <a:endParaRPr lang="en-AU" sz="2800" kern="100">
                  <a:effectLst/>
                  <a:latin typeface="Aptos" panose="020B0004020202020204" pitchFamily="34" charset="0"/>
                  <a:ea typeface="Aptos" panose="020B0004020202020204" pitchFamily="34" charset="0"/>
                  <a:cs typeface="Times New Roman" panose="02020603050405020304" pitchFamily="18" charset="0"/>
                </a:endParaRPr>
              </a:p>
            </p:txBody>
          </p:sp>
        </mc:Choice>
        <mc:Fallback xmlns="">
          <p:sp>
            <p:nvSpPr>
              <p:cNvPr id="14" name="Text Box 8">
                <a:extLst>
                  <a:ext uri="{FF2B5EF4-FFF2-40B4-BE49-F238E27FC236}">
                    <a16:creationId xmlns:a16="http://schemas.microsoft.com/office/drawing/2014/main" id="{3648F5C1-9B6B-5199-D288-73B593B8279D}"/>
                  </a:ext>
                </a:extLst>
              </p:cNvPr>
              <p:cNvSpPr txBox="1">
                <a:spLocks noRot="1" noChangeAspect="1" noMove="1" noResize="1" noEditPoints="1" noAdjustHandles="1" noChangeArrowheads="1" noChangeShapeType="1" noTextEdit="1"/>
              </p:cNvSpPr>
              <p:nvPr/>
            </p:nvSpPr>
            <p:spPr>
              <a:xfrm>
                <a:off x="7265026" y="982192"/>
                <a:ext cx="1620739" cy="421538"/>
              </a:xfrm>
              <a:prstGeom prst="rect">
                <a:avLst/>
              </a:prstGeom>
              <a:blipFill>
                <a:blip r:embed="rId7"/>
                <a:stretch>
                  <a:fillRect/>
                </a:stretch>
              </a:blipFill>
              <a:ln w="6350">
                <a:noFill/>
              </a:ln>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A28C1C9-D430-D30C-184F-26E9C06D2C06}"/>
                  </a:ext>
                </a:extLst>
              </p:cNvPr>
              <p:cNvSpPr txBox="1"/>
              <p:nvPr/>
            </p:nvSpPr>
            <p:spPr>
              <a:xfrm>
                <a:off x="7659602" y="3481212"/>
                <a:ext cx="2070100" cy="64633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AU" i="1" smtClean="0">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𝐸</m:t>
                          </m:r>
                        </m:e>
                        <m:sub>
                          <m:r>
                            <a:rPr lang="en-US" i="1">
                              <a:solidFill>
                                <a:srgbClr val="FF0000"/>
                              </a:solidFill>
                              <a:latin typeface="Cambria Math" panose="02040503050406030204" pitchFamily="18" charset="0"/>
                            </a:rPr>
                            <m:t>𝑚𝑖𝑛</m:t>
                          </m:r>
                        </m:sub>
                      </m:sSub>
                      <m:r>
                        <a:rPr lang="en-US" i="1">
                          <a:solidFill>
                            <a:srgbClr val="FF0000"/>
                          </a:solidFill>
                          <a:latin typeface="Cambria Math" panose="02040503050406030204" pitchFamily="18" charset="0"/>
                        </a:rPr>
                        <m:t>=</m:t>
                      </m:r>
                    </m:oMath>
                  </m:oMathPara>
                </a14:m>
                <a:endParaRPr lang="en-AU" i="1">
                  <a:solidFill>
                    <a:srgbClr val="FF0000"/>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i="1">
                          <a:solidFill>
                            <a:srgbClr val="FF0000"/>
                          </a:solidFill>
                          <a:latin typeface="Cambria Math" panose="02040503050406030204" pitchFamily="18" charset="0"/>
                        </a:rPr>
                        <m:t>0.2285</m:t>
                      </m:r>
                    </m:oMath>
                  </m:oMathPara>
                </a14:m>
                <a:endParaRPr lang="en-AU">
                  <a:solidFill>
                    <a:srgbClr val="FF0000"/>
                  </a:solidFill>
                </a:endParaRPr>
              </a:p>
            </p:txBody>
          </p:sp>
        </mc:Choice>
        <mc:Fallback xmlns="">
          <p:sp>
            <p:nvSpPr>
              <p:cNvPr id="15" name="TextBox 14">
                <a:extLst>
                  <a:ext uri="{FF2B5EF4-FFF2-40B4-BE49-F238E27FC236}">
                    <a16:creationId xmlns:a16="http://schemas.microsoft.com/office/drawing/2014/main" id="{1A28C1C9-D430-D30C-184F-26E9C06D2C06}"/>
                  </a:ext>
                </a:extLst>
              </p:cNvPr>
              <p:cNvSpPr txBox="1">
                <a:spLocks noRot="1" noChangeAspect="1" noMove="1" noResize="1" noEditPoints="1" noAdjustHandles="1" noChangeArrowheads="1" noChangeShapeType="1" noTextEdit="1"/>
              </p:cNvSpPr>
              <p:nvPr/>
            </p:nvSpPr>
            <p:spPr>
              <a:xfrm>
                <a:off x="7659602" y="3481212"/>
                <a:ext cx="2070100" cy="646331"/>
              </a:xfrm>
              <a:prstGeom prst="rect">
                <a:avLst/>
              </a:prstGeom>
              <a:blipFill>
                <a:blip r:embed="rId8"/>
                <a:stretch>
                  <a:fillRect/>
                </a:stretch>
              </a:blipFill>
            </p:spPr>
            <p:txBody>
              <a:bodyPr/>
              <a:lstStyle/>
              <a:p>
                <a:r>
                  <a:rPr lang="en-AU">
                    <a:noFill/>
                  </a:rPr>
                  <a:t> </a:t>
                </a:r>
              </a:p>
            </p:txBody>
          </p:sp>
        </mc:Fallback>
      </mc:AlternateContent>
      <p:pic>
        <p:nvPicPr>
          <p:cNvPr id="23" name="Picture 22">
            <a:extLst>
              <a:ext uri="{FF2B5EF4-FFF2-40B4-BE49-F238E27FC236}">
                <a16:creationId xmlns:a16="http://schemas.microsoft.com/office/drawing/2014/main" id="{5BE897E5-81CA-CA27-81F1-764770A43E69}"/>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11" name="Picture 10">
            <a:extLst>
              <a:ext uri="{FF2B5EF4-FFF2-40B4-BE49-F238E27FC236}">
                <a16:creationId xmlns:a16="http://schemas.microsoft.com/office/drawing/2014/main" id="{7FC4E9F4-F574-F121-EFB7-D92117199CA0}"/>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19" name="Picture 18">
            <a:extLst>
              <a:ext uri="{FF2B5EF4-FFF2-40B4-BE49-F238E27FC236}">
                <a16:creationId xmlns:a16="http://schemas.microsoft.com/office/drawing/2014/main" id="{A276B1BD-25DE-AB96-E13D-29C32D95270C}"/>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pic>
        <p:nvPicPr>
          <p:cNvPr id="21" name="Picture 20">
            <a:extLst>
              <a:ext uri="{FF2B5EF4-FFF2-40B4-BE49-F238E27FC236}">
                <a16:creationId xmlns:a16="http://schemas.microsoft.com/office/drawing/2014/main" id="{4E20B11E-ECB0-3DE4-F2D5-2C8FF7BA89B8}"/>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2" name="Picture 21" descr="A white rectangular object with holes&#10;&#10;AI-generated content may be incorrect.">
            <a:extLst>
              <a:ext uri="{FF2B5EF4-FFF2-40B4-BE49-F238E27FC236}">
                <a16:creationId xmlns:a16="http://schemas.microsoft.com/office/drawing/2014/main" id="{7E9E160E-D1E2-AA33-D381-F48EA9CD7852}"/>
              </a:ext>
            </a:extLst>
          </p:cNvPr>
          <p:cNvPicPr>
            <a:picLocks noChangeAspect="1"/>
          </p:cNvPicPr>
          <p:nvPr/>
        </p:nvPicPr>
        <p:blipFill>
          <a:blip r:embed="rId15"/>
          <a:stretch>
            <a:fillRect/>
          </a:stretch>
        </p:blipFill>
        <p:spPr>
          <a:xfrm>
            <a:off x="1088827" y="1379503"/>
            <a:ext cx="1818993" cy="897031"/>
          </a:xfrm>
          <a:prstGeom prst="rect">
            <a:avLst/>
          </a:prstGeom>
        </p:spPr>
      </p:pic>
    </p:spTree>
    <p:extLst>
      <p:ext uri="{BB962C8B-B14F-4D97-AF65-F5344CB8AC3E}">
        <p14:creationId xmlns:p14="http://schemas.microsoft.com/office/powerpoint/2010/main" val="18057034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1E12C-6A35-4F83-21F7-382C9DD2E3BA}"/>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9B07FAE2-4C28-60D9-5877-42DA0E109E93}"/>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484FA36F-3520-E6C5-D50D-E39F9EFDFA20}"/>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07027F38-E94A-B207-082F-700E90C2E44E}"/>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3F506332-5C11-686A-E716-912068A132EE}"/>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116C5F4E-724F-FB7F-6D50-A8A437ED75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1EC00FD9-6D47-D2FA-F51E-79F24FCAE615}"/>
              </a:ext>
            </a:extLst>
          </p:cNvPr>
          <p:cNvSpPr/>
          <p:nvPr/>
        </p:nvSpPr>
        <p:spPr>
          <a:xfrm>
            <a:off x="157162" y="3563369"/>
            <a:ext cx="2929713" cy="1354447"/>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graphicFrame>
        <p:nvGraphicFramePr>
          <p:cNvPr id="4" name="Table 3">
            <a:extLst>
              <a:ext uri="{FF2B5EF4-FFF2-40B4-BE49-F238E27FC236}">
                <a16:creationId xmlns:a16="http://schemas.microsoft.com/office/drawing/2014/main" id="{B71A80A1-E3C8-E51E-794A-5627E8D33709}"/>
              </a:ext>
            </a:extLst>
          </p:cNvPr>
          <p:cNvGraphicFramePr>
            <a:graphicFrameLocks noGrp="1"/>
          </p:cNvGraphicFramePr>
          <p:nvPr>
            <p:extLst>
              <p:ext uri="{D42A27DB-BD31-4B8C-83A1-F6EECF244321}">
                <p14:modId xmlns:p14="http://schemas.microsoft.com/office/powerpoint/2010/main" val="3917363516"/>
              </p:ext>
            </p:extLst>
          </p:nvPr>
        </p:nvGraphicFramePr>
        <p:xfrm>
          <a:off x="157163" y="1011339"/>
          <a:ext cx="11937032" cy="5628948"/>
        </p:xfrm>
        <a:graphic>
          <a:graphicData uri="http://schemas.openxmlformats.org/drawingml/2006/table">
            <a:tbl>
              <a:tblPr firstRow="1" bandRow="1">
                <a:tableStyleId>{5940675A-B579-460E-94D1-54222C63F5DA}</a:tableStyleId>
              </a:tblPr>
              <a:tblGrid>
                <a:gridCol w="2917064">
                  <a:extLst>
                    <a:ext uri="{9D8B030D-6E8A-4147-A177-3AD203B41FA5}">
                      <a16:colId xmlns:a16="http://schemas.microsoft.com/office/drawing/2014/main" val="2052256654"/>
                    </a:ext>
                  </a:extLst>
                </a:gridCol>
                <a:gridCol w="9019968">
                  <a:extLst>
                    <a:ext uri="{9D8B030D-6E8A-4147-A177-3AD203B41FA5}">
                      <a16:colId xmlns:a16="http://schemas.microsoft.com/office/drawing/2014/main" val="3572757817"/>
                    </a:ext>
                  </a:extLst>
                </a:gridCol>
              </a:tblGrid>
              <a:tr h="1345199">
                <a:tc>
                  <a:txBody>
                    <a:bodyPr/>
                    <a:lstStyle/>
                    <a:p>
                      <a:r>
                        <a:rPr lang="en-AU" b="0" dirty="0"/>
                        <a:t>Seat Hinge</a:t>
                      </a:r>
                    </a:p>
                  </a:txBody>
                  <a:tcPr/>
                </a:tc>
                <a:tc rowSpan="4">
                  <a:txBody>
                    <a:bodyPr/>
                    <a:lstStyle/>
                    <a:p>
                      <a:endParaRPr lang="en-AU" dirty="0"/>
                    </a:p>
                  </a:txBody>
                  <a:tcPr/>
                </a:tc>
                <a:extLst>
                  <a:ext uri="{0D108BD9-81ED-4DB2-BD59-A6C34878D82A}">
                    <a16:rowId xmlns:a16="http://schemas.microsoft.com/office/drawing/2014/main" val="3265519103"/>
                  </a:ext>
                </a:extLst>
              </a:tr>
              <a:tr h="1185118">
                <a:tc>
                  <a:txBody>
                    <a:bodyPr/>
                    <a:lstStyle/>
                    <a:p>
                      <a:r>
                        <a:rPr lang="en-AU"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61845">
                <a:tc>
                  <a:txBody>
                    <a:bodyPr/>
                    <a:lstStyle/>
                    <a:p>
                      <a:r>
                        <a:rPr lang="en-AU" b="1"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36786">
                <a:tc>
                  <a:txBody>
                    <a:bodyPr/>
                    <a:lstStyle/>
                    <a:p>
                      <a:r>
                        <a:rPr lang="en-AU"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ACD00962-2B46-0A6B-86B2-B8D4BCA579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graphicFrame>
        <p:nvGraphicFramePr>
          <p:cNvPr id="19" name="Table 18">
            <a:extLst>
              <a:ext uri="{FF2B5EF4-FFF2-40B4-BE49-F238E27FC236}">
                <a16:creationId xmlns:a16="http://schemas.microsoft.com/office/drawing/2014/main" id="{0692E303-7692-2863-E8C2-A9A6CD1A792D}"/>
              </a:ext>
            </a:extLst>
          </p:cNvPr>
          <p:cNvGraphicFramePr>
            <a:graphicFrameLocks noGrp="1"/>
          </p:cNvGraphicFramePr>
          <p:nvPr>
            <p:extLst>
              <p:ext uri="{D42A27DB-BD31-4B8C-83A1-F6EECF244321}">
                <p14:modId xmlns:p14="http://schemas.microsoft.com/office/powerpoint/2010/main" val="2709218435"/>
              </p:ext>
            </p:extLst>
          </p:nvPr>
        </p:nvGraphicFramePr>
        <p:xfrm>
          <a:off x="3329989" y="1221846"/>
          <a:ext cx="8427902" cy="3014861"/>
        </p:xfrm>
        <a:graphic>
          <a:graphicData uri="http://schemas.openxmlformats.org/drawingml/2006/table">
            <a:tbl>
              <a:tblPr firstRow="1" bandRow="1">
                <a:tableStyleId>{5940675A-B579-460E-94D1-54222C63F5DA}</a:tableStyleId>
              </a:tblPr>
              <a:tblGrid>
                <a:gridCol w="3458738">
                  <a:extLst>
                    <a:ext uri="{9D8B030D-6E8A-4147-A177-3AD203B41FA5}">
                      <a16:colId xmlns:a16="http://schemas.microsoft.com/office/drawing/2014/main" val="2186101804"/>
                    </a:ext>
                  </a:extLst>
                </a:gridCol>
                <a:gridCol w="4969164">
                  <a:extLst>
                    <a:ext uri="{9D8B030D-6E8A-4147-A177-3AD203B41FA5}">
                      <a16:colId xmlns:a16="http://schemas.microsoft.com/office/drawing/2014/main" val="2406339668"/>
                    </a:ext>
                  </a:extLst>
                </a:gridCol>
              </a:tblGrid>
              <a:tr h="615813">
                <a:tc>
                  <a:txBody>
                    <a:bodyPr/>
                    <a:lstStyle/>
                    <a:p>
                      <a:r>
                        <a:rPr lang="en-AU" b="1"/>
                        <a:t>Function</a:t>
                      </a:r>
                    </a:p>
                  </a:txBody>
                  <a:tcPr/>
                </a:tc>
                <a:tc>
                  <a:txBody>
                    <a:bodyPr/>
                    <a:lstStyle/>
                    <a:p>
                      <a:pPr marL="285750" indent="-285750">
                        <a:buFont typeface="Arial" panose="020B0604020202020204" pitchFamily="34" charset="0"/>
                        <a:buChar char="•"/>
                      </a:pPr>
                      <a:r>
                        <a:rPr lang="en-US" sz="1800" b="0" i="0" u="none" strike="noStrike" kern="1200">
                          <a:solidFill>
                            <a:schemeClr val="tx1"/>
                          </a:solidFill>
                          <a:effectLst/>
                          <a:latin typeface="+mn-lt"/>
                          <a:ea typeface="+mn-ea"/>
                          <a:cs typeface="+mn-cs"/>
                        </a:rPr>
                        <a:t>Support the load of the mechanism along with the user</a:t>
                      </a:r>
                      <a:endParaRPr lang="en-AU"/>
                    </a:p>
                  </a:txBody>
                  <a:tcPr/>
                </a:tc>
                <a:extLst>
                  <a:ext uri="{0D108BD9-81ED-4DB2-BD59-A6C34878D82A}">
                    <a16:rowId xmlns:a16="http://schemas.microsoft.com/office/drawing/2014/main" val="1007078397"/>
                  </a:ext>
                </a:extLst>
              </a:tr>
              <a:tr h="980483">
                <a:tc>
                  <a:txBody>
                    <a:bodyPr/>
                    <a:lstStyle/>
                    <a:p>
                      <a:r>
                        <a:rPr lang="en-AU" b="1"/>
                        <a:t>Constrain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a:solidFill>
                            <a:schemeClr val="tx1"/>
                          </a:solidFill>
                          <a:effectLst/>
                          <a:latin typeface="+mn-lt"/>
                          <a:ea typeface="+mn-ea"/>
                          <a:cs typeface="+mn-cs"/>
                        </a:rPr>
                        <a:t>Dimensions are 450mm by 425mm by 8mm</a:t>
                      </a:r>
                      <a:endParaRPr lang="en-AU"/>
                    </a:p>
                  </a:txBody>
                  <a:tcPr/>
                </a:tc>
                <a:extLst>
                  <a:ext uri="{0D108BD9-81ED-4DB2-BD59-A6C34878D82A}">
                    <a16:rowId xmlns:a16="http://schemas.microsoft.com/office/drawing/2014/main" val="3194689625"/>
                  </a:ext>
                </a:extLst>
              </a:tr>
              <a:tr h="620949">
                <a:tc>
                  <a:txBody>
                    <a:bodyPr/>
                    <a:lstStyle/>
                    <a:p>
                      <a:r>
                        <a:rPr lang="en-AU" b="1"/>
                        <a:t>Objective</a:t>
                      </a:r>
                    </a:p>
                  </a:txBody>
                  <a:tcPr/>
                </a:tc>
                <a:tc>
                  <a:txBody>
                    <a:bodyPr/>
                    <a:lstStyle/>
                    <a:p>
                      <a:pPr marL="285750" indent="-285750">
                        <a:buFont typeface="Arial" panose="020B0604020202020204" pitchFamily="34" charset="0"/>
                        <a:buChar char="•"/>
                      </a:pPr>
                      <a:r>
                        <a:rPr lang="en-AU"/>
                        <a:t>Maximise stiffness</a:t>
                      </a:r>
                    </a:p>
                    <a:p>
                      <a:pPr marL="285750" indent="-285750">
                        <a:buFont typeface="Arial" panose="020B0604020202020204" pitchFamily="34" charset="0"/>
                        <a:buChar char="•"/>
                      </a:pPr>
                      <a:r>
                        <a:rPr lang="en-AU"/>
                        <a:t>Minimize mass</a:t>
                      </a:r>
                    </a:p>
                  </a:txBody>
                  <a:tcPr/>
                </a:tc>
                <a:extLst>
                  <a:ext uri="{0D108BD9-81ED-4DB2-BD59-A6C34878D82A}">
                    <a16:rowId xmlns:a16="http://schemas.microsoft.com/office/drawing/2014/main" val="1331710103"/>
                  </a:ext>
                </a:extLst>
              </a:tr>
              <a:tr h="754218">
                <a:tc>
                  <a:txBody>
                    <a:bodyPr/>
                    <a:lstStyle/>
                    <a:p>
                      <a:r>
                        <a:rPr lang="en-AU" b="1"/>
                        <a:t>Free variables</a:t>
                      </a:r>
                    </a:p>
                  </a:txBody>
                  <a:tcPr/>
                </a:tc>
                <a:tc>
                  <a:txBody>
                    <a:bodyPr/>
                    <a:lstStyle/>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Material</a:t>
                      </a:r>
                    </a:p>
                    <a:p>
                      <a:pPr marL="285750" indent="-285750">
                        <a:buFont typeface="Arial" panose="020B0604020202020204" pitchFamily="34" charset="0"/>
                        <a:buChar char="•"/>
                      </a:pPr>
                      <a:endParaRPr lang="en-AU"/>
                    </a:p>
                  </a:txBody>
                  <a:tcPr/>
                </a:tc>
                <a:extLst>
                  <a:ext uri="{0D108BD9-81ED-4DB2-BD59-A6C34878D82A}">
                    <a16:rowId xmlns:a16="http://schemas.microsoft.com/office/drawing/2014/main" val="2453969532"/>
                  </a:ext>
                </a:extLst>
              </a:tr>
            </a:tbl>
          </a:graphicData>
        </a:graphic>
      </p:graphicFrame>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CE15AF7-334C-07FE-0628-2C051B1E7A97}"/>
                  </a:ext>
                </a:extLst>
              </p:cNvPr>
              <p:cNvSpPr txBox="1"/>
              <p:nvPr/>
            </p:nvSpPr>
            <p:spPr>
              <a:xfrm>
                <a:off x="3497852" y="4645221"/>
                <a:ext cx="3317190" cy="1421223"/>
              </a:xfrm>
              <a:prstGeom prst="rect">
                <a:avLst/>
              </a:prstGeom>
              <a:noFill/>
            </p:spPr>
            <p:txBody>
              <a:bodyPr wrap="square" rtlCol="0">
                <a:spAutoFit/>
              </a:bodyPr>
              <a:lstStyle/>
              <a:p>
                <a:r>
                  <a:rPr lang="en-AU"/>
                  <a:t>Mass Equation:</a:t>
                </a:r>
              </a:p>
              <a:p>
                <a:endParaRPr lang="en-AU"/>
              </a:p>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𝑚</m:t>
                      </m:r>
                      <m:r>
                        <a:rPr lang="en-US" i="1">
                          <a:latin typeface="Cambria Math" panose="02040503050406030204" pitchFamily="18" charset="0"/>
                        </a:rPr>
                        <m:t>=</m:t>
                      </m:r>
                      <m:sSup>
                        <m:sSupPr>
                          <m:ctrlPr>
                            <a:rPr lang="en-001" i="1">
                              <a:latin typeface="Cambria Math" panose="02040503050406030204" pitchFamily="18" charset="0"/>
                            </a:rPr>
                          </m:ctrlPr>
                        </m:sSupPr>
                        <m:e>
                          <m:d>
                            <m:dPr>
                              <m:ctrlPr>
                                <a:rPr lang="en-001" i="1">
                                  <a:latin typeface="Cambria Math" panose="02040503050406030204" pitchFamily="18" charset="0"/>
                                </a:rPr>
                              </m:ctrlPr>
                            </m:dPr>
                            <m:e>
                              <m:f>
                                <m:fPr>
                                  <m:ctrlPr>
                                    <a:rPr lang="en-001" i="1">
                                      <a:latin typeface="Cambria Math" panose="02040503050406030204" pitchFamily="18" charset="0"/>
                                    </a:rPr>
                                  </m:ctrlPr>
                                </m:fPr>
                                <m:num>
                                  <m:r>
                                    <a:rPr lang="en-US" i="1">
                                      <a:latin typeface="Cambria Math" panose="02040503050406030204" pitchFamily="18" charset="0"/>
                                    </a:rPr>
                                    <m:t>12 </m:t>
                                  </m:r>
                                  <m:sSup>
                                    <m:sSupPr>
                                      <m:ctrlPr>
                                        <a:rPr lang="en-001" i="1">
                                          <a:latin typeface="Cambria Math" panose="02040503050406030204" pitchFamily="18" charset="0"/>
                                        </a:rPr>
                                      </m:ctrlPr>
                                    </m:sSupPr>
                                    <m:e>
                                      <m:r>
                                        <a:rPr lang="en-US" i="1">
                                          <a:latin typeface="Cambria Math" panose="02040503050406030204" pitchFamily="18" charset="0"/>
                                        </a:rPr>
                                        <m:t>𝑆</m:t>
                                      </m:r>
                                    </m:e>
                                    <m:sup>
                                      <m:r>
                                        <a:rPr lang="en-US" i="1">
                                          <a:latin typeface="Cambria Math" panose="02040503050406030204" pitchFamily="18" charset="0"/>
                                        </a:rPr>
                                        <m:t>∗</m:t>
                                      </m:r>
                                    </m:sup>
                                  </m:sSup>
                                </m:num>
                                <m:den>
                                  <m:sSub>
                                    <m:sSubPr>
                                      <m:ctrlPr>
                                        <a:rPr lang="en-001"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1</m:t>
                                      </m:r>
                                    </m:sub>
                                  </m:sSub>
                                  <m:r>
                                    <a:rPr lang="en-US" i="1">
                                      <a:latin typeface="Cambria Math" panose="02040503050406030204" pitchFamily="18" charset="0"/>
                                    </a:rPr>
                                    <m:t>𝑏</m:t>
                                  </m:r>
                                </m:den>
                              </m:f>
                            </m:e>
                          </m:d>
                        </m:e>
                        <m:sup>
                          <m:f>
                            <m:fPr>
                              <m:ctrlPr>
                                <a:rPr lang="en-001"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3</m:t>
                              </m:r>
                            </m:den>
                          </m:f>
                        </m:sup>
                      </m:sSup>
                      <m:r>
                        <a:rPr lang="en-US" i="1">
                          <a:latin typeface="Cambria Math" panose="02040503050406030204" pitchFamily="18" charset="0"/>
                        </a:rPr>
                        <m:t>(</m:t>
                      </m:r>
                      <m:r>
                        <a:rPr lang="en-US" i="1">
                          <a:latin typeface="Cambria Math" panose="02040503050406030204" pitchFamily="18" charset="0"/>
                        </a:rPr>
                        <m:t>𝑏</m:t>
                      </m:r>
                      <m:sSup>
                        <m:sSupPr>
                          <m:ctrlPr>
                            <a:rPr lang="en-001" i="1">
                              <a:latin typeface="Cambria Math" panose="02040503050406030204" pitchFamily="18" charset="0"/>
                            </a:rPr>
                          </m:ctrlPr>
                        </m:sSupPr>
                        <m:e>
                          <m:r>
                            <a:rPr lang="en-US" i="1">
                              <a:latin typeface="Cambria Math" panose="02040503050406030204" pitchFamily="18" charset="0"/>
                            </a:rPr>
                            <m:t>𝐿</m:t>
                          </m:r>
                        </m:e>
                        <m:sup>
                          <m:r>
                            <a:rPr lang="en-US" i="1">
                              <a:latin typeface="Cambria Math" panose="02040503050406030204" pitchFamily="18" charset="0"/>
                            </a:rPr>
                            <m:t>2</m:t>
                          </m:r>
                        </m:sup>
                      </m:sSup>
                      <m:r>
                        <a:rPr lang="en-US" i="1">
                          <a:latin typeface="Cambria Math" panose="02040503050406030204" pitchFamily="18" charset="0"/>
                        </a:rPr>
                        <m:t>)</m:t>
                      </m:r>
                      <m:d>
                        <m:dPr>
                          <m:ctrlPr>
                            <a:rPr lang="en-001" i="1">
                              <a:latin typeface="Cambria Math" panose="02040503050406030204" pitchFamily="18" charset="0"/>
                            </a:rPr>
                          </m:ctrlPr>
                        </m:dPr>
                        <m:e>
                          <m:f>
                            <m:fPr>
                              <m:ctrlPr>
                                <a:rPr lang="en-001" i="1">
                                  <a:latin typeface="Cambria Math" panose="02040503050406030204" pitchFamily="18" charset="0"/>
                                </a:rPr>
                              </m:ctrlPr>
                            </m:fPr>
                            <m:num>
                              <m:r>
                                <a:rPr lang="en-US" i="1">
                                  <a:latin typeface="Cambria Math" panose="02040503050406030204" pitchFamily="18" charset="0"/>
                                </a:rPr>
                                <m:t>𝑝</m:t>
                              </m:r>
                            </m:num>
                            <m:den>
                              <m:sSup>
                                <m:sSupPr>
                                  <m:ctrlPr>
                                    <a:rPr lang="en-001" i="1">
                                      <a:latin typeface="Cambria Math" panose="02040503050406030204" pitchFamily="18" charset="0"/>
                                    </a:rPr>
                                  </m:ctrlPr>
                                </m:sSupPr>
                                <m:e>
                                  <m:r>
                                    <a:rPr lang="en-US" i="1">
                                      <a:latin typeface="Cambria Math" panose="02040503050406030204" pitchFamily="18" charset="0"/>
                                    </a:rPr>
                                    <m:t>𝐸</m:t>
                                  </m:r>
                                </m:e>
                                <m:sup>
                                  <m:r>
                                    <a:rPr lang="en-US" i="1">
                                      <a:latin typeface="Cambria Math" panose="02040503050406030204" pitchFamily="18" charset="0"/>
                                    </a:rPr>
                                    <m:t>1/3</m:t>
                                  </m:r>
                                </m:sup>
                              </m:sSup>
                            </m:den>
                          </m:f>
                        </m:e>
                      </m:d>
                    </m:oMath>
                  </m:oMathPara>
                </a14:m>
                <a:endParaRPr lang="en-AU"/>
              </a:p>
            </p:txBody>
          </p:sp>
        </mc:Choice>
        <mc:Fallback xmlns="">
          <p:sp>
            <p:nvSpPr>
              <p:cNvPr id="7" name="TextBox 6">
                <a:extLst>
                  <a:ext uri="{FF2B5EF4-FFF2-40B4-BE49-F238E27FC236}">
                    <a16:creationId xmlns:a16="http://schemas.microsoft.com/office/drawing/2014/main" id="{ECE15AF7-334C-07FE-0628-2C051B1E7A97}"/>
                  </a:ext>
                </a:extLst>
              </p:cNvPr>
              <p:cNvSpPr txBox="1">
                <a:spLocks noRot="1" noChangeAspect="1" noMove="1" noResize="1" noEditPoints="1" noAdjustHandles="1" noChangeArrowheads="1" noChangeShapeType="1" noTextEdit="1"/>
              </p:cNvSpPr>
              <p:nvPr/>
            </p:nvSpPr>
            <p:spPr>
              <a:xfrm>
                <a:off x="3497852" y="4645221"/>
                <a:ext cx="3317190" cy="1421223"/>
              </a:xfrm>
              <a:prstGeom prst="rect">
                <a:avLst/>
              </a:prstGeom>
              <a:blipFill>
                <a:blip r:embed="rId6"/>
                <a:stretch>
                  <a:fillRect l="-1654" t="-2146"/>
                </a:stretch>
              </a:blipFill>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3CB6B4D-E082-C660-202F-8B62CD5633D7}"/>
                  </a:ext>
                </a:extLst>
              </p:cNvPr>
              <p:cNvSpPr txBox="1"/>
              <p:nvPr/>
            </p:nvSpPr>
            <p:spPr>
              <a:xfrm>
                <a:off x="7633044" y="4645221"/>
                <a:ext cx="4250266" cy="1839478"/>
              </a:xfrm>
              <a:prstGeom prst="rect">
                <a:avLst/>
              </a:prstGeom>
              <a:noFill/>
            </p:spPr>
            <p:txBody>
              <a:bodyPr wrap="square" rtlCol="0">
                <a:spAutoFit/>
              </a:bodyPr>
              <a:lstStyle/>
              <a:p>
                <a:r>
                  <a:rPr lang="en-AU"/>
                  <a:t>To maximise stiffness and minimize mass:</a:t>
                </a:r>
              </a:p>
              <a:p>
                <a:endParaRPr lang="en-AU"/>
              </a:p>
              <a:p>
                <a:pPr algn="ctr"/>
                <a14:m>
                  <m:oMath xmlns:m="http://schemas.openxmlformats.org/officeDocument/2006/math">
                    <m:r>
                      <a:rPr lang="en-AU" sz="2000" i="1">
                        <a:latin typeface="Cambria Math" panose="02040503050406030204" pitchFamily="18" charset="0"/>
                      </a:rPr>
                      <m:t>𝑀</m:t>
                    </m:r>
                    <m:r>
                      <a:rPr lang="en-AU" sz="2000" i="1">
                        <a:latin typeface="Cambria Math" panose="02040503050406030204" pitchFamily="18" charset="0"/>
                      </a:rPr>
                      <m:t>= </m:t>
                    </m:r>
                    <m:f>
                      <m:fPr>
                        <m:ctrlPr>
                          <a:rPr lang="en-AU" sz="2000" i="1">
                            <a:latin typeface="Cambria Math" panose="02040503050406030204" pitchFamily="18" charset="0"/>
                          </a:rPr>
                        </m:ctrlPr>
                      </m:fPr>
                      <m:num>
                        <m:sSup>
                          <m:sSupPr>
                            <m:ctrlPr>
                              <a:rPr lang="en-AU" sz="2000" i="1" smtClean="0">
                                <a:latin typeface="Cambria Math" panose="02040503050406030204" pitchFamily="18" charset="0"/>
                              </a:rPr>
                            </m:ctrlPr>
                          </m:sSupPr>
                          <m:e>
                            <m:r>
                              <a:rPr lang="en-AU" sz="2000" b="0" i="1" smtClean="0">
                                <a:latin typeface="Cambria Math" panose="02040503050406030204" pitchFamily="18" charset="0"/>
                              </a:rPr>
                              <m:t>𝐸</m:t>
                            </m:r>
                          </m:e>
                          <m:sup>
                            <m:f>
                              <m:fPr>
                                <m:ctrlPr>
                                  <a:rPr lang="en-AU" sz="2000" i="1" smtClean="0">
                                    <a:latin typeface="Cambria Math" panose="02040503050406030204" pitchFamily="18" charset="0"/>
                                  </a:rPr>
                                </m:ctrlPr>
                              </m:fPr>
                              <m:num>
                                <m:r>
                                  <a:rPr lang="en-AU" sz="2000" b="0" i="1" smtClean="0">
                                    <a:latin typeface="Cambria Math" panose="02040503050406030204" pitchFamily="18" charset="0"/>
                                  </a:rPr>
                                  <m:t>1</m:t>
                                </m:r>
                              </m:num>
                              <m:den>
                                <m:r>
                                  <a:rPr lang="en-AU" sz="2000" b="0" i="1" smtClean="0">
                                    <a:latin typeface="Cambria Math" panose="02040503050406030204" pitchFamily="18" charset="0"/>
                                  </a:rPr>
                                  <m:t>3</m:t>
                                </m:r>
                              </m:den>
                            </m:f>
                          </m:sup>
                        </m:sSup>
                      </m:num>
                      <m:den>
                        <m:r>
                          <a:rPr lang="en-AU" sz="2000" i="1" smtClean="0">
                            <a:latin typeface="Cambria Math" panose="02040503050406030204" pitchFamily="18" charset="0"/>
                            <a:ea typeface="Cambria Math" panose="02040503050406030204" pitchFamily="18" charset="0"/>
                          </a:rPr>
                          <m:t>𝜌</m:t>
                        </m:r>
                      </m:den>
                    </m:f>
                  </m:oMath>
                </a14:m>
                <a:r>
                  <a:rPr lang="en-AU" sz="2000"/>
                  <a:t>.</a:t>
                </a:r>
              </a:p>
              <a:p>
                <a:endParaRPr lang="en-AU"/>
              </a:p>
              <a:p>
                <a:endParaRPr lang="en-AU"/>
              </a:p>
            </p:txBody>
          </p:sp>
        </mc:Choice>
        <mc:Fallback xmlns="">
          <p:sp>
            <p:nvSpPr>
              <p:cNvPr id="11" name="TextBox 10">
                <a:extLst>
                  <a:ext uri="{FF2B5EF4-FFF2-40B4-BE49-F238E27FC236}">
                    <a16:creationId xmlns:a16="http://schemas.microsoft.com/office/drawing/2014/main" id="{C3CB6B4D-E082-C660-202F-8B62CD5633D7}"/>
                  </a:ext>
                </a:extLst>
              </p:cNvPr>
              <p:cNvSpPr txBox="1">
                <a:spLocks noRot="1" noChangeAspect="1" noMove="1" noResize="1" noEditPoints="1" noAdjustHandles="1" noChangeArrowheads="1" noChangeShapeType="1" noTextEdit="1"/>
              </p:cNvSpPr>
              <p:nvPr/>
            </p:nvSpPr>
            <p:spPr>
              <a:xfrm>
                <a:off x="7633044" y="4645221"/>
                <a:ext cx="4250266" cy="1839478"/>
              </a:xfrm>
              <a:prstGeom prst="rect">
                <a:avLst/>
              </a:prstGeom>
              <a:blipFill>
                <a:blip r:embed="rId7"/>
                <a:stretch>
                  <a:fillRect l="-1148" t="-1656"/>
                </a:stretch>
              </a:blipFill>
            </p:spPr>
            <p:txBody>
              <a:bodyPr/>
              <a:lstStyle/>
              <a:p>
                <a:r>
                  <a:rPr lang="en-AU">
                    <a:noFill/>
                  </a:rPr>
                  <a:t> </a:t>
                </a:r>
              </a:p>
            </p:txBody>
          </p:sp>
        </mc:Fallback>
      </mc:AlternateContent>
      <p:pic>
        <p:nvPicPr>
          <p:cNvPr id="18" name="Picture 17">
            <a:extLst>
              <a:ext uri="{FF2B5EF4-FFF2-40B4-BE49-F238E27FC236}">
                <a16:creationId xmlns:a16="http://schemas.microsoft.com/office/drawing/2014/main" id="{C8071252-29CD-70D8-EB42-EE941727B3B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3" name="Picture 2">
            <a:extLst>
              <a:ext uri="{FF2B5EF4-FFF2-40B4-BE49-F238E27FC236}">
                <a16:creationId xmlns:a16="http://schemas.microsoft.com/office/drawing/2014/main" id="{EB4580C5-B7F4-296F-002C-89C166D4D6F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0" name="Picture 19">
            <a:extLst>
              <a:ext uri="{FF2B5EF4-FFF2-40B4-BE49-F238E27FC236}">
                <a16:creationId xmlns:a16="http://schemas.microsoft.com/office/drawing/2014/main" id="{8C03985C-CB94-BA28-87DB-17669F7F1586}"/>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21" name="Picture 20">
            <a:extLst>
              <a:ext uri="{FF2B5EF4-FFF2-40B4-BE49-F238E27FC236}">
                <a16:creationId xmlns:a16="http://schemas.microsoft.com/office/drawing/2014/main" id="{FA8E57D2-8DC0-B264-6E4F-D2AD84475671}"/>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pic>
        <p:nvPicPr>
          <p:cNvPr id="22" name="Picture 21" descr="A white rectangular object with holes&#10;&#10;AI-generated content may be incorrect.">
            <a:extLst>
              <a:ext uri="{FF2B5EF4-FFF2-40B4-BE49-F238E27FC236}">
                <a16:creationId xmlns:a16="http://schemas.microsoft.com/office/drawing/2014/main" id="{5CFC63DE-1EC8-E644-EF73-B2865D284C82}"/>
              </a:ext>
            </a:extLst>
          </p:cNvPr>
          <p:cNvPicPr>
            <a:picLocks noChangeAspect="1"/>
          </p:cNvPicPr>
          <p:nvPr/>
        </p:nvPicPr>
        <p:blipFill>
          <a:blip r:embed="rId14"/>
          <a:stretch>
            <a:fillRect/>
          </a:stretch>
        </p:blipFill>
        <p:spPr>
          <a:xfrm>
            <a:off x="1088827" y="1379503"/>
            <a:ext cx="1818993" cy="897031"/>
          </a:xfrm>
          <a:prstGeom prst="rect">
            <a:avLst/>
          </a:prstGeom>
        </p:spPr>
      </p:pic>
    </p:spTree>
    <p:extLst>
      <p:ext uri="{BB962C8B-B14F-4D97-AF65-F5344CB8AC3E}">
        <p14:creationId xmlns:p14="http://schemas.microsoft.com/office/powerpoint/2010/main" val="17716607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1" name="!!mission_big">
            <a:extLst>
              <a:ext uri="{FF2B5EF4-FFF2-40B4-BE49-F238E27FC236}">
                <a16:creationId xmlns:a16="http://schemas.microsoft.com/office/drawing/2014/main" id="{6001EAF3-99DE-071D-640E-27373C22F4EC}"/>
              </a:ext>
            </a:extLst>
          </p:cNvPr>
          <p:cNvSpPr/>
          <p:nvPr/>
        </p:nvSpPr>
        <p:spPr>
          <a:xfrm>
            <a:off x="1468834" y="2068251"/>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54" name="Section Zoom 53">
                <a:extLst>
                  <a:ext uri="{FF2B5EF4-FFF2-40B4-BE49-F238E27FC236}">
                    <a16:creationId xmlns:a16="http://schemas.microsoft.com/office/drawing/2014/main" id="{DBC6B9C2-6600-0373-E3D5-6E3846853C35}"/>
                  </a:ext>
                </a:extLst>
              </p:cNvPr>
              <p:cNvGraphicFramePr>
                <a:graphicFrameLocks noChangeAspect="1"/>
              </p:cNvGraphicFramePr>
              <p:nvPr>
                <p:extLst>
                  <p:ext uri="{D42A27DB-BD31-4B8C-83A1-F6EECF244321}">
                    <p14:modId xmlns:p14="http://schemas.microsoft.com/office/powerpoint/2010/main" val="315410135"/>
                  </p:ext>
                </p:extLst>
              </p:nvPr>
            </p:nvGraphicFramePr>
            <p:xfrm>
              <a:off x="1290065" y="2333734"/>
              <a:ext cx="1840938" cy="1035529"/>
            </p:xfrm>
            <a:graphic>
              <a:graphicData uri="http://schemas.microsoft.com/office/powerpoint/2016/sectionzoom">
                <psez:sectionZm>
                  <psez:sectionZmObj sectionId="{88495344-40FB-4841-99CC-E364E4B3FA60}">
                    <psez:zmPr id="{2045F387-F9C1-4234-AB40-2F706D3FBEEE}" transitionDur="1000" showBg="0">
                      <p166:blipFill xmlns:p166="http://schemas.microsoft.com/office/powerpoint/2016/6/main">
                        <a:blip r:embed="rId4"/>
                        <a:stretch>
                          <a:fillRect/>
                        </a:stretch>
                      </p166:blipFill>
                      <p166:spPr xmlns:p166="http://schemas.microsoft.com/office/powerpoint/2016/6/main">
                        <a:xfrm>
                          <a:off x="0" y="0"/>
                          <a:ext cx="1840938" cy="1035529"/>
                        </a:xfrm>
                        <a:prstGeom prst="rect">
                          <a:avLst/>
                        </a:prstGeom>
                        <a:ln w="3175">
                          <a:noFill/>
                        </a:ln>
                      </p166:spPr>
                    </psez:zmPr>
                  </psez:sectionZmObj>
                </psez:sectionZm>
              </a:graphicData>
            </a:graphic>
          </p:graphicFrame>
        </mc:Choice>
        <mc:Fallback xmlns="">
          <p:pic>
            <p:nvPicPr>
              <p:cNvPr id="54" name="Section Zoom 53">
                <a:hlinkClick r:id="rId5" action="ppaction://hlinksldjump"/>
                <a:extLst>
                  <a:ext uri="{FF2B5EF4-FFF2-40B4-BE49-F238E27FC236}">
                    <a16:creationId xmlns:a16="http://schemas.microsoft.com/office/drawing/2014/main" id="{DBC6B9C2-6600-0373-E3D5-6E3846853C35}"/>
                  </a:ext>
                </a:extLst>
              </p:cNvPr>
              <p:cNvPicPr>
                <a:picLocks noGrp="1" noRot="1" noChangeAspect="1" noMove="1" noResize="1" noEditPoints="1" noAdjustHandles="1" noChangeArrowheads="1" noChangeShapeType="1"/>
              </p:cNvPicPr>
              <p:nvPr/>
            </p:nvPicPr>
            <p:blipFill>
              <a:blip r:embed="rId6"/>
              <a:stretch>
                <a:fillRect/>
              </a:stretch>
            </p:blipFill>
            <p:spPr>
              <a:xfrm>
                <a:off x="1290065" y="2333734"/>
                <a:ext cx="1840938" cy="1035529"/>
              </a:xfrm>
              <a:prstGeom prst="rect">
                <a:avLst/>
              </a:prstGeom>
              <a:ln w="3175">
                <a:noFill/>
              </a:ln>
            </p:spPr>
          </p:pic>
        </mc:Fallback>
      </mc:AlternateContent>
      <p:sp>
        <p:nvSpPr>
          <p:cNvPr id="76" name="Slide Title">
            <a:extLst>
              <a:ext uri="{FF2B5EF4-FFF2-40B4-BE49-F238E27FC236}">
                <a16:creationId xmlns:a16="http://schemas.microsoft.com/office/drawing/2014/main" id="{F1C16585-D5BD-D317-3939-4561F6529330}"/>
              </a:ext>
            </a:extLst>
          </p:cNvPr>
          <p:cNvSpPr txBox="1"/>
          <p:nvPr/>
        </p:nvSpPr>
        <p:spPr>
          <a:xfrm>
            <a:off x="4841352" y="487339"/>
            <a:ext cx="2367900" cy="888448"/>
          </a:xfrm>
          <a:prstGeom prst="rect">
            <a:avLst/>
          </a:prstGeom>
          <a:noFill/>
        </p:spPr>
        <p:txBody>
          <a:bodyPr wrap="squar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4400" b="0" u="none" strike="noStrike" kern="1200" cap="none" spc="-150" normalizeH="0" baseline="0" noProof="0">
                <a:ln>
                  <a:noFill/>
                </a:ln>
                <a:solidFill>
                  <a:srgbClr val="2F3D4A"/>
                </a:solidFill>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4000" b="0" i="1" u="none" strike="noStrike" kern="1200" cap="none" spc="-150" normalizeH="0" baseline="0" noProof="0">
                <a:ln>
                  <a:noFill/>
                </a:ln>
                <a:solidFill>
                  <a:srgbClr val="2F3D4A"/>
                </a:solidFill>
                <a:uLnTx/>
                <a:uFillTx/>
                <a:latin typeface="Playfair Display" pitchFamily="2" charset="0"/>
              </a:rPr>
              <a:t>Contents</a:t>
            </a:r>
            <a:r>
              <a:rPr kumimoji="0" lang="en-US" sz="4400" b="0"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4400" b="0" i="1" u="none" strike="noStrike" kern="1200" cap="none" spc="-150" normalizeH="0" baseline="0" noProof="0">
              <a:ln>
                <a:noFill/>
              </a:ln>
              <a:solidFill>
                <a:srgbClr val="2F3D4A"/>
              </a:solidFill>
              <a:effectLst>
                <a:outerShdw blurRad="88900" dist="88900" dir="2700000" algn="tl" rotWithShape="0">
                  <a:prstClr val="black">
                    <a:alpha val="50000"/>
                  </a:prstClr>
                </a:outerShdw>
              </a:effectLst>
              <a:uLnTx/>
              <a:uFillTx/>
              <a:latin typeface="Playfair Display" pitchFamily="2" charset="0"/>
            </a:endParaRPr>
          </a:p>
        </p:txBody>
      </p:sp>
      <p:sp useBgFill="1">
        <p:nvSpPr>
          <p:cNvPr id="78" name="Oval 77">
            <a:extLst>
              <a:ext uri="{FF2B5EF4-FFF2-40B4-BE49-F238E27FC236}">
                <a16:creationId xmlns:a16="http://schemas.microsoft.com/office/drawing/2014/main" id="{C9B6FF81-6FE6-C909-6253-D0FEA76AB50A}"/>
              </a:ext>
            </a:extLst>
          </p:cNvPr>
          <p:cNvSpPr/>
          <p:nvPr/>
        </p:nvSpPr>
        <p:spPr>
          <a:xfrm>
            <a:off x="1926241" y="1867721"/>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79" name="Graphic 78">
            <a:extLst>
              <a:ext uri="{FF2B5EF4-FFF2-40B4-BE49-F238E27FC236}">
                <a16:creationId xmlns:a16="http://schemas.microsoft.com/office/drawing/2014/main" id="{800F1B16-217C-9DC0-72A3-A42F923309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54034" y="1995514"/>
            <a:ext cx="252000" cy="252000"/>
          </a:xfrm>
          <a:prstGeom prst="rect">
            <a:avLst/>
          </a:prstGeom>
        </p:spPr>
      </p:pic>
      <p:sp>
        <p:nvSpPr>
          <p:cNvPr id="5" name="!!solution_big">
            <a:extLst>
              <a:ext uri="{FF2B5EF4-FFF2-40B4-BE49-F238E27FC236}">
                <a16:creationId xmlns:a16="http://schemas.microsoft.com/office/drawing/2014/main" id="{01485104-FBE1-6D05-D1EB-C70693B8A671}"/>
              </a:ext>
            </a:extLst>
          </p:cNvPr>
          <p:cNvSpPr/>
          <p:nvPr/>
        </p:nvSpPr>
        <p:spPr>
          <a:xfrm>
            <a:off x="3428847" y="2035248"/>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dirty="0">
              <a:latin typeface="Darker Grotesque" pitchFamily="2" charset="0"/>
            </a:endParaRPr>
          </a:p>
        </p:txBody>
      </p:sp>
      <p:sp>
        <p:nvSpPr>
          <p:cNvPr id="21" name="!!potential_big">
            <a:extLst>
              <a:ext uri="{FF2B5EF4-FFF2-40B4-BE49-F238E27FC236}">
                <a16:creationId xmlns:a16="http://schemas.microsoft.com/office/drawing/2014/main" id="{451ADC09-786B-7817-12A7-45589629C4FD}"/>
              </a:ext>
            </a:extLst>
          </p:cNvPr>
          <p:cNvSpPr/>
          <p:nvPr/>
        </p:nvSpPr>
        <p:spPr>
          <a:xfrm>
            <a:off x="5430071" y="2062150"/>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p:grpSp>
        <p:nvGrpSpPr>
          <p:cNvPr id="83" name="!!solution">
            <a:extLst>
              <a:ext uri="{FF2B5EF4-FFF2-40B4-BE49-F238E27FC236}">
                <a16:creationId xmlns:a16="http://schemas.microsoft.com/office/drawing/2014/main" id="{02C93F58-6DE8-870C-D1AE-B70C074E0601}"/>
              </a:ext>
            </a:extLst>
          </p:cNvPr>
          <p:cNvGrpSpPr/>
          <p:nvPr/>
        </p:nvGrpSpPr>
        <p:grpSpPr>
          <a:xfrm>
            <a:off x="5907332" y="1826148"/>
            <a:ext cx="507586" cy="507586"/>
            <a:chOff x="3825777" y="2263184"/>
            <a:chExt cx="507586" cy="507586"/>
          </a:xfrm>
          <a:solidFill>
            <a:srgbClr val="2F3D4A"/>
          </a:solidFill>
        </p:grpSpPr>
        <p:sp useBgFill="1">
          <p:nvSpPr>
            <p:cNvPr id="84" name="Oval 83">
              <a:extLst>
                <a:ext uri="{FF2B5EF4-FFF2-40B4-BE49-F238E27FC236}">
                  <a16:creationId xmlns:a16="http://schemas.microsoft.com/office/drawing/2014/main" id="{0F414691-D85D-55A6-6399-3CD06D7FCFFF}"/>
                </a:ext>
              </a:extLst>
            </p:cNvPr>
            <p:cNvSpPr/>
            <p:nvPr/>
          </p:nvSpPr>
          <p:spPr>
            <a:xfrm>
              <a:off x="3825777" y="2263184"/>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85" name="Graphic 84">
              <a:extLst>
                <a:ext uri="{FF2B5EF4-FFF2-40B4-BE49-F238E27FC236}">
                  <a16:creationId xmlns:a16="http://schemas.microsoft.com/office/drawing/2014/main" id="{5CF24868-AC3E-1F7F-E655-7F620EAAA3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53570" y="2390977"/>
              <a:ext cx="252000" cy="252000"/>
            </a:xfrm>
            <a:prstGeom prst="rect">
              <a:avLst/>
            </a:prstGeom>
          </p:spPr>
        </p:pic>
      </p:grpSp>
      <mc:AlternateContent xmlns:mc="http://schemas.openxmlformats.org/markup-compatibility/2006">
        <mc:Choice xmlns:psez="http://schemas.microsoft.com/office/powerpoint/2016/sectionzoom" Requires="psez">
          <p:graphicFrame>
            <p:nvGraphicFramePr>
              <p:cNvPr id="10" name="Section Zoom 9">
                <a:extLst>
                  <a:ext uri="{FF2B5EF4-FFF2-40B4-BE49-F238E27FC236}">
                    <a16:creationId xmlns:a16="http://schemas.microsoft.com/office/drawing/2014/main" id="{A7B5DE9F-77DA-2216-24D5-A7E51426B6E6}"/>
                  </a:ext>
                </a:extLst>
              </p:cNvPr>
              <p:cNvGraphicFramePr>
                <a:graphicFrameLocks noChangeAspect="1"/>
              </p:cNvGraphicFramePr>
              <p:nvPr>
                <p:extLst>
                  <p:ext uri="{D42A27DB-BD31-4B8C-83A1-F6EECF244321}">
                    <p14:modId xmlns:p14="http://schemas.microsoft.com/office/powerpoint/2010/main" val="2574479099"/>
                  </p:ext>
                </p:extLst>
              </p:nvPr>
            </p:nvGraphicFramePr>
            <p:xfrm>
              <a:off x="5387369" y="2333734"/>
              <a:ext cx="1507803" cy="848139"/>
            </p:xfrm>
            <a:graphic>
              <a:graphicData uri="http://schemas.microsoft.com/office/powerpoint/2016/sectionzoom">
                <psez:sectionZm>
                  <psez:sectionZmObj sectionId="{B0161835-6204-4266-8552-F3667AA67871}">
                    <psez:zmPr id="{8063EAC8-A51B-4716-95F3-8D194DDEC352}" transitionDur="1000" showBg="0">
                      <p166:blipFill xmlns:p166="http://schemas.microsoft.com/office/powerpoint/2016/6/main">
                        <a:blip r:embed="rId11"/>
                        <a:stretch>
                          <a:fillRect/>
                        </a:stretch>
                      </p166:blipFill>
                      <p166:spPr xmlns:p166="http://schemas.microsoft.com/office/powerpoint/2016/6/main">
                        <a:xfrm>
                          <a:off x="0" y="0"/>
                          <a:ext cx="1507803" cy="848139"/>
                        </a:xfrm>
                        <a:prstGeom prst="rect">
                          <a:avLst/>
                        </a:prstGeom>
                        <a:ln w="3175">
                          <a:noFill/>
                        </a:ln>
                      </p166:spPr>
                    </psez:zmPr>
                  </psez:sectionZmObj>
                </psez:sectionZm>
              </a:graphicData>
            </a:graphic>
          </p:graphicFrame>
        </mc:Choice>
        <mc:Fallback>
          <p:pic>
            <p:nvPicPr>
              <p:cNvPr id="10" name="Section Zoom 9">
                <a:hlinkClick r:id="rId12" action="ppaction://hlinksldjump"/>
                <a:extLst>
                  <a:ext uri="{FF2B5EF4-FFF2-40B4-BE49-F238E27FC236}">
                    <a16:creationId xmlns:a16="http://schemas.microsoft.com/office/drawing/2014/main" id="{A7B5DE9F-77DA-2216-24D5-A7E51426B6E6}"/>
                  </a:ext>
                </a:extLst>
              </p:cNvPr>
              <p:cNvPicPr>
                <a:picLocks noGrp="1" noRot="1" noChangeAspect="1" noMove="1" noResize="1" noEditPoints="1" noAdjustHandles="1" noChangeArrowheads="1" noChangeShapeType="1"/>
              </p:cNvPicPr>
              <p:nvPr/>
            </p:nvPicPr>
            <p:blipFill>
              <a:blip r:embed="rId11"/>
              <a:stretch>
                <a:fillRect/>
              </a:stretch>
            </p:blipFill>
            <p:spPr>
              <a:xfrm>
                <a:off x="5387369" y="2333734"/>
                <a:ext cx="1507803" cy="848139"/>
              </a:xfrm>
              <a:prstGeom prst="rect">
                <a:avLst/>
              </a:prstGeom>
              <a:ln w="3175">
                <a:noFill/>
              </a:ln>
            </p:spPr>
          </p:pic>
        </mc:Fallback>
      </mc:AlternateContent>
      <p:grpSp>
        <p:nvGrpSpPr>
          <p:cNvPr id="86" name="!!potential">
            <a:extLst>
              <a:ext uri="{FF2B5EF4-FFF2-40B4-BE49-F238E27FC236}">
                <a16:creationId xmlns:a16="http://schemas.microsoft.com/office/drawing/2014/main" id="{76D5D0DE-AA33-7B2C-C884-B10D4689429A}"/>
              </a:ext>
            </a:extLst>
          </p:cNvPr>
          <p:cNvGrpSpPr/>
          <p:nvPr/>
        </p:nvGrpSpPr>
        <p:grpSpPr>
          <a:xfrm>
            <a:off x="3883821" y="1826148"/>
            <a:ext cx="507586" cy="507586"/>
            <a:chOff x="4797684" y="3164697"/>
            <a:chExt cx="507586" cy="507586"/>
          </a:xfrm>
          <a:solidFill>
            <a:srgbClr val="2F3D4A"/>
          </a:solidFill>
        </p:grpSpPr>
        <p:sp useBgFill="1">
          <p:nvSpPr>
            <p:cNvPr id="87" name="Oval 86">
              <a:extLst>
                <a:ext uri="{FF2B5EF4-FFF2-40B4-BE49-F238E27FC236}">
                  <a16:creationId xmlns:a16="http://schemas.microsoft.com/office/drawing/2014/main" id="{00A96CE1-5985-A4D9-DABC-EA7FB44BC0CC}"/>
                </a:ext>
              </a:extLst>
            </p:cNvPr>
            <p:cNvSpPr/>
            <p:nvPr/>
          </p:nvSpPr>
          <p:spPr>
            <a:xfrm>
              <a:off x="4797684" y="3164697"/>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88" name="Graphic 87">
              <a:extLst>
                <a:ext uri="{FF2B5EF4-FFF2-40B4-BE49-F238E27FC236}">
                  <a16:creationId xmlns:a16="http://schemas.microsoft.com/office/drawing/2014/main" id="{2A1CE0DD-DACD-661A-1B04-6016859A9D9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925477" y="3292490"/>
              <a:ext cx="252000" cy="252000"/>
            </a:xfrm>
            <a:prstGeom prst="rect">
              <a:avLst/>
            </a:prstGeom>
          </p:spPr>
        </p:pic>
      </p:grpSp>
      <mc:AlternateContent xmlns:mc="http://schemas.openxmlformats.org/markup-compatibility/2006">
        <mc:Choice xmlns:psez="http://schemas.microsoft.com/office/powerpoint/2016/sectionzoom" Requires="psez">
          <p:graphicFrame>
            <p:nvGraphicFramePr>
              <p:cNvPr id="13" name="Section Zoom 12">
                <a:extLst>
                  <a:ext uri="{FF2B5EF4-FFF2-40B4-BE49-F238E27FC236}">
                    <a16:creationId xmlns:a16="http://schemas.microsoft.com/office/drawing/2014/main" id="{8C693734-C934-C86F-DBF3-51A83A14962D}"/>
                  </a:ext>
                </a:extLst>
              </p:cNvPr>
              <p:cNvGraphicFramePr>
                <a:graphicFrameLocks noChangeAspect="1"/>
              </p:cNvGraphicFramePr>
              <p:nvPr>
                <p:extLst>
                  <p:ext uri="{D42A27DB-BD31-4B8C-83A1-F6EECF244321}">
                    <p14:modId xmlns:p14="http://schemas.microsoft.com/office/powerpoint/2010/main" val="3584120399"/>
                  </p:ext>
                </p:extLst>
              </p:nvPr>
            </p:nvGraphicFramePr>
            <p:xfrm>
              <a:off x="3348641" y="2225480"/>
              <a:ext cx="1643877" cy="961409"/>
            </p:xfrm>
            <a:graphic>
              <a:graphicData uri="http://schemas.microsoft.com/office/powerpoint/2016/sectionzoom">
                <psez:sectionZm>
                  <psez:sectionZmObj sectionId="{B78F869A-DB52-4C0F-9771-93BD0B0C77E6}">
                    <psez:zmPr id="{25F3C81B-8628-4BDC-A625-35EC4F6BCABF}" transitionDur="1000" showBg="0">
                      <p166:blipFill xmlns:p166="http://schemas.microsoft.com/office/powerpoint/2016/6/main">
                        <a:blip r:embed="rId15"/>
                        <a:stretch>
                          <a:fillRect/>
                        </a:stretch>
                      </p166:blipFill>
                      <p166:spPr xmlns:p166="http://schemas.microsoft.com/office/powerpoint/2016/6/main">
                        <a:xfrm>
                          <a:off x="0" y="0"/>
                          <a:ext cx="1643877" cy="961409"/>
                        </a:xfrm>
                        <a:prstGeom prst="rect">
                          <a:avLst/>
                        </a:prstGeom>
                        <a:ln w="3175">
                          <a:noFill/>
                        </a:ln>
                      </p166:spPr>
                    </psez:zmPr>
                  </psez:sectionZmObj>
                </psez:sectionZm>
              </a:graphicData>
            </a:graphic>
          </p:graphicFrame>
        </mc:Choice>
        <mc:Fallback>
          <p:pic>
            <p:nvPicPr>
              <p:cNvPr id="13" name="Section Zoom 12">
                <a:hlinkClick r:id="rId16" action="ppaction://hlinksldjump"/>
                <a:extLst>
                  <a:ext uri="{FF2B5EF4-FFF2-40B4-BE49-F238E27FC236}">
                    <a16:creationId xmlns:a16="http://schemas.microsoft.com/office/drawing/2014/main" id="{8C693734-C934-C86F-DBF3-51A83A14962D}"/>
                  </a:ext>
                </a:extLst>
              </p:cNvPr>
              <p:cNvPicPr>
                <a:picLocks noGrp="1" noRot="1" noChangeAspect="1" noMove="1" noResize="1" noEditPoints="1" noAdjustHandles="1" noChangeArrowheads="1" noChangeShapeType="1"/>
              </p:cNvPicPr>
              <p:nvPr/>
            </p:nvPicPr>
            <p:blipFill>
              <a:blip r:embed="rId15"/>
              <a:stretch>
                <a:fillRect/>
              </a:stretch>
            </p:blipFill>
            <p:spPr>
              <a:xfrm>
                <a:off x="3348641" y="2225480"/>
                <a:ext cx="1643877" cy="961409"/>
              </a:xfrm>
              <a:prstGeom prst="rect">
                <a:avLst/>
              </a:prstGeom>
              <a:ln w="3175">
                <a:noFill/>
              </a:ln>
            </p:spPr>
          </p:pic>
        </mc:Fallback>
      </mc:AlternateContent>
      <p:sp>
        <p:nvSpPr>
          <p:cNvPr id="29" name="!!model_big">
            <a:extLst>
              <a:ext uri="{FF2B5EF4-FFF2-40B4-BE49-F238E27FC236}">
                <a16:creationId xmlns:a16="http://schemas.microsoft.com/office/drawing/2014/main" id="{D0B663A2-5250-7360-D77D-BA82684250B9}"/>
              </a:ext>
            </a:extLst>
          </p:cNvPr>
          <p:cNvSpPr/>
          <p:nvPr/>
        </p:nvSpPr>
        <p:spPr>
          <a:xfrm>
            <a:off x="7318522" y="2035248"/>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p:grpSp>
        <p:nvGrpSpPr>
          <p:cNvPr id="89" name="!!model">
            <a:extLst>
              <a:ext uri="{FF2B5EF4-FFF2-40B4-BE49-F238E27FC236}">
                <a16:creationId xmlns:a16="http://schemas.microsoft.com/office/drawing/2014/main" id="{566EDD2E-22AC-6031-0455-A2B2DCCA440F}"/>
              </a:ext>
            </a:extLst>
          </p:cNvPr>
          <p:cNvGrpSpPr/>
          <p:nvPr/>
        </p:nvGrpSpPr>
        <p:grpSpPr>
          <a:xfrm>
            <a:off x="7835302" y="1826148"/>
            <a:ext cx="507586" cy="507586"/>
            <a:chOff x="5832785" y="1868829"/>
            <a:chExt cx="507586" cy="507586"/>
          </a:xfrm>
          <a:solidFill>
            <a:srgbClr val="2F3D4A"/>
          </a:solidFill>
        </p:grpSpPr>
        <p:sp useBgFill="1">
          <p:nvSpPr>
            <p:cNvPr id="90" name="Oval 89">
              <a:extLst>
                <a:ext uri="{FF2B5EF4-FFF2-40B4-BE49-F238E27FC236}">
                  <a16:creationId xmlns:a16="http://schemas.microsoft.com/office/drawing/2014/main" id="{388129E3-63DA-5454-7CF3-03B8C87AAE37}"/>
                </a:ext>
              </a:extLst>
            </p:cNvPr>
            <p:cNvSpPr/>
            <p:nvPr/>
          </p:nvSpPr>
          <p:spPr>
            <a:xfrm>
              <a:off x="5832785" y="1868829"/>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1" name="Graphic 90">
              <a:extLst>
                <a:ext uri="{FF2B5EF4-FFF2-40B4-BE49-F238E27FC236}">
                  <a16:creationId xmlns:a16="http://schemas.microsoft.com/office/drawing/2014/main" id="{5D96F2BD-B628-D112-2E38-FB30D72EF76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960578" y="1996622"/>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366A5243-9F37-B263-172D-5FF4FD239A02}"/>
                  </a:ext>
                </a:extLst>
              </p:cNvPr>
              <p:cNvGraphicFramePr>
                <a:graphicFrameLocks noChangeAspect="1"/>
              </p:cNvGraphicFramePr>
              <p:nvPr>
                <p:extLst>
                  <p:ext uri="{D42A27DB-BD31-4B8C-83A1-F6EECF244321}">
                    <p14:modId xmlns:p14="http://schemas.microsoft.com/office/powerpoint/2010/main" val="824381417"/>
                  </p:ext>
                </p:extLst>
              </p:nvPr>
            </p:nvGraphicFramePr>
            <p:xfrm>
              <a:off x="7358679" y="2370294"/>
              <a:ext cx="1416891" cy="797001"/>
            </p:xfrm>
            <a:graphic>
              <a:graphicData uri="http://schemas.microsoft.com/office/powerpoint/2016/sectionzoom">
                <psez:sectionZm>
                  <psez:sectionZmObj sectionId="{8EDEC664-D3C4-4592-8786-C99AA6E5D5F4}">
                    <psez:zmPr id="{1174C820-6585-4812-BAF9-B20F5FE26C7E}" transitionDur="1000" showBg="0">
                      <p166:blipFill xmlns:p166="http://schemas.microsoft.com/office/powerpoint/2016/6/main">
                        <a:blip r:embed="rId19"/>
                        <a:stretch>
                          <a:fillRect/>
                        </a:stretch>
                      </p166:blipFill>
                      <p166:spPr xmlns:p166="http://schemas.microsoft.com/office/powerpoint/2016/6/main">
                        <a:xfrm>
                          <a:off x="0" y="0"/>
                          <a:ext cx="1416891" cy="797001"/>
                        </a:xfrm>
                        <a:prstGeom prst="rect">
                          <a:avLst/>
                        </a:prstGeom>
                        <a:ln w="3175">
                          <a:noFill/>
                        </a:ln>
                      </p166:spPr>
                    </psez:zmPr>
                  </psez:sectionZmObj>
                </psez:sectionZm>
              </a:graphicData>
            </a:graphic>
          </p:graphicFrame>
        </mc:Choice>
        <mc:Fallback xmlns="">
          <p:pic>
            <p:nvPicPr>
              <p:cNvPr id="16" name="Section Zoom 15">
                <a:hlinkClick r:id="rId22" action="ppaction://hlinksldjump"/>
                <a:extLst>
                  <a:ext uri="{FF2B5EF4-FFF2-40B4-BE49-F238E27FC236}">
                    <a16:creationId xmlns:a16="http://schemas.microsoft.com/office/drawing/2014/main" id="{366A5243-9F37-B263-172D-5FF4FD239A02}"/>
                  </a:ext>
                </a:extLst>
              </p:cNvPr>
              <p:cNvPicPr>
                <a:picLocks noGrp="1" noRot="1" noChangeAspect="1" noMove="1" noResize="1" noEditPoints="1" noAdjustHandles="1" noChangeArrowheads="1" noChangeShapeType="1"/>
              </p:cNvPicPr>
              <p:nvPr/>
            </p:nvPicPr>
            <p:blipFill>
              <a:blip r:embed="rId23"/>
              <a:stretch>
                <a:fillRect/>
              </a:stretch>
            </p:blipFill>
            <p:spPr>
              <a:xfrm>
                <a:off x="7358679" y="2370294"/>
                <a:ext cx="1416891" cy="797001"/>
              </a:xfrm>
              <a:prstGeom prst="rect">
                <a:avLst/>
              </a:prstGeom>
              <a:ln w="3175">
                <a:noFill/>
              </a:ln>
            </p:spPr>
          </p:pic>
        </mc:Fallback>
      </mc:AlternateContent>
      <p:sp>
        <p:nvSpPr>
          <p:cNvPr id="41" name="!!competition_big">
            <a:extLst>
              <a:ext uri="{FF2B5EF4-FFF2-40B4-BE49-F238E27FC236}">
                <a16:creationId xmlns:a16="http://schemas.microsoft.com/office/drawing/2014/main" id="{CB47AF06-08C1-C824-3CDC-6718A25A5568}"/>
              </a:ext>
            </a:extLst>
          </p:cNvPr>
          <p:cNvSpPr/>
          <p:nvPr/>
        </p:nvSpPr>
        <p:spPr>
          <a:xfrm>
            <a:off x="9257702" y="2006600"/>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p:grpSp>
        <p:nvGrpSpPr>
          <p:cNvPr id="95" name="!!competition">
            <a:extLst>
              <a:ext uri="{FF2B5EF4-FFF2-40B4-BE49-F238E27FC236}">
                <a16:creationId xmlns:a16="http://schemas.microsoft.com/office/drawing/2014/main" id="{7B3CFE44-CCB2-0E22-A954-EDDDAD190D76}"/>
              </a:ext>
            </a:extLst>
          </p:cNvPr>
          <p:cNvGrpSpPr/>
          <p:nvPr/>
        </p:nvGrpSpPr>
        <p:grpSpPr>
          <a:xfrm>
            <a:off x="9715109" y="1844404"/>
            <a:ext cx="507586" cy="507586"/>
            <a:chOff x="7790768" y="1868829"/>
            <a:chExt cx="507586" cy="507586"/>
          </a:xfrm>
          <a:solidFill>
            <a:srgbClr val="2F3D4A"/>
          </a:solidFill>
        </p:grpSpPr>
        <p:sp useBgFill="1">
          <p:nvSpPr>
            <p:cNvPr id="96" name="Oval 95">
              <a:extLst>
                <a:ext uri="{FF2B5EF4-FFF2-40B4-BE49-F238E27FC236}">
                  <a16:creationId xmlns:a16="http://schemas.microsoft.com/office/drawing/2014/main" id="{D788B742-9A70-2B7D-B38B-7FF78CADE6D8}"/>
                </a:ext>
              </a:extLst>
            </p:cNvPr>
            <p:cNvSpPr/>
            <p:nvPr/>
          </p:nvSpPr>
          <p:spPr>
            <a:xfrm>
              <a:off x="7790768" y="1868829"/>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7" name="Graphic 96">
              <a:extLst>
                <a:ext uri="{FF2B5EF4-FFF2-40B4-BE49-F238E27FC236}">
                  <a16:creationId xmlns:a16="http://schemas.microsoft.com/office/drawing/2014/main" id="{79C69A43-9E36-291C-6CF0-244B275780D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918561" y="1996622"/>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64A8C2C-A09D-914F-4D82-0AC210E81EC2}"/>
                  </a:ext>
                </a:extLst>
              </p:cNvPr>
              <p:cNvGraphicFramePr>
                <a:graphicFrameLocks noChangeAspect="1"/>
              </p:cNvGraphicFramePr>
              <p:nvPr>
                <p:extLst>
                  <p:ext uri="{D42A27DB-BD31-4B8C-83A1-F6EECF244321}">
                    <p14:modId xmlns:p14="http://schemas.microsoft.com/office/powerpoint/2010/main" val="1811914942"/>
                  </p:ext>
                </p:extLst>
              </p:nvPr>
            </p:nvGraphicFramePr>
            <p:xfrm>
              <a:off x="9090052" y="2199133"/>
              <a:ext cx="1757700" cy="988706"/>
            </p:xfrm>
            <a:graphic>
              <a:graphicData uri="http://schemas.microsoft.com/office/powerpoint/2016/sectionzoom">
                <psez:sectionZm>
                  <psez:sectionZmObj sectionId="{5F9BCD4A-9433-48A8-B291-287BE2581A63}">
                    <psez:zmPr id="{18EA1257-2A04-4F60-AC28-AE506CECCC30}" transitionDur="1000" showBg="0">
                      <p166:blipFill xmlns:p166="http://schemas.microsoft.com/office/powerpoint/2016/6/main">
                        <a:blip r:embed="rId26"/>
                        <a:stretch>
                          <a:fillRect/>
                        </a:stretch>
                      </p166:blipFill>
                      <p166:spPr xmlns:p166="http://schemas.microsoft.com/office/powerpoint/2016/6/main">
                        <a:xfrm>
                          <a:off x="0" y="0"/>
                          <a:ext cx="1757700" cy="988706"/>
                        </a:xfrm>
                        <a:prstGeom prst="rect">
                          <a:avLst/>
                        </a:prstGeom>
                        <a:ln>
                          <a:noFill/>
                        </a:ln>
                      </p166:spPr>
                    </psez:zmPr>
                  </psez:sectionZmObj>
                </psez:sectionZm>
              </a:graphicData>
            </a:graphic>
          </p:graphicFrame>
        </mc:Choice>
        <mc:Fallback xmlns="">
          <p:pic>
            <p:nvPicPr>
              <p:cNvPr id="8" name="Section Zoom 7">
                <a:hlinkClick r:id="rId27" action="ppaction://hlinksldjump"/>
                <a:extLst>
                  <a:ext uri="{FF2B5EF4-FFF2-40B4-BE49-F238E27FC236}">
                    <a16:creationId xmlns:a16="http://schemas.microsoft.com/office/drawing/2014/main" id="{A64A8C2C-A09D-914F-4D82-0AC210E81EC2}"/>
                  </a:ext>
                </a:extLst>
              </p:cNvPr>
              <p:cNvPicPr>
                <a:picLocks noGrp="1" noRot="1" noChangeAspect="1" noMove="1" noResize="1" noEditPoints="1" noAdjustHandles="1" noChangeArrowheads="1" noChangeShapeType="1"/>
              </p:cNvPicPr>
              <p:nvPr/>
            </p:nvPicPr>
            <p:blipFill>
              <a:blip r:embed="rId28"/>
              <a:stretch>
                <a:fillRect/>
              </a:stretch>
            </p:blipFill>
            <p:spPr>
              <a:xfrm>
                <a:off x="9090052" y="2199133"/>
                <a:ext cx="1757700" cy="988706"/>
              </a:xfrm>
              <a:prstGeom prst="rect">
                <a:avLst/>
              </a:prstGeom>
              <a:ln>
                <a:noFill/>
              </a:ln>
            </p:spPr>
          </p:pic>
        </mc:Fallback>
      </mc:AlternateContent>
      <p:sp>
        <p:nvSpPr>
          <p:cNvPr id="51" name="!!finanvials_big">
            <a:extLst>
              <a:ext uri="{FF2B5EF4-FFF2-40B4-BE49-F238E27FC236}">
                <a16:creationId xmlns:a16="http://schemas.microsoft.com/office/drawing/2014/main" id="{C1A01352-BCE7-17AB-4430-ACC0B0082F50}"/>
              </a:ext>
            </a:extLst>
          </p:cNvPr>
          <p:cNvSpPr/>
          <p:nvPr/>
        </p:nvSpPr>
        <p:spPr>
          <a:xfrm>
            <a:off x="4374217" y="3504066"/>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p:sp useBgFill="1">
        <p:nvSpPr>
          <p:cNvPr id="99" name="Oval 98">
            <a:extLst>
              <a:ext uri="{FF2B5EF4-FFF2-40B4-BE49-F238E27FC236}">
                <a16:creationId xmlns:a16="http://schemas.microsoft.com/office/drawing/2014/main" id="{3094A7F4-7D95-3CCB-D7F6-F42074CE8F7B}"/>
              </a:ext>
            </a:extLst>
          </p:cNvPr>
          <p:cNvSpPr/>
          <p:nvPr/>
        </p:nvSpPr>
        <p:spPr>
          <a:xfrm>
            <a:off x="4786821" y="3319448"/>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994A7A82-00DA-C962-F4B3-D28B371A268F}"/>
                  </a:ext>
                </a:extLst>
              </p:cNvPr>
              <p:cNvGraphicFramePr>
                <a:graphicFrameLocks noChangeAspect="1"/>
              </p:cNvGraphicFramePr>
              <p:nvPr>
                <p:extLst>
                  <p:ext uri="{D42A27DB-BD31-4B8C-83A1-F6EECF244321}">
                    <p14:modId xmlns:p14="http://schemas.microsoft.com/office/powerpoint/2010/main" val="1831732298"/>
                  </p:ext>
                </p:extLst>
              </p:nvPr>
            </p:nvGraphicFramePr>
            <p:xfrm>
              <a:off x="4482471" y="3873452"/>
              <a:ext cx="1205892" cy="678314"/>
            </p:xfrm>
            <a:graphic>
              <a:graphicData uri="http://schemas.microsoft.com/office/powerpoint/2016/sectionzoom">
                <psez:sectionZm>
                  <psez:sectionZmObj sectionId="{DAF8DABC-592A-4901-A0AC-5CDA09D8F45E}">
                    <psez:zmPr id="{B0CC5743-31DA-4C38-8F9F-D13430DC46E4}" transitionDur="1000" showBg="0">
                      <p166:blipFill xmlns:p166="http://schemas.microsoft.com/office/powerpoint/2016/6/main">
                        <a:blip r:embed="rId29"/>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5" name="Section Zoom 14">
                <a:hlinkClick r:id="rId30" action="ppaction://hlinksldjump"/>
                <a:extLst>
                  <a:ext uri="{FF2B5EF4-FFF2-40B4-BE49-F238E27FC236}">
                    <a16:creationId xmlns:a16="http://schemas.microsoft.com/office/drawing/2014/main" id="{994A7A82-00DA-C962-F4B3-D28B371A268F}"/>
                  </a:ext>
                </a:extLst>
              </p:cNvPr>
              <p:cNvPicPr>
                <a:picLocks noGrp="1" noRot="1" noChangeAspect="1" noMove="1" noResize="1" noEditPoints="1" noAdjustHandles="1" noChangeArrowheads="1" noChangeShapeType="1"/>
              </p:cNvPicPr>
              <p:nvPr/>
            </p:nvPicPr>
            <p:blipFill>
              <a:blip r:embed="rId31"/>
              <a:stretch>
                <a:fillRect/>
              </a:stretch>
            </p:blipFill>
            <p:spPr>
              <a:xfrm>
                <a:off x="4482471" y="3873452"/>
                <a:ext cx="1205892" cy="678314"/>
              </a:xfrm>
              <a:prstGeom prst="rect">
                <a:avLst/>
              </a:prstGeom>
              <a:ln w="3175">
                <a:noFill/>
              </a:ln>
            </p:spPr>
          </p:pic>
        </mc:Fallback>
      </mc:AlternateContent>
      <p:sp>
        <p:nvSpPr>
          <p:cNvPr id="52" name="!!team_big">
            <a:extLst>
              <a:ext uri="{FF2B5EF4-FFF2-40B4-BE49-F238E27FC236}">
                <a16:creationId xmlns:a16="http://schemas.microsoft.com/office/drawing/2014/main" id="{B302DE39-6CAA-0299-5B01-34FB4ACE7015}"/>
              </a:ext>
            </a:extLst>
          </p:cNvPr>
          <p:cNvSpPr/>
          <p:nvPr/>
        </p:nvSpPr>
        <p:spPr>
          <a:xfrm>
            <a:off x="6399231" y="3457648"/>
            <a:ext cx="1422400" cy="1422400"/>
          </a:xfrm>
          <a:prstGeom prst="ellipse">
            <a:avLst/>
          </a:prstGeom>
          <a:solidFill>
            <a:srgbClr val="2F3D4A"/>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endParaRPr lang="en-GB">
              <a:latin typeface="Darker Grotesque" pitchFamily="2" charset="0"/>
            </a:endParaRPr>
          </a:p>
        </p:txBody>
      </p:sp>
      <p:grpSp>
        <p:nvGrpSpPr>
          <p:cNvPr id="101" name="!!team">
            <a:extLst>
              <a:ext uri="{FF2B5EF4-FFF2-40B4-BE49-F238E27FC236}">
                <a16:creationId xmlns:a16="http://schemas.microsoft.com/office/drawing/2014/main" id="{8E61FCE0-E10A-1420-082C-CE9DBF73E0CA}"/>
              </a:ext>
            </a:extLst>
          </p:cNvPr>
          <p:cNvGrpSpPr/>
          <p:nvPr/>
        </p:nvGrpSpPr>
        <p:grpSpPr>
          <a:xfrm>
            <a:off x="6838002" y="3316479"/>
            <a:ext cx="507586" cy="507586"/>
            <a:chOff x="9753120" y="639515"/>
            <a:chExt cx="507586" cy="507586"/>
          </a:xfrm>
          <a:solidFill>
            <a:srgbClr val="2F3D4A"/>
          </a:solidFill>
        </p:grpSpPr>
        <p:sp useBgFill="1">
          <p:nvSpPr>
            <p:cNvPr id="102" name="Oval 101">
              <a:extLst>
                <a:ext uri="{FF2B5EF4-FFF2-40B4-BE49-F238E27FC236}">
                  <a16:creationId xmlns:a16="http://schemas.microsoft.com/office/drawing/2014/main" id="{42463592-5F51-250B-F652-A79CA406F0C6}"/>
                </a:ext>
              </a:extLst>
            </p:cNvPr>
            <p:cNvSpPr/>
            <p:nvPr/>
          </p:nvSpPr>
          <p:spPr>
            <a:xfrm>
              <a:off x="9753120" y="639515"/>
              <a:ext cx="507586" cy="507586"/>
            </a:xfrm>
            <a:prstGeom prst="ellipse">
              <a:avLst/>
            </a:prstGeom>
            <a:gr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03" name="Graphic 102">
              <a:extLst>
                <a:ext uri="{FF2B5EF4-FFF2-40B4-BE49-F238E27FC236}">
                  <a16:creationId xmlns:a16="http://schemas.microsoft.com/office/drawing/2014/main" id="{767B9916-BE31-3F3A-5EEC-B9649AD83CC9}"/>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9876544" y="792737"/>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3E37003B-E503-7160-A212-66213D34C012}"/>
                  </a:ext>
                </a:extLst>
              </p:cNvPr>
              <p:cNvGraphicFramePr>
                <a:graphicFrameLocks noChangeAspect="1"/>
              </p:cNvGraphicFramePr>
              <p:nvPr>
                <p:extLst>
                  <p:ext uri="{D42A27DB-BD31-4B8C-83A1-F6EECF244321}">
                    <p14:modId xmlns:p14="http://schemas.microsoft.com/office/powerpoint/2010/main" val="2514549080"/>
                  </p:ext>
                </p:extLst>
              </p:nvPr>
            </p:nvGraphicFramePr>
            <p:xfrm>
              <a:off x="6363728" y="3792694"/>
              <a:ext cx="1457903" cy="820070"/>
            </p:xfrm>
            <a:graphic>
              <a:graphicData uri="http://schemas.microsoft.com/office/powerpoint/2016/sectionzoom">
                <psez:sectionZm>
                  <psez:sectionZmObj sectionId="{98810976-D7DB-4275-9710-9A2889E2A734}">
                    <psez:zmPr id="{F08AC0D9-533E-4A9B-AE6D-5C782F66EA32}" transitionDur="1000" showBg="0">
                      <p166:blipFill xmlns:p166="http://schemas.microsoft.com/office/powerpoint/2016/6/main">
                        <a:blip r:embed="rId34"/>
                        <a:stretch>
                          <a:fillRect/>
                        </a:stretch>
                      </p166:blipFill>
                      <p166:spPr xmlns:p166="http://schemas.microsoft.com/office/powerpoint/2016/6/main">
                        <a:xfrm>
                          <a:off x="0" y="0"/>
                          <a:ext cx="1457903" cy="820070"/>
                        </a:xfrm>
                        <a:prstGeom prst="rect">
                          <a:avLst/>
                        </a:prstGeom>
                        <a:ln>
                          <a:noFill/>
                        </a:ln>
                      </p166:spPr>
                    </psez:zmPr>
                  </psez:sectionZmObj>
                </psez:sectionZm>
              </a:graphicData>
            </a:graphic>
          </p:graphicFrame>
        </mc:Choice>
        <mc:Fallback xmlns="">
          <p:pic>
            <p:nvPicPr>
              <p:cNvPr id="18" name="Section Zoom 17">
                <a:hlinkClick r:id="rId35" action="ppaction://hlinksldjump"/>
                <a:extLst>
                  <a:ext uri="{FF2B5EF4-FFF2-40B4-BE49-F238E27FC236}">
                    <a16:creationId xmlns:a16="http://schemas.microsoft.com/office/drawing/2014/main" id="{3E37003B-E503-7160-A212-66213D34C012}"/>
                  </a:ext>
                </a:extLst>
              </p:cNvPr>
              <p:cNvPicPr>
                <a:picLocks noGrp="1" noRot="1" noChangeAspect="1" noMove="1" noResize="1" noEditPoints="1" noAdjustHandles="1" noChangeArrowheads="1" noChangeShapeType="1"/>
              </p:cNvPicPr>
              <p:nvPr/>
            </p:nvPicPr>
            <p:blipFill>
              <a:blip r:embed="rId36"/>
              <a:stretch>
                <a:fillRect/>
              </a:stretch>
            </p:blipFill>
            <p:spPr>
              <a:xfrm>
                <a:off x="6363728" y="3792694"/>
                <a:ext cx="1457903" cy="820070"/>
              </a:xfrm>
              <a:prstGeom prst="rect">
                <a:avLst/>
              </a:prstGeom>
              <a:ln>
                <a:noFill/>
              </a:ln>
            </p:spPr>
          </p:pic>
        </mc:Fallback>
      </mc:AlternateContent>
      <p:sp useBgFill="1">
        <p:nvSpPr>
          <p:cNvPr id="2" name="Rectangle: Rounded Corners 1">
            <a:extLst>
              <a:ext uri="{FF2B5EF4-FFF2-40B4-BE49-F238E27FC236}">
                <a16:creationId xmlns:a16="http://schemas.microsoft.com/office/drawing/2014/main" id="{36C4B878-37C6-7B4E-B091-2E034E3D2D72}"/>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a:solidFill>
                  <a:prstClr val="white"/>
                </a:solidFill>
                <a:latin typeface="Darker Grotesque" pitchFamily="2" charset="0"/>
              </a:rPr>
              <a:t>27 July 2077</a:t>
            </a:r>
            <a:endParaRPr lang="en-GB" sz="1200" spc="30">
              <a:solidFill>
                <a:prstClr val="white"/>
              </a:solidFill>
              <a:latin typeface="Darker Grotesque" pitchFamily="2" charset="0"/>
            </a:endParaRPr>
          </a:p>
        </p:txBody>
      </p:sp>
      <p:pic>
        <p:nvPicPr>
          <p:cNvPr id="14" name="Picture 13" descr="A logo with text and a square with a arrow up&#10;&#10;AI-generated content may be incorrect.">
            <a:extLst>
              <a:ext uri="{FF2B5EF4-FFF2-40B4-BE49-F238E27FC236}">
                <a16:creationId xmlns:a16="http://schemas.microsoft.com/office/drawing/2014/main" id="{EAD85080-1F3F-1B89-5A2C-5CB09ED1615F}"/>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0680102" y="148811"/>
            <a:ext cx="1088735" cy="1088735"/>
          </a:xfrm>
          <a:prstGeom prst="roundRect">
            <a:avLst/>
          </a:prstGeom>
        </p:spPr>
      </p:pic>
      <p:sp>
        <p:nvSpPr>
          <p:cNvPr id="48" name="Rectangle: Rounded Corners 47">
            <a:extLst>
              <a:ext uri="{FF2B5EF4-FFF2-40B4-BE49-F238E27FC236}">
                <a16:creationId xmlns:a16="http://schemas.microsoft.com/office/drawing/2014/main" id="{5EAF468F-D7C1-21A2-B694-FAFF66EA4AAA}"/>
              </a:ext>
            </a:extLst>
          </p:cNvPr>
          <p:cNvSpPr/>
          <p:nvPr/>
        </p:nvSpPr>
        <p:spPr>
          <a:xfrm>
            <a:off x="420320" y="5951881"/>
            <a:ext cx="2256289" cy="403894"/>
          </a:xfrm>
          <a:prstGeom prst="roundRect">
            <a:avLst>
              <a:gd name="adj" fmla="val 50000"/>
            </a:avLst>
          </a:prstGeom>
          <a:noFill/>
          <a:ln w="6350">
            <a:solidFill>
              <a:schemeClr val="tx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rgbClr val="2F3D4A"/>
                </a:solidFill>
                <a:latin typeface="Darker Grotesque" pitchFamily="2" charset="0"/>
              </a:rPr>
              <a:t>Presented by: </a:t>
            </a:r>
            <a:r>
              <a:rPr lang="en-US" sz="1200">
                <a:solidFill>
                  <a:srgbClr val="2F3D4A"/>
                </a:solidFill>
                <a:latin typeface="Darker Grotesque"/>
              </a:rPr>
              <a:t>T17A – Group E</a:t>
            </a:r>
            <a:endParaRPr lang="en-GB" sz="1200">
              <a:solidFill>
                <a:srgbClr val="2F3D4A"/>
              </a:solidFill>
              <a:latin typeface="Darker Grotesque" pitchFamily="2" charset="0"/>
            </a:endParaRPr>
          </a:p>
        </p:txBody>
      </p:sp>
      <p:pic>
        <p:nvPicPr>
          <p:cNvPr id="50" name="Graphic 49" descr="Wrench with solid fill">
            <a:extLst>
              <a:ext uri="{FF2B5EF4-FFF2-40B4-BE49-F238E27FC236}">
                <a16:creationId xmlns:a16="http://schemas.microsoft.com/office/drawing/2014/main" id="{BC85B226-2C20-091A-349F-E3CB44BA7D5F}"/>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906486" y="3439113"/>
            <a:ext cx="268255" cy="268255"/>
          </a:xfrm>
          <a:prstGeom prst="rect">
            <a:avLst/>
          </a:prstGeom>
        </p:spPr>
      </p:pic>
    </p:spTree>
    <p:extLst>
      <p:ext uri="{BB962C8B-B14F-4D97-AF65-F5344CB8AC3E}">
        <p14:creationId xmlns:p14="http://schemas.microsoft.com/office/powerpoint/2010/main" val="1075787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800"/>
                                        <p:tgtEl>
                                          <p:spTgt spid="48"/>
                                        </p:tgtEl>
                                      </p:cBhvr>
                                    </p:animEffect>
                                  </p:childTnLst>
                                </p:cTn>
                              </p:par>
                              <p:par>
                                <p:cTn id="8" presetID="42" presetClass="path" presetSubtype="0" decel="100000" fill="hold" grpId="1" nodeType="withEffect">
                                  <p:stCondLst>
                                    <p:cond delay="500"/>
                                  </p:stCondLst>
                                  <p:childTnLst>
                                    <p:animMotion origin="layout" path="M -3.125E-6 -2.22222E-6 L -3.125E-6 0.11389 " pathEditMode="relative" rAng="0" ptsTypes="AA">
                                      <p:cBhvr>
                                        <p:cTn id="9" dur="1250" spd="-100000" fill="hold"/>
                                        <p:tgtEl>
                                          <p:spTgt spid="48"/>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84268-A57B-73D7-DA1B-F8A9179295B5}"/>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39427A52-C952-9BB6-89DF-09B2B4E8ECB6}"/>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3E01F94C-85B4-387C-84D3-F4186E607070}"/>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B95BA370-AFEF-71FA-244A-85106977D30E}"/>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FD5B8055-27C7-011A-48BC-9FB4D2D5CDE5}"/>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4FEDBE4F-C28C-E990-D82A-25461BD682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DBADC36A-FA3E-58E1-815C-94D36CB777D9}"/>
              </a:ext>
            </a:extLst>
          </p:cNvPr>
          <p:cNvSpPr/>
          <p:nvPr/>
        </p:nvSpPr>
        <p:spPr>
          <a:xfrm>
            <a:off x="199080" y="3563369"/>
            <a:ext cx="2929713" cy="1354447"/>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graphicFrame>
        <p:nvGraphicFramePr>
          <p:cNvPr id="4" name="Table 3">
            <a:extLst>
              <a:ext uri="{FF2B5EF4-FFF2-40B4-BE49-F238E27FC236}">
                <a16:creationId xmlns:a16="http://schemas.microsoft.com/office/drawing/2014/main" id="{3D483E60-7536-FEC9-2E28-9F0527FF09BD}"/>
              </a:ext>
            </a:extLst>
          </p:cNvPr>
          <p:cNvGraphicFramePr>
            <a:graphicFrameLocks noGrp="1"/>
          </p:cNvGraphicFramePr>
          <p:nvPr>
            <p:extLst>
              <p:ext uri="{D42A27DB-BD31-4B8C-83A1-F6EECF244321}">
                <p14:modId xmlns:p14="http://schemas.microsoft.com/office/powerpoint/2010/main" val="3228347438"/>
              </p:ext>
            </p:extLst>
          </p:nvPr>
        </p:nvGraphicFramePr>
        <p:xfrm>
          <a:off x="199081" y="1011340"/>
          <a:ext cx="11895114" cy="5628947"/>
        </p:xfrm>
        <a:graphic>
          <a:graphicData uri="http://schemas.openxmlformats.org/drawingml/2006/table">
            <a:tbl>
              <a:tblPr firstRow="1" bandRow="1">
                <a:tableStyleId>{5940675A-B579-460E-94D1-54222C63F5DA}</a:tableStyleId>
              </a:tblPr>
              <a:tblGrid>
                <a:gridCol w="2906821">
                  <a:extLst>
                    <a:ext uri="{9D8B030D-6E8A-4147-A177-3AD203B41FA5}">
                      <a16:colId xmlns:a16="http://schemas.microsoft.com/office/drawing/2014/main" val="2052256654"/>
                    </a:ext>
                  </a:extLst>
                </a:gridCol>
                <a:gridCol w="8988293">
                  <a:extLst>
                    <a:ext uri="{9D8B030D-6E8A-4147-A177-3AD203B41FA5}">
                      <a16:colId xmlns:a16="http://schemas.microsoft.com/office/drawing/2014/main" val="3572757817"/>
                    </a:ext>
                  </a:extLst>
                </a:gridCol>
              </a:tblGrid>
              <a:tr h="1345198">
                <a:tc>
                  <a:txBody>
                    <a:bodyPr/>
                    <a:lstStyle/>
                    <a:p>
                      <a:r>
                        <a:rPr lang="en-AU" b="0" dirty="0"/>
                        <a:t>Seat Hinge</a:t>
                      </a:r>
                    </a:p>
                  </a:txBody>
                  <a:tcPr/>
                </a:tc>
                <a:tc rowSpan="4">
                  <a:txBody>
                    <a:bodyPr/>
                    <a:lstStyle/>
                    <a:p>
                      <a:endParaRPr lang="en-AU" dirty="0"/>
                    </a:p>
                  </a:txBody>
                  <a:tcPr/>
                </a:tc>
                <a:extLst>
                  <a:ext uri="{0D108BD9-81ED-4DB2-BD59-A6C34878D82A}">
                    <a16:rowId xmlns:a16="http://schemas.microsoft.com/office/drawing/2014/main" val="3265519103"/>
                  </a:ext>
                </a:extLst>
              </a:tr>
              <a:tr h="1185118">
                <a:tc>
                  <a:txBody>
                    <a:bodyPr/>
                    <a:lstStyle/>
                    <a:p>
                      <a:r>
                        <a:rPr lang="en-AU"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61845">
                <a:tc>
                  <a:txBody>
                    <a:bodyPr/>
                    <a:lstStyle/>
                    <a:p>
                      <a:r>
                        <a:rPr lang="en-AU" b="1" dirty="0"/>
                        <a:t>Seat</a:t>
                      </a:r>
                    </a:p>
                    <a:p>
                      <a:endParaRPr lang="en-AU" dirty="0"/>
                    </a:p>
                  </a:txBody>
                  <a:tcPr/>
                </a:tc>
                <a:tc vMerge="1">
                  <a:txBody>
                    <a:bodyPr/>
                    <a:lstStyle/>
                    <a:p>
                      <a:endParaRPr lang="en-001"/>
                    </a:p>
                  </a:txBody>
                  <a:tcPr/>
                </a:tc>
                <a:extLst>
                  <a:ext uri="{0D108BD9-81ED-4DB2-BD59-A6C34878D82A}">
                    <a16:rowId xmlns:a16="http://schemas.microsoft.com/office/drawing/2014/main" val="3598445684"/>
                  </a:ext>
                </a:extLst>
              </a:tr>
              <a:tr h="1736786">
                <a:tc>
                  <a:txBody>
                    <a:bodyPr/>
                    <a:lstStyle/>
                    <a:p>
                      <a:r>
                        <a:rPr lang="en-AU"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D839F345-CF53-8662-72CE-C54B4F48C7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pic>
        <p:nvPicPr>
          <p:cNvPr id="3074" name="Picture 2">
            <a:extLst>
              <a:ext uri="{FF2B5EF4-FFF2-40B4-BE49-F238E27FC236}">
                <a16:creationId xmlns:a16="http://schemas.microsoft.com/office/drawing/2014/main" id="{6EA6AE89-E074-9272-F455-9958BD3EEE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4838" y="1042005"/>
            <a:ext cx="5943600" cy="49053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2377B90D-2FA7-EEED-BC1D-C593B4259859}"/>
              </a:ext>
            </a:extLst>
          </p:cNvPr>
          <p:cNvSpPr>
            <a:spLocks noChangeArrowheads="1"/>
          </p:cNvSpPr>
          <p:nvPr/>
        </p:nvSpPr>
        <p:spPr bwMode="auto">
          <a:xfrm>
            <a:off x="10525110" y="407074"/>
            <a:ext cx="6557962" cy="415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AU"/>
          </a:p>
        </p:txBody>
      </p:sp>
      <p:sp>
        <p:nvSpPr>
          <p:cNvPr id="11" name="TextBox 10">
            <a:extLst>
              <a:ext uri="{FF2B5EF4-FFF2-40B4-BE49-F238E27FC236}">
                <a16:creationId xmlns:a16="http://schemas.microsoft.com/office/drawing/2014/main" id="{08FF099E-91A0-46D5-13BF-1D99A5D3DE6D}"/>
              </a:ext>
            </a:extLst>
          </p:cNvPr>
          <p:cNvSpPr txBox="1"/>
          <p:nvPr/>
        </p:nvSpPr>
        <p:spPr>
          <a:xfrm>
            <a:off x="9216131" y="2141063"/>
            <a:ext cx="2387600" cy="2308324"/>
          </a:xfrm>
          <a:prstGeom prst="rect">
            <a:avLst/>
          </a:prstGeom>
          <a:noFill/>
        </p:spPr>
        <p:txBody>
          <a:bodyPr wrap="square" rtlCol="0">
            <a:spAutoFit/>
          </a:bodyPr>
          <a:lstStyle/>
          <a:p>
            <a:pPr marL="285750" indent="-285750">
              <a:buFont typeface="Arial" panose="020B0604020202020204" pitchFamily="34" charset="0"/>
              <a:buChar char="•"/>
            </a:pPr>
            <a:r>
              <a:rPr lang="en-AU">
                <a:solidFill>
                  <a:srgbClr val="FF0000"/>
                </a:solidFill>
              </a:rPr>
              <a:t>Wood: </a:t>
            </a:r>
          </a:p>
          <a:p>
            <a:r>
              <a:rPr lang="en-AU">
                <a:solidFill>
                  <a:srgbClr val="FF0000"/>
                </a:solidFill>
              </a:rPr>
              <a:t>     M = 0.00315</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Steel: </a:t>
            </a:r>
          </a:p>
          <a:p>
            <a:r>
              <a:rPr lang="en-AU"/>
              <a:t>     M = 0.000750</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CFRP:</a:t>
            </a:r>
            <a:br>
              <a:rPr lang="en-AU"/>
            </a:br>
            <a:r>
              <a:rPr lang="en-AU"/>
              <a:t>M = 0.003321</a:t>
            </a:r>
          </a:p>
        </p:txBody>
      </p:sp>
      <p:pic>
        <p:nvPicPr>
          <p:cNvPr id="18" name="Picture 17">
            <a:extLst>
              <a:ext uri="{FF2B5EF4-FFF2-40B4-BE49-F238E27FC236}">
                <a16:creationId xmlns:a16="http://schemas.microsoft.com/office/drawing/2014/main" id="{C6D0DA5F-22B9-A95B-17F6-9402506CEC00}"/>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3" name="Picture 2" descr="A white rectangular object with holes&#10;&#10;AI-generated content may be incorrect.">
            <a:extLst>
              <a:ext uri="{FF2B5EF4-FFF2-40B4-BE49-F238E27FC236}">
                <a16:creationId xmlns:a16="http://schemas.microsoft.com/office/drawing/2014/main" id="{1BAFB948-5479-937B-CE32-3F090FF0E77B}"/>
              </a:ext>
            </a:extLst>
          </p:cNvPr>
          <p:cNvPicPr>
            <a:picLocks noChangeAspect="1"/>
          </p:cNvPicPr>
          <p:nvPr/>
        </p:nvPicPr>
        <p:blipFill>
          <a:blip r:embed="rId9"/>
          <a:stretch>
            <a:fillRect/>
          </a:stretch>
        </p:blipFill>
        <p:spPr>
          <a:xfrm>
            <a:off x="1088827" y="1379503"/>
            <a:ext cx="1818993" cy="897031"/>
          </a:xfrm>
          <a:prstGeom prst="rect">
            <a:avLst/>
          </a:prstGeom>
        </p:spPr>
      </p:pic>
      <p:pic>
        <p:nvPicPr>
          <p:cNvPr id="19" name="Picture 18">
            <a:extLst>
              <a:ext uri="{FF2B5EF4-FFF2-40B4-BE49-F238E27FC236}">
                <a16:creationId xmlns:a16="http://schemas.microsoft.com/office/drawing/2014/main" id="{46BC5BDB-D452-70E7-3677-F9614F31181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0" name="Picture 19">
            <a:extLst>
              <a:ext uri="{FF2B5EF4-FFF2-40B4-BE49-F238E27FC236}">
                <a16:creationId xmlns:a16="http://schemas.microsoft.com/office/drawing/2014/main" id="{4B7A36C3-C96E-3A18-11C6-E1AAB46357CA}"/>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21" name="Picture 20">
            <a:extLst>
              <a:ext uri="{FF2B5EF4-FFF2-40B4-BE49-F238E27FC236}">
                <a16:creationId xmlns:a16="http://schemas.microsoft.com/office/drawing/2014/main" id="{E5B844E9-C76A-F319-4956-700082147CF4}"/>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37379994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55E8A-9656-9B5F-3E72-1DCA225F31C6}"/>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E7728E40-D2F0-13DB-2A54-A7FB1C47BB29}"/>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CBD49971-17D3-44F9-DFEE-CB37EAD5D716}"/>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4B219712-DC19-FDAD-EA6F-3703C8758743}"/>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7263B4AA-BE3D-3B00-3C0C-69816E2A5FA7}"/>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3AA45ECB-DA86-4357-C9B2-1E8902C9D2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84881DD8-5CD3-0537-4EFA-1768603BCF07}"/>
              </a:ext>
            </a:extLst>
          </p:cNvPr>
          <p:cNvSpPr/>
          <p:nvPr/>
        </p:nvSpPr>
        <p:spPr>
          <a:xfrm>
            <a:off x="183356" y="4873572"/>
            <a:ext cx="2882087" cy="1728934"/>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4" name="Table 3">
            <a:extLst>
              <a:ext uri="{FF2B5EF4-FFF2-40B4-BE49-F238E27FC236}">
                <a16:creationId xmlns:a16="http://schemas.microsoft.com/office/drawing/2014/main" id="{4D97BA54-CCDB-FD5B-0A2B-EDCE63DB4C93}"/>
              </a:ext>
            </a:extLst>
          </p:cNvPr>
          <p:cNvGraphicFramePr>
            <a:graphicFrameLocks noGrp="1"/>
          </p:cNvGraphicFramePr>
          <p:nvPr>
            <p:extLst>
              <p:ext uri="{D42A27DB-BD31-4B8C-83A1-F6EECF244321}">
                <p14:modId xmlns:p14="http://schemas.microsoft.com/office/powerpoint/2010/main" val="4211801377"/>
              </p:ext>
            </p:extLst>
          </p:nvPr>
        </p:nvGraphicFramePr>
        <p:xfrm>
          <a:off x="183356" y="1011339"/>
          <a:ext cx="11729809" cy="5598283"/>
        </p:xfrm>
        <a:graphic>
          <a:graphicData uri="http://schemas.openxmlformats.org/drawingml/2006/table">
            <a:tbl>
              <a:tblPr firstRow="1" bandRow="1">
                <a:tableStyleId>{5940675A-B579-460E-94D1-54222C63F5DA}</a:tableStyleId>
              </a:tblPr>
              <a:tblGrid>
                <a:gridCol w="2866425">
                  <a:extLst>
                    <a:ext uri="{9D8B030D-6E8A-4147-A177-3AD203B41FA5}">
                      <a16:colId xmlns:a16="http://schemas.microsoft.com/office/drawing/2014/main" val="2052256654"/>
                    </a:ext>
                  </a:extLst>
                </a:gridCol>
                <a:gridCol w="8863384">
                  <a:extLst>
                    <a:ext uri="{9D8B030D-6E8A-4147-A177-3AD203B41FA5}">
                      <a16:colId xmlns:a16="http://schemas.microsoft.com/office/drawing/2014/main" val="3572757817"/>
                    </a:ext>
                  </a:extLst>
                </a:gridCol>
              </a:tblGrid>
              <a:tr h="1337871">
                <a:tc>
                  <a:txBody>
                    <a:bodyPr/>
                    <a:lstStyle/>
                    <a:p>
                      <a:r>
                        <a:rPr lang="en-AU" b="0" dirty="0"/>
                        <a:t>Seat Hinge</a:t>
                      </a:r>
                    </a:p>
                  </a:txBody>
                  <a:tcPr/>
                </a:tc>
                <a:tc rowSpan="4">
                  <a:txBody>
                    <a:bodyPr/>
                    <a:lstStyle/>
                    <a:p>
                      <a:endParaRPr lang="en-AU" dirty="0"/>
                    </a:p>
                  </a:txBody>
                  <a:tcPr/>
                </a:tc>
                <a:extLst>
                  <a:ext uri="{0D108BD9-81ED-4DB2-BD59-A6C34878D82A}">
                    <a16:rowId xmlns:a16="http://schemas.microsoft.com/office/drawing/2014/main" val="3265519103"/>
                  </a:ext>
                </a:extLst>
              </a:tr>
              <a:tr h="1178662">
                <a:tc>
                  <a:txBody>
                    <a:bodyPr/>
                    <a:lstStyle/>
                    <a:p>
                      <a:r>
                        <a:rPr lang="en-AU" b="0"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54426">
                <a:tc>
                  <a:txBody>
                    <a:bodyPr/>
                    <a:lstStyle/>
                    <a:p>
                      <a:r>
                        <a:rPr lang="en-AU"/>
                        <a:t>Seat</a:t>
                      </a:r>
                    </a:p>
                    <a:p>
                      <a:endParaRPr lang="en-AU"/>
                    </a:p>
                  </a:txBody>
                  <a:tcPr/>
                </a:tc>
                <a:tc vMerge="1">
                  <a:txBody>
                    <a:bodyPr/>
                    <a:lstStyle/>
                    <a:p>
                      <a:endParaRPr lang="en-001"/>
                    </a:p>
                  </a:txBody>
                  <a:tcPr/>
                </a:tc>
                <a:extLst>
                  <a:ext uri="{0D108BD9-81ED-4DB2-BD59-A6C34878D82A}">
                    <a16:rowId xmlns:a16="http://schemas.microsoft.com/office/drawing/2014/main" val="3598445684"/>
                  </a:ext>
                </a:extLst>
              </a:tr>
              <a:tr h="1727324">
                <a:tc>
                  <a:txBody>
                    <a:bodyPr/>
                    <a:lstStyle/>
                    <a:p>
                      <a:r>
                        <a:rPr lang="en-AU" b="1"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DAC1C5AB-EC9B-7935-A3B8-0BBF77056A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graphicFrame>
        <p:nvGraphicFramePr>
          <p:cNvPr id="19" name="Table 18">
            <a:extLst>
              <a:ext uri="{FF2B5EF4-FFF2-40B4-BE49-F238E27FC236}">
                <a16:creationId xmlns:a16="http://schemas.microsoft.com/office/drawing/2014/main" id="{D030B893-F0BA-429C-68EE-A884724A4487}"/>
              </a:ext>
            </a:extLst>
          </p:cNvPr>
          <p:cNvGraphicFramePr>
            <a:graphicFrameLocks noGrp="1"/>
          </p:cNvGraphicFramePr>
          <p:nvPr>
            <p:extLst>
              <p:ext uri="{D42A27DB-BD31-4B8C-83A1-F6EECF244321}">
                <p14:modId xmlns:p14="http://schemas.microsoft.com/office/powerpoint/2010/main" val="3410870183"/>
              </p:ext>
            </p:extLst>
          </p:nvPr>
        </p:nvGraphicFramePr>
        <p:xfrm>
          <a:off x="3329989" y="1221846"/>
          <a:ext cx="8427902" cy="3179700"/>
        </p:xfrm>
        <a:graphic>
          <a:graphicData uri="http://schemas.openxmlformats.org/drawingml/2006/table">
            <a:tbl>
              <a:tblPr firstRow="1" bandRow="1">
                <a:tableStyleId>{5940675A-B579-460E-94D1-54222C63F5DA}</a:tableStyleId>
              </a:tblPr>
              <a:tblGrid>
                <a:gridCol w="3458738">
                  <a:extLst>
                    <a:ext uri="{9D8B030D-6E8A-4147-A177-3AD203B41FA5}">
                      <a16:colId xmlns:a16="http://schemas.microsoft.com/office/drawing/2014/main" val="2186101804"/>
                    </a:ext>
                  </a:extLst>
                </a:gridCol>
                <a:gridCol w="4969164">
                  <a:extLst>
                    <a:ext uri="{9D8B030D-6E8A-4147-A177-3AD203B41FA5}">
                      <a16:colId xmlns:a16="http://schemas.microsoft.com/office/drawing/2014/main" val="2406339668"/>
                    </a:ext>
                  </a:extLst>
                </a:gridCol>
              </a:tblGrid>
              <a:tr h="615813">
                <a:tc>
                  <a:txBody>
                    <a:bodyPr/>
                    <a:lstStyle/>
                    <a:p>
                      <a:r>
                        <a:rPr lang="en-AU" b="1"/>
                        <a:t>Function</a:t>
                      </a:r>
                    </a:p>
                  </a:txBody>
                  <a:tcPr/>
                </a:tc>
                <a:tc>
                  <a:txBody>
                    <a:bodyPr/>
                    <a:lstStyle/>
                    <a:p>
                      <a:pPr marL="285750" indent="-285750">
                        <a:buFont typeface="Arial" panose="020B0604020202020204" pitchFamily="34" charset="0"/>
                        <a:buChar char="•"/>
                      </a:pPr>
                      <a:r>
                        <a:rPr lang="en-AU"/>
                        <a:t>Support load of mechanism with the user</a:t>
                      </a:r>
                    </a:p>
                  </a:txBody>
                  <a:tcPr/>
                </a:tc>
                <a:extLst>
                  <a:ext uri="{0D108BD9-81ED-4DB2-BD59-A6C34878D82A}">
                    <a16:rowId xmlns:a16="http://schemas.microsoft.com/office/drawing/2014/main" val="1007078397"/>
                  </a:ext>
                </a:extLst>
              </a:tr>
              <a:tr h="980483">
                <a:tc>
                  <a:txBody>
                    <a:bodyPr/>
                    <a:lstStyle/>
                    <a:p>
                      <a:r>
                        <a:rPr lang="en-AU" b="1"/>
                        <a:t>Constraints</a:t>
                      </a:r>
                    </a:p>
                  </a:txBody>
                  <a:tcPr/>
                </a:tc>
                <a:tc>
                  <a:txBody>
                    <a:bodyPr/>
                    <a:lstStyle/>
                    <a:p>
                      <a:pPr marL="285750" indent="-285750" rtl="0" fontAlgn="base">
                        <a:buFont typeface="Arial" panose="020B0604020202020204" pitchFamily="34" charset="0"/>
                        <a:buChar char="•"/>
                      </a:pPr>
                      <a:r>
                        <a:rPr lang="en-US" sz="1800" b="0" i="0" u="none" strike="noStrike" kern="1200">
                          <a:solidFill>
                            <a:schemeClr val="tx1"/>
                          </a:solidFill>
                          <a:effectLst/>
                          <a:latin typeface="+mn-lt"/>
                          <a:ea typeface="+mn-ea"/>
                          <a:cs typeface="+mn-cs"/>
                        </a:rPr>
                        <a:t>Dimensions are 450mm by 425mm by 8mm</a:t>
                      </a:r>
                    </a:p>
                    <a:p>
                      <a:pPr marL="285750" indent="-285750" rtl="0" fontAlgn="base">
                        <a:buFont typeface="Arial" panose="020B0604020202020204" pitchFamily="34" charset="0"/>
                        <a:buChar char="•"/>
                      </a:pPr>
                      <a:r>
                        <a:rPr lang="en-US" sz="1800" b="0" i="0" u="none" strike="noStrike" kern="1200">
                          <a:solidFill>
                            <a:schemeClr val="tx1"/>
                          </a:solidFill>
                          <a:effectLst/>
                          <a:latin typeface="+mn-lt"/>
                          <a:ea typeface="+mn-ea"/>
                          <a:cs typeface="+mn-cs"/>
                        </a:rPr>
                        <a:t>Must be lighter than 0.8kg</a:t>
                      </a:r>
                    </a:p>
                    <a:p>
                      <a:pPr marL="285750" indent="-285750" rtl="0" fontAlgn="base">
                        <a:buFont typeface="Arial" panose="020B0604020202020204" pitchFamily="34" charset="0"/>
                        <a:buChar char="•"/>
                      </a:pPr>
                      <a:r>
                        <a:rPr lang="en-US" sz="1800" b="0" i="0" u="none" strike="noStrike" kern="1200">
                          <a:solidFill>
                            <a:schemeClr val="tx1"/>
                          </a:solidFill>
                          <a:effectLst/>
                          <a:latin typeface="+mn-lt"/>
                          <a:ea typeface="+mn-ea"/>
                          <a:cs typeface="+mn-cs"/>
                        </a:rPr>
                        <a:t>Must support 50kg</a:t>
                      </a:r>
                    </a:p>
                    <a:p>
                      <a:endParaRPr lang="en-AU"/>
                    </a:p>
                  </a:txBody>
                  <a:tcPr/>
                </a:tc>
                <a:extLst>
                  <a:ext uri="{0D108BD9-81ED-4DB2-BD59-A6C34878D82A}">
                    <a16:rowId xmlns:a16="http://schemas.microsoft.com/office/drawing/2014/main" val="3194689625"/>
                  </a:ext>
                </a:extLst>
              </a:tr>
              <a:tr h="620949">
                <a:tc>
                  <a:txBody>
                    <a:bodyPr/>
                    <a:lstStyle/>
                    <a:p>
                      <a:r>
                        <a:rPr lang="en-AU" b="1"/>
                        <a:t>Objective</a:t>
                      </a:r>
                    </a:p>
                  </a:txBody>
                  <a:tcPr/>
                </a:tc>
                <a:tc>
                  <a:txBody>
                    <a:bodyPr/>
                    <a:lstStyle/>
                    <a:p>
                      <a:pPr marL="285750" indent="-285750">
                        <a:buFont typeface="Arial" panose="020B0604020202020204" pitchFamily="34" charset="0"/>
                        <a:buChar char="•"/>
                      </a:pPr>
                      <a:r>
                        <a:rPr lang="en-AU"/>
                        <a:t>Maximise stiffness</a:t>
                      </a:r>
                    </a:p>
                  </a:txBody>
                  <a:tcPr/>
                </a:tc>
                <a:extLst>
                  <a:ext uri="{0D108BD9-81ED-4DB2-BD59-A6C34878D82A}">
                    <a16:rowId xmlns:a16="http://schemas.microsoft.com/office/drawing/2014/main" val="1331710103"/>
                  </a:ext>
                </a:extLst>
              </a:tr>
              <a:tr h="754218">
                <a:tc>
                  <a:txBody>
                    <a:bodyPr/>
                    <a:lstStyle/>
                    <a:p>
                      <a:r>
                        <a:rPr lang="en-AU" b="1"/>
                        <a:t>Free variables</a:t>
                      </a:r>
                    </a:p>
                  </a:txBody>
                  <a:tcPr/>
                </a:tc>
                <a:tc>
                  <a:txBody>
                    <a:bodyPr/>
                    <a:lstStyle/>
                    <a:p>
                      <a:pPr marL="285750" indent="-285750" rtl="0" fontAlgn="base">
                        <a:buFont typeface="Arial" panose="020B0604020202020204" pitchFamily="34" charset="0"/>
                        <a:buChar char="•"/>
                      </a:pPr>
                      <a:r>
                        <a:rPr lang="en-AU" sz="1800" b="0" i="0" u="none" strike="noStrike" kern="1200">
                          <a:solidFill>
                            <a:schemeClr val="tx1"/>
                          </a:solidFill>
                          <a:effectLst/>
                          <a:latin typeface="+mn-lt"/>
                          <a:ea typeface="+mn-ea"/>
                          <a:cs typeface="+mn-cs"/>
                        </a:rPr>
                        <a:t>Material choice</a:t>
                      </a:r>
                    </a:p>
                    <a:p>
                      <a:pPr marL="285750" indent="-285750">
                        <a:buFont typeface="Arial" panose="020B0604020202020204" pitchFamily="34" charset="0"/>
                        <a:buChar char="•"/>
                      </a:pPr>
                      <a:endParaRPr lang="en-AU"/>
                    </a:p>
                  </a:txBody>
                  <a:tcPr/>
                </a:tc>
                <a:extLst>
                  <a:ext uri="{0D108BD9-81ED-4DB2-BD59-A6C34878D82A}">
                    <a16:rowId xmlns:a16="http://schemas.microsoft.com/office/drawing/2014/main" val="2453969532"/>
                  </a:ext>
                </a:extLst>
              </a:tr>
            </a:tbl>
          </a:graphicData>
        </a:graphic>
      </p:graphicFrame>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647FDC0-CCBD-E8C5-E16C-E93ED59FB338}"/>
                  </a:ext>
                </a:extLst>
              </p:cNvPr>
              <p:cNvSpPr txBox="1"/>
              <p:nvPr/>
            </p:nvSpPr>
            <p:spPr>
              <a:xfrm>
                <a:off x="3905252" y="4819770"/>
                <a:ext cx="1936955" cy="923330"/>
              </a:xfrm>
              <a:prstGeom prst="rect">
                <a:avLst/>
              </a:prstGeom>
              <a:noFill/>
            </p:spPr>
            <p:txBody>
              <a:bodyPr wrap="square" rtlCol="0">
                <a:spAutoFit/>
              </a:bodyPr>
              <a:lstStyle/>
              <a:p>
                <a:r>
                  <a:rPr lang="en-AU"/>
                  <a:t>Maximum density: </a:t>
                </a:r>
              </a:p>
              <a:p>
                <a:endParaRPr lang="en-AU"/>
              </a:p>
              <a:p>
                <a:pPr algn="ctr"/>
                <a14:m>
                  <m:oMath xmlns:m="http://schemas.openxmlformats.org/officeDocument/2006/math">
                    <m:r>
                      <a:rPr lang="en-AU" i="1" smtClean="0">
                        <a:latin typeface="Cambria Math" panose="02040503050406030204" pitchFamily="18" charset="0"/>
                        <a:ea typeface="Cambria Math" panose="02040503050406030204" pitchFamily="18" charset="0"/>
                      </a:rPr>
                      <m:t>𝜌</m:t>
                    </m:r>
                    <m:r>
                      <a:rPr lang="en-AU" b="0" i="1" smtClean="0">
                        <a:latin typeface="Cambria Math" panose="02040503050406030204" pitchFamily="18" charset="0"/>
                        <a:ea typeface="Cambria Math" panose="02040503050406030204" pitchFamily="18" charset="0"/>
                      </a:rPr>
                      <m:t>=4556</m:t>
                    </m:r>
                  </m:oMath>
                </a14:m>
                <a:r>
                  <a:rPr lang="en-AU"/>
                  <a:t> kg/m</a:t>
                </a:r>
                <a:r>
                  <a:rPr lang="en-AU" baseline="30000"/>
                  <a:t>3</a:t>
                </a:r>
                <a:endParaRPr lang="en-AU"/>
              </a:p>
            </p:txBody>
          </p:sp>
        </mc:Choice>
        <mc:Fallback xmlns="">
          <p:sp>
            <p:nvSpPr>
              <p:cNvPr id="3" name="TextBox 2">
                <a:extLst>
                  <a:ext uri="{FF2B5EF4-FFF2-40B4-BE49-F238E27FC236}">
                    <a16:creationId xmlns:a16="http://schemas.microsoft.com/office/drawing/2014/main" id="{1647FDC0-CCBD-E8C5-E16C-E93ED59FB338}"/>
                  </a:ext>
                </a:extLst>
              </p:cNvPr>
              <p:cNvSpPr txBox="1">
                <a:spLocks noRot="1" noChangeAspect="1" noMove="1" noResize="1" noEditPoints="1" noAdjustHandles="1" noChangeArrowheads="1" noChangeShapeType="1" noTextEdit="1"/>
              </p:cNvSpPr>
              <p:nvPr/>
            </p:nvSpPr>
            <p:spPr>
              <a:xfrm>
                <a:off x="3905252" y="4819770"/>
                <a:ext cx="1936955" cy="923330"/>
              </a:xfrm>
              <a:prstGeom prst="rect">
                <a:avLst/>
              </a:prstGeom>
              <a:blipFill>
                <a:blip r:embed="rId6"/>
                <a:stretch>
                  <a:fillRect l="-2839" t="-3974" r="-4101" b="-9934"/>
                </a:stretch>
              </a:blipFill>
            </p:spPr>
            <p:txBody>
              <a:bodyPr/>
              <a:lstStyle/>
              <a:p>
                <a:r>
                  <a:rPr lang="en-AU">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9396C918-35BD-2C43-0951-5DD0D416A294}"/>
                  </a:ext>
                </a:extLst>
              </p:cNvPr>
              <p:cNvSpPr txBox="1"/>
              <p:nvPr/>
            </p:nvSpPr>
            <p:spPr>
              <a:xfrm>
                <a:off x="7820787" y="4819770"/>
                <a:ext cx="2838691" cy="923330"/>
              </a:xfrm>
              <a:prstGeom prst="rect">
                <a:avLst/>
              </a:prstGeom>
              <a:noFill/>
            </p:spPr>
            <p:txBody>
              <a:bodyPr wrap="square" rtlCol="0">
                <a:spAutoFit/>
              </a:bodyPr>
              <a:lstStyle/>
              <a:p>
                <a:r>
                  <a:rPr lang="en-AU"/>
                  <a:t>Minimum Young’s Modulus:</a:t>
                </a:r>
              </a:p>
              <a:p>
                <a:endParaRPr lang="en-AU"/>
              </a:p>
              <a:p>
                <a:pPr/>
                <a14:m>
                  <m:oMathPara xmlns:m="http://schemas.openxmlformats.org/officeDocument/2006/math">
                    <m:oMathParaPr>
                      <m:jc m:val="centerGroup"/>
                    </m:oMathParaPr>
                    <m:oMath xmlns:m="http://schemas.openxmlformats.org/officeDocument/2006/math">
                      <m:sSub>
                        <m:sSubPr>
                          <m:ctrlPr>
                            <a:rPr lang="en-AU" i="1" smtClean="0">
                              <a:latin typeface="Cambria Math" panose="02040503050406030204" pitchFamily="18" charset="0"/>
                            </a:rPr>
                          </m:ctrlPr>
                        </m:sSubPr>
                        <m:e>
                          <m:r>
                            <a:rPr lang="en-AU" b="0" i="1" smtClean="0">
                              <a:latin typeface="Cambria Math" panose="02040503050406030204" pitchFamily="18" charset="0"/>
                            </a:rPr>
                            <m:t>𝐸</m:t>
                          </m:r>
                        </m:e>
                        <m:sub>
                          <m:r>
                            <a:rPr lang="en-AU" b="0" i="1" smtClean="0">
                              <a:latin typeface="Cambria Math" panose="02040503050406030204" pitchFamily="18" charset="0"/>
                            </a:rPr>
                            <m:t>𝑚𝑖𝑛</m:t>
                          </m:r>
                        </m:sub>
                      </m:sSub>
                      <m:r>
                        <a:rPr lang="en-AU" b="0" i="1" smtClean="0">
                          <a:latin typeface="Cambria Math" panose="02040503050406030204" pitchFamily="18" charset="0"/>
                        </a:rPr>
                        <m:t>=0.7325</m:t>
                      </m:r>
                      <m:r>
                        <a:rPr lang="en-AU" b="0" i="1" smtClean="0">
                          <a:latin typeface="Cambria Math" panose="02040503050406030204" pitchFamily="18" charset="0"/>
                        </a:rPr>
                        <m:t>𝐺𝑃𝑎</m:t>
                      </m:r>
                    </m:oMath>
                  </m:oMathPara>
                </a14:m>
                <a:endParaRPr lang="en-AU"/>
              </a:p>
            </p:txBody>
          </p:sp>
        </mc:Choice>
        <mc:Fallback xmlns="">
          <p:sp>
            <p:nvSpPr>
              <p:cNvPr id="11" name="TextBox 10">
                <a:extLst>
                  <a:ext uri="{FF2B5EF4-FFF2-40B4-BE49-F238E27FC236}">
                    <a16:creationId xmlns:a16="http://schemas.microsoft.com/office/drawing/2014/main" id="{9396C918-35BD-2C43-0951-5DD0D416A294}"/>
                  </a:ext>
                </a:extLst>
              </p:cNvPr>
              <p:cNvSpPr txBox="1">
                <a:spLocks noRot="1" noChangeAspect="1" noMove="1" noResize="1" noEditPoints="1" noAdjustHandles="1" noChangeArrowheads="1" noChangeShapeType="1" noTextEdit="1"/>
              </p:cNvSpPr>
              <p:nvPr/>
            </p:nvSpPr>
            <p:spPr>
              <a:xfrm>
                <a:off x="7820787" y="4819770"/>
                <a:ext cx="2838691" cy="923330"/>
              </a:xfrm>
              <a:prstGeom prst="rect">
                <a:avLst/>
              </a:prstGeom>
              <a:blipFill>
                <a:blip r:embed="rId7"/>
                <a:stretch>
                  <a:fillRect l="-1931" t="-3974"/>
                </a:stretch>
              </a:blipFill>
            </p:spPr>
            <p:txBody>
              <a:bodyPr/>
              <a:lstStyle/>
              <a:p>
                <a:r>
                  <a:rPr lang="en-AU">
                    <a:noFill/>
                  </a:rPr>
                  <a:t> </a:t>
                </a:r>
              </a:p>
            </p:txBody>
          </p:sp>
        </mc:Fallback>
      </mc:AlternateContent>
      <p:pic>
        <p:nvPicPr>
          <p:cNvPr id="18" name="Picture 17">
            <a:extLst>
              <a:ext uri="{FF2B5EF4-FFF2-40B4-BE49-F238E27FC236}">
                <a16:creationId xmlns:a16="http://schemas.microsoft.com/office/drawing/2014/main" id="{17A1BC26-C86E-BF2C-3B99-2C9EC4D52BB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7" name="Picture 6" descr="A white rectangular object with holes&#10;&#10;AI-generated content may be incorrect.">
            <a:extLst>
              <a:ext uri="{FF2B5EF4-FFF2-40B4-BE49-F238E27FC236}">
                <a16:creationId xmlns:a16="http://schemas.microsoft.com/office/drawing/2014/main" id="{D73C567A-46CA-1B2E-CEAE-634466FC8C22}"/>
              </a:ext>
            </a:extLst>
          </p:cNvPr>
          <p:cNvPicPr>
            <a:picLocks noChangeAspect="1"/>
          </p:cNvPicPr>
          <p:nvPr/>
        </p:nvPicPr>
        <p:blipFill>
          <a:blip r:embed="rId10"/>
          <a:stretch>
            <a:fillRect/>
          </a:stretch>
        </p:blipFill>
        <p:spPr>
          <a:xfrm>
            <a:off x="1088827" y="1379503"/>
            <a:ext cx="1818993" cy="897031"/>
          </a:xfrm>
          <a:prstGeom prst="rect">
            <a:avLst/>
          </a:prstGeom>
        </p:spPr>
      </p:pic>
      <p:pic>
        <p:nvPicPr>
          <p:cNvPr id="20" name="Picture 19">
            <a:extLst>
              <a:ext uri="{FF2B5EF4-FFF2-40B4-BE49-F238E27FC236}">
                <a16:creationId xmlns:a16="http://schemas.microsoft.com/office/drawing/2014/main" id="{1247193F-E66C-5362-A185-7D9FC41E66FE}"/>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1" name="Picture 20">
            <a:extLst>
              <a:ext uri="{FF2B5EF4-FFF2-40B4-BE49-F238E27FC236}">
                <a16:creationId xmlns:a16="http://schemas.microsoft.com/office/drawing/2014/main" id="{57B2F9E7-08AC-A46E-3663-AB7AC934647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22" name="Picture 21">
            <a:extLst>
              <a:ext uri="{FF2B5EF4-FFF2-40B4-BE49-F238E27FC236}">
                <a16:creationId xmlns:a16="http://schemas.microsoft.com/office/drawing/2014/main" id="{2C7EBA6A-A698-1C7E-67AB-0EED007E5ADF}"/>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3079513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C9BB6-9128-F806-86BF-577D7AD5447E}"/>
            </a:ext>
          </a:extLst>
        </p:cNvPr>
        <p:cNvGrpSpPr/>
        <p:nvPr/>
      </p:nvGrpSpPr>
      <p:grpSpPr>
        <a:xfrm>
          <a:off x="0" y="0"/>
          <a:ext cx="0" cy="0"/>
          <a:chOff x="0" y="0"/>
          <a:chExt cx="0" cy="0"/>
        </a:xfrm>
      </p:grpSpPr>
      <p:pic>
        <p:nvPicPr>
          <p:cNvPr id="5" name="Picture 4" descr="A white and blue background&#10;&#10;AI-generated content may be incorrect.">
            <a:extLst>
              <a:ext uri="{FF2B5EF4-FFF2-40B4-BE49-F238E27FC236}">
                <a16:creationId xmlns:a16="http://schemas.microsoft.com/office/drawing/2014/main" id="{E24CDBA8-A637-E5B1-26E1-9CCB4CCEAB30}"/>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48445" y="0"/>
            <a:ext cx="12292927" cy="6858000"/>
          </a:xfrm>
          <a:prstGeom prst="rect">
            <a:avLst/>
          </a:prstGeom>
        </p:spPr>
      </p:pic>
      <p:cxnSp>
        <p:nvCxnSpPr>
          <p:cNvPr id="12" name="Straight Connector 11">
            <a:extLst>
              <a:ext uri="{FF2B5EF4-FFF2-40B4-BE49-F238E27FC236}">
                <a16:creationId xmlns:a16="http://schemas.microsoft.com/office/drawing/2014/main" id="{31FC79AB-FAAD-FE19-3306-5CA920F543EB}"/>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3098F946-5D05-BE48-A98F-900A72385EF3}"/>
              </a:ext>
            </a:extLst>
          </p:cNvPr>
          <p:cNvSpPr/>
          <p:nvPr/>
        </p:nvSpPr>
        <p:spPr>
          <a:xfrm>
            <a:off x="5842207" y="339322"/>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 name="TextBox 1">
            <a:extLst>
              <a:ext uri="{FF2B5EF4-FFF2-40B4-BE49-F238E27FC236}">
                <a16:creationId xmlns:a16="http://schemas.microsoft.com/office/drawing/2014/main" id="{7C36A364-7DC5-1E9F-A762-AFDF1A922F72}"/>
              </a:ext>
            </a:extLst>
          </p:cNvPr>
          <p:cNvSpPr txBox="1"/>
          <p:nvPr/>
        </p:nvSpPr>
        <p:spPr>
          <a:xfrm>
            <a:off x="299484" y="407551"/>
            <a:ext cx="16046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Material Analysis</a:t>
            </a:r>
          </a:p>
        </p:txBody>
      </p:sp>
      <p:pic>
        <p:nvPicPr>
          <p:cNvPr id="8" name="Graphic 7">
            <a:extLst>
              <a:ext uri="{FF2B5EF4-FFF2-40B4-BE49-F238E27FC236}">
                <a16:creationId xmlns:a16="http://schemas.microsoft.com/office/drawing/2014/main" id="{4F7A92F0-60FE-CD39-9C07-D26250E7C1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7115"/>
            <a:ext cx="252000" cy="252000"/>
          </a:xfrm>
          <a:prstGeom prst="rect">
            <a:avLst/>
          </a:prstGeom>
        </p:spPr>
      </p:pic>
      <p:sp>
        <p:nvSpPr>
          <p:cNvPr id="24" name="Rectangle 23">
            <a:extLst>
              <a:ext uri="{FF2B5EF4-FFF2-40B4-BE49-F238E27FC236}">
                <a16:creationId xmlns:a16="http://schemas.microsoft.com/office/drawing/2014/main" id="{00DC92D9-E884-A902-9972-E4F5BA5BFCF5}"/>
              </a:ext>
            </a:extLst>
          </p:cNvPr>
          <p:cNvSpPr/>
          <p:nvPr/>
        </p:nvSpPr>
        <p:spPr>
          <a:xfrm>
            <a:off x="167426" y="4907206"/>
            <a:ext cx="2929713" cy="1738634"/>
          </a:xfrm>
          <a:prstGeom prst="rect">
            <a:avLst/>
          </a:prstGeom>
          <a:solidFill>
            <a:srgbClr val="00FFB3">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4" name="Table 3">
            <a:extLst>
              <a:ext uri="{FF2B5EF4-FFF2-40B4-BE49-F238E27FC236}">
                <a16:creationId xmlns:a16="http://schemas.microsoft.com/office/drawing/2014/main" id="{16E0A36C-C287-FB06-DC2D-9CDCE928022E}"/>
              </a:ext>
            </a:extLst>
          </p:cNvPr>
          <p:cNvGraphicFramePr>
            <a:graphicFrameLocks noGrp="1"/>
          </p:cNvGraphicFramePr>
          <p:nvPr>
            <p:extLst>
              <p:ext uri="{D42A27DB-BD31-4B8C-83A1-F6EECF244321}">
                <p14:modId xmlns:p14="http://schemas.microsoft.com/office/powerpoint/2010/main" val="907036568"/>
              </p:ext>
            </p:extLst>
          </p:nvPr>
        </p:nvGraphicFramePr>
        <p:xfrm>
          <a:off x="167426" y="1048437"/>
          <a:ext cx="11926769" cy="5591849"/>
        </p:xfrm>
        <a:graphic>
          <a:graphicData uri="http://schemas.openxmlformats.org/drawingml/2006/table">
            <a:tbl>
              <a:tblPr firstRow="1" bandRow="1">
                <a:tableStyleId>{5940675A-B579-460E-94D1-54222C63F5DA}</a:tableStyleId>
              </a:tblPr>
              <a:tblGrid>
                <a:gridCol w="2914556">
                  <a:extLst>
                    <a:ext uri="{9D8B030D-6E8A-4147-A177-3AD203B41FA5}">
                      <a16:colId xmlns:a16="http://schemas.microsoft.com/office/drawing/2014/main" val="2052256654"/>
                    </a:ext>
                  </a:extLst>
                </a:gridCol>
                <a:gridCol w="9012213">
                  <a:extLst>
                    <a:ext uri="{9D8B030D-6E8A-4147-A177-3AD203B41FA5}">
                      <a16:colId xmlns:a16="http://schemas.microsoft.com/office/drawing/2014/main" val="3572757817"/>
                    </a:ext>
                  </a:extLst>
                </a:gridCol>
              </a:tblGrid>
              <a:tr h="1336333">
                <a:tc>
                  <a:txBody>
                    <a:bodyPr/>
                    <a:lstStyle/>
                    <a:p>
                      <a:r>
                        <a:rPr lang="en-AU" b="0" dirty="0"/>
                        <a:t>Seat Hinge</a:t>
                      </a:r>
                    </a:p>
                  </a:txBody>
                  <a:tcPr/>
                </a:tc>
                <a:tc rowSpan="4">
                  <a:txBody>
                    <a:bodyPr/>
                    <a:lstStyle/>
                    <a:p>
                      <a:br>
                        <a:rPr lang="en-US"/>
                      </a:br>
                      <a:endParaRPr lang="en-AU"/>
                    </a:p>
                  </a:txBody>
                  <a:tcPr/>
                </a:tc>
                <a:extLst>
                  <a:ext uri="{0D108BD9-81ED-4DB2-BD59-A6C34878D82A}">
                    <a16:rowId xmlns:a16="http://schemas.microsoft.com/office/drawing/2014/main" val="3265519103"/>
                  </a:ext>
                </a:extLst>
              </a:tr>
              <a:tr h="1177307">
                <a:tc>
                  <a:txBody>
                    <a:bodyPr/>
                    <a:lstStyle/>
                    <a:p>
                      <a:r>
                        <a:rPr lang="en-AU" b="1" dirty="0"/>
                        <a:t>Base Plate</a:t>
                      </a:r>
                      <a:br>
                        <a:rPr lang="en-AU" dirty="0"/>
                      </a:br>
                      <a:endParaRPr lang="en-AU" sz="1200" dirty="0"/>
                    </a:p>
                  </a:txBody>
                  <a:tcPr/>
                </a:tc>
                <a:tc vMerge="1">
                  <a:txBody>
                    <a:bodyPr/>
                    <a:lstStyle/>
                    <a:p>
                      <a:endParaRPr lang="en-AU"/>
                    </a:p>
                  </a:txBody>
                  <a:tcPr/>
                </a:tc>
                <a:extLst>
                  <a:ext uri="{0D108BD9-81ED-4DB2-BD59-A6C34878D82A}">
                    <a16:rowId xmlns:a16="http://schemas.microsoft.com/office/drawing/2014/main" val="3112415313"/>
                  </a:ext>
                </a:extLst>
              </a:tr>
              <a:tr h="1352869">
                <a:tc>
                  <a:txBody>
                    <a:bodyPr/>
                    <a:lstStyle/>
                    <a:p>
                      <a:r>
                        <a:rPr lang="en-AU"/>
                        <a:t>Seat</a:t>
                      </a:r>
                    </a:p>
                    <a:p>
                      <a:endParaRPr lang="en-AU"/>
                    </a:p>
                  </a:txBody>
                  <a:tcPr/>
                </a:tc>
                <a:tc vMerge="1">
                  <a:txBody>
                    <a:bodyPr/>
                    <a:lstStyle/>
                    <a:p>
                      <a:endParaRPr lang="en-001"/>
                    </a:p>
                  </a:txBody>
                  <a:tcPr/>
                </a:tc>
                <a:extLst>
                  <a:ext uri="{0D108BD9-81ED-4DB2-BD59-A6C34878D82A}">
                    <a16:rowId xmlns:a16="http://schemas.microsoft.com/office/drawing/2014/main" val="3598445684"/>
                  </a:ext>
                </a:extLst>
              </a:tr>
              <a:tr h="1725340">
                <a:tc>
                  <a:txBody>
                    <a:bodyPr/>
                    <a:lstStyle/>
                    <a:p>
                      <a:r>
                        <a:rPr lang="en-AU" b="1" dirty="0"/>
                        <a:t>Frame</a:t>
                      </a:r>
                    </a:p>
                  </a:txBody>
                  <a:tcPr/>
                </a:tc>
                <a:tc vMerge="1">
                  <a:txBody>
                    <a:bodyPr/>
                    <a:lstStyle/>
                    <a:p>
                      <a:endParaRPr lang="en-AU"/>
                    </a:p>
                  </a:txBody>
                  <a:tcPr/>
                </a:tc>
                <a:extLst>
                  <a:ext uri="{0D108BD9-81ED-4DB2-BD59-A6C34878D82A}">
                    <a16:rowId xmlns:a16="http://schemas.microsoft.com/office/drawing/2014/main" val="441138721"/>
                  </a:ext>
                </a:extLst>
              </a:tr>
            </a:tbl>
          </a:graphicData>
        </a:graphic>
      </p:graphicFrame>
      <p:pic>
        <p:nvPicPr>
          <p:cNvPr id="16" name="Picture 15" descr="A logo with text and a square with a arrow up&#10;&#10;AI-generated content may be incorrect.">
            <a:extLst>
              <a:ext uri="{FF2B5EF4-FFF2-40B4-BE49-F238E27FC236}">
                <a16:creationId xmlns:a16="http://schemas.microsoft.com/office/drawing/2014/main" id="{88FBA5A1-4008-0F1A-B6D4-C952C7E15D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19953" y="37097"/>
            <a:ext cx="974242" cy="974242"/>
          </a:xfrm>
          <a:prstGeom prst="roundRect">
            <a:avLst/>
          </a:prstGeom>
        </p:spPr>
      </p:pic>
      <p:pic>
        <p:nvPicPr>
          <p:cNvPr id="2050" name="Picture 2">
            <a:extLst>
              <a:ext uri="{FF2B5EF4-FFF2-40B4-BE49-F238E27FC236}">
                <a16:creationId xmlns:a16="http://schemas.microsoft.com/office/drawing/2014/main" id="{0881F80E-83BD-8343-0012-D5882573F5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3507" y="1068253"/>
            <a:ext cx="6744676" cy="38389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458D5EF-C5E7-3A7D-4A5D-1A82D4D126FD}"/>
              </a:ext>
            </a:extLst>
          </p:cNvPr>
          <p:cNvSpPr txBox="1"/>
          <p:nvPr/>
        </p:nvSpPr>
        <p:spPr>
          <a:xfrm>
            <a:off x="3300370" y="4994817"/>
            <a:ext cx="3719452" cy="1754326"/>
          </a:xfrm>
          <a:prstGeom prst="rect">
            <a:avLst/>
          </a:prstGeom>
          <a:noFill/>
        </p:spPr>
        <p:txBody>
          <a:bodyPr wrap="square" rtlCol="0">
            <a:spAutoFit/>
          </a:bodyPr>
          <a:lstStyle/>
          <a:p>
            <a:pPr marL="285750" indent="-285750">
              <a:buFont typeface="Arial" panose="020B0604020202020204" pitchFamily="34" charset="0"/>
              <a:buChar char="•"/>
            </a:pPr>
            <a:r>
              <a:rPr lang="en-US"/>
              <a:t>Woods/ Bamboo: </a:t>
            </a:r>
          </a:p>
          <a:p>
            <a:r>
              <a:rPr lang="en-US"/>
              <a:t>     Cannot screw/ need a screw insert.</a:t>
            </a:r>
          </a:p>
          <a:p>
            <a:endParaRPr lang="en-US"/>
          </a:p>
          <a:p>
            <a:pPr marL="285750" indent="-285750">
              <a:buFont typeface="Arial" panose="020B0604020202020204" pitchFamily="34" charset="0"/>
              <a:buChar char="•"/>
            </a:pPr>
            <a:r>
              <a:rPr lang="en-US"/>
              <a:t>Polyester: </a:t>
            </a:r>
          </a:p>
          <a:p>
            <a:r>
              <a:rPr lang="en-US"/>
              <a:t>     3.8 – 4.3US$/kg,</a:t>
            </a:r>
            <a:br>
              <a:rPr lang="en-US"/>
            </a:br>
            <a:endParaRPr lang="en-AU"/>
          </a:p>
        </p:txBody>
      </p:sp>
      <p:sp>
        <p:nvSpPr>
          <p:cNvPr id="7" name="TextBox 6">
            <a:extLst>
              <a:ext uri="{FF2B5EF4-FFF2-40B4-BE49-F238E27FC236}">
                <a16:creationId xmlns:a16="http://schemas.microsoft.com/office/drawing/2014/main" id="{1C84C879-D6B2-7B7B-74C8-E8F271574E0F}"/>
              </a:ext>
            </a:extLst>
          </p:cNvPr>
          <p:cNvSpPr txBox="1"/>
          <p:nvPr/>
        </p:nvSpPr>
        <p:spPr>
          <a:xfrm>
            <a:off x="7137402" y="4951906"/>
            <a:ext cx="4652948" cy="2031325"/>
          </a:xfrm>
          <a:prstGeom prst="rect">
            <a:avLst/>
          </a:prstGeom>
          <a:noFill/>
        </p:spPr>
        <p:txBody>
          <a:bodyPr wrap="square" rtlCol="0">
            <a:spAutoFit/>
          </a:bodyPr>
          <a:lstStyle/>
          <a:p>
            <a:pPr marL="285750" indent="-285750">
              <a:buFont typeface="Arial" panose="020B0604020202020204" pitchFamily="34" charset="0"/>
              <a:buChar char="•"/>
            </a:pPr>
            <a:r>
              <a:rPr lang="en-US"/>
              <a:t>Magnesium Alloys: </a:t>
            </a:r>
          </a:p>
          <a:p>
            <a:r>
              <a:rPr lang="en-US"/>
              <a:t>     3.1-3.4US$/kg more expensive,</a:t>
            </a:r>
          </a:p>
          <a:p>
            <a:r>
              <a:rPr lang="en-US"/>
              <a:t>     lighter but has lower stiffness.</a:t>
            </a:r>
          </a:p>
          <a:p>
            <a:endParaRPr lang="en-US"/>
          </a:p>
          <a:p>
            <a:pPr marL="285750" indent="-285750">
              <a:buFont typeface="Arial" panose="020B0604020202020204" pitchFamily="34" charset="0"/>
              <a:buChar char="•"/>
            </a:pPr>
            <a:r>
              <a:rPr lang="en-US" err="1">
                <a:solidFill>
                  <a:srgbClr val="FF0000"/>
                </a:solidFill>
              </a:rPr>
              <a:t>Aluminium</a:t>
            </a:r>
            <a:r>
              <a:rPr lang="en-US">
                <a:solidFill>
                  <a:srgbClr val="FF0000"/>
                </a:solidFill>
              </a:rPr>
              <a:t> Alloys: </a:t>
            </a:r>
          </a:p>
          <a:p>
            <a:r>
              <a:rPr lang="en-US">
                <a:solidFill>
                  <a:srgbClr val="FF0000"/>
                </a:solidFill>
              </a:rPr>
              <a:t>     2.1-2.3US$/kg. Higher stiffness and cheaper.</a:t>
            </a:r>
          </a:p>
          <a:p>
            <a:endParaRPr lang="en-AU"/>
          </a:p>
        </p:txBody>
      </p:sp>
      <p:pic>
        <p:nvPicPr>
          <p:cNvPr id="15" name="Picture 14">
            <a:extLst>
              <a:ext uri="{FF2B5EF4-FFF2-40B4-BE49-F238E27FC236}">
                <a16:creationId xmlns:a16="http://schemas.microsoft.com/office/drawing/2014/main" id="{37D094D7-DD93-C4E3-4EA2-742D851B8A96}"/>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184861" y="3644198"/>
            <a:ext cx="1548971" cy="1192790"/>
          </a:xfrm>
          <a:prstGeom prst="rect">
            <a:avLst/>
          </a:prstGeom>
        </p:spPr>
      </p:pic>
      <p:pic>
        <p:nvPicPr>
          <p:cNvPr id="19" name="Picture 18" descr="A white rectangular object with holes&#10;&#10;AI-generated content may be incorrect.">
            <a:extLst>
              <a:ext uri="{FF2B5EF4-FFF2-40B4-BE49-F238E27FC236}">
                <a16:creationId xmlns:a16="http://schemas.microsoft.com/office/drawing/2014/main" id="{25C5E703-4F8C-1D04-C966-535F1A31AF38}"/>
              </a:ext>
            </a:extLst>
          </p:cNvPr>
          <p:cNvPicPr>
            <a:picLocks noChangeAspect="1"/>
          </p:cNvPicPr>
          <p:nvPr/>
        </p:nvPicPr>
        <p:blipFill>
          <a:blip r:embed="rId9"/>
          <a:stretch>
            <a:fillRect/>
          </a:stretch>
        </p:blipFill>
        <p:spPr>
          <a:xfrm>
            <a:off x="1088827" y="1379503"/>
            <a:ext cx="1818993" cy="897031"/>
          </a:xfrm>
          <a:prstGeom prst="rect">
            <a:avLst/>
          </a:prstGeom>
        </p:spPr>
      </p:pic>
      <p:pic>
        <p:nvPicPr>
          <p:cNvPr id="20" name="Picture 19">
            <a:extLst>
              <a:ext uri="{FF2B5EF4-FFF2-40B4-BE49-F238E27FC236}">
                <a16:creationId xmlns:a16="http://schemas.microsoft.com/office/drawing/2014/main" id="{D34C41DF-D992-18ED-1294-95D864351832}"/>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9469" r="94457">
                        <a14:foregroundMark x1="9584" y1="62099" x2="9584" y2="52346"/>
                        <a14:foregroundMark x1="89492" y1="44938" x2="89492" y2="41111"/>
                        <a14:foregroundMark x1="91570" y1="42593" x2="94457" y2="47160"/>
                      </a14:backgroundRemoval>
                    </a14:imgEffect>
                  </a14:imgLayer>
                </a14:imgProps>
              </a:ext>
            </a:extLst>
          </a:blip>
          <a:stretch>
            <a:fillRect/>
          </a:stretch>
        </p:blipFill>
        <p:spPr>
          <a:xfrm>
            <a:off x="1344408" y="2457268"/>
            <a:ext cx="1229876" cy="1150346"/>
          </a:xfrm>
          <a:prstGeom prst="rect">
            <a:avLst/>
          </a:prstGeom>
        </p:spPr>
      </p:pic>
      <p:pic>
        <p:nvPicPr>
          <p:cNvPr id="21" name="Picture 20">
            <a:extLst>
              <a:ext uri="{FF2B5EF4-FFF2-40B4-BE49-F238E27FC236}">
                <a16:creationId xmlns:a16="http://schemas.microsoft.com/office/drawing/2014/main" id="{8FA546C3-5550-086F-BA2B-A97F50C0917F}"/>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976684" y="5233153"/>
            <a:ext cx="1854811" cy="986964"/>
          </a:xfrm>
          <a:prstGeom prst="rect">
            <a:avLst/>
          </a:prstGeom>
        </p:spPr>
      </p:pic>
      <p:pic>
        <p:nvPicPr>
          <p:cNvPr id="22" name="Picture 21">
            <a:extLst>
              <a:ext uri="{FF2B5EF4-FFF2-40B4-BE49-F238E27FC236}">
                <a16:creationId xmlns:a16="http://schemas.microsoft.com/office/drawing/2014/main" id="{FCA13E19-B2F8-87D5-E0AE-FBB7D0D3C00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2752">
                        <a14:foregroundMark x1="85780" y1="78621" x2="92752" y2="75000"/>
                        <a14:foregroundMark x1="26619" y1="45780" x2="24771" y2="44483"/>
                        <a14:backgroundMark x1="70367" y1="76724" x2="19725" y2="38276"/>
                        <a14:backgroundMark x1="32294" y1="49655" x2="19725" y2="46207"/>
                      </a14:backgroundRemoval>
                    </a14:imgEffect>
                  </a14:imgLayer>
                </a14:imgProps>
              </a:ext>
            </a:extLst>
          </a:blip>
          <a:stretch>
            <a:fillRect/>
          </a:stretch>
        </p:blipFill>
        <p:spPr>
          <a:xfrm>
            <a:off x="543780" y="5631347"/>
            <a:ext cx="1854811" cy="986964"/>
          </a:xfrm>
          <a:prstGeom prst="rect">
            <a:avLst/>
          </a:prstGeom>
        </p:spPr>
      </p:pic>
    </p:spTree>
    <p:extLst>
      <p:ext uri="{BB962C8B-B14F-4D97-AF65-F5344CB8AC3E}">
        <p14:creationId xmlns:p14="http://schemas.microsoft.com/office/powerpoint/2010/main" val="12940725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F3D4A"/>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24676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7500" b="0" i="0" u="none" strike="noStrike" kern="0" cap="none" spc="0" normalizeH="0" baseline="0" noProof="0">
                <a:ln>
                  <a:noFill/>
                </a:ln>
                <a:solidFill>
                  <a:prstClr val="white"/>
                </a:solidFill>
                <a:effectLst/>
                <a:uLnTx/>
                <a:uFillTx/>
                <a:latin typeface="Century Gothic" panose="020B0502020202020204" pitchFamily="34" charset="0"/>
              </a:rPr>
              <a:t>Fasteners</a:t>
            </a:r>
          </a:p>
        </p:txBody>
      </p:sp>
      <p:grpSp>
        <p:nvGrpSpPr>
          <p:cNvPr id="49" name="Group 48">
            <a:extLst>
              <a:ext uri="{FF2B5EF4-FFF2-40B4-BE49-F238E27FC236}">
                <a16:creationId xmlns:a16="http://schemas.microsoft.com/office/drawing/2014/main" id="{E43BBAD4-DDA2-C048-EC2E-802923933637}"/>
              </a:ext>
            </a:extLst>
          </p:cNvPr>
          <p:cNvGrpSpPr/>
          <p:nvPr/>
        </p:nvGrpSpPr>
        <p:grpSpPr>
          <a:xfrm>
            <a:off x="273788" y="7252050"/>
            <a:ext cx="11670119" cy="5504381"/>
            <a:chOff x="273788" y="369986"/>
            <a:chExt cx="11670119" cy="5504381"/>
          </a:xfrm>
        </p:grpSpPr>
        <p:cxnSp>
          <p:nvCxnSpPr>
            <p:cNvPr id="50" name="Straight Connector 49">
              <a:extLst>
                <a:ext uri="{FF2B5EF4-FFF2-40B4-BE49-F238E27FC236}">
                  <a16:creationId xmlns:a16="http://schemas.microsoft.com/office/drawing/2014/main" id="{6524746B-8AC4-DFFA-F1FE-F0E0A7B3FC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TextBox 50">
              <a:extLst>
                <a:ext uri="{FF2B5EF4-FFF2-40B4-BE49-F238E27FC236}">
                  <a16:creationId xmlns:a16="http://schemas.microsoft.com/office/drawing/2014/main" id="{5D3E4C0F-FC3B-3A8A-75C7-116DD74F9252}"/>
                </a:ext>
              </a:extLst>
            </p:cNvPr>
            <p:cNvSpPr txBox="1"/>
            <p:nvPr/>
          </p:nvSpPr>
          <p:spPr>
            <a:xfrm>
              <a:off x="281745" y="969272"/>
              <a:ext cx="4046199" cy="49359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Key metrics</a:t>
              </a:r>
            </a:p>
          </p:txBody>
        </p:sp>
        <p:grpSp>
          <p:nvGrpSpPr>
            <p:cNvPr id="52" name="!!financials">
              <a:extLst>
                <a:ext uri="{FF2B5EF4-FFF2-40B4-BE49-F238E27FC236}">
                  <a16:creationId xmlns:a16="http://schemas.microsoft.com/office/drawing/2014/main" id="{3B59FD37-8508-1303-6FC3-435BBD48C8D1}"/>
                </a:ext>
              </a:extLst>
            </p:cNvPr>
            <p:cNvGrpSpPr/>
            <p:nvPr/>
          </p:nvGrpSpPr>
          <p:grpSpPr>
            <a:xfrm>
              <a:off x="5842207" y="369986"/>
              <a:ext cx="507586" cy="507586"/>
              <a:chOff x="8769760" y="4481585"/>
              <a:chExt cx="507586" cy="507586"/>
            </a:xfrm>
          </p:grpSpPr>
          <p:sp useBgFill="1">
            <p:nvSpPr>
              <p:cNvPr id="89" name="Oval 88">
                <a:extLst>
                  <a:ext uri="{FF2B5EF4-FFF2-40B4-BE49-F238E27FC236}">
                    <a16:creationId xmlns:a16="http://schemas.microsoft.com/office/drawing/2014/main" id="{71372494-2FEC-500A-89E2-DE135F027DE5}"/>
                  </a:ext>
                </a:extLst>
              </p:cNvPr>
              <p:cNvSpPr/>
              <p:nvPr/>
            </p:nvSpPr>
            <p:spPr>
              <a:xfrm>
                <a:off x="8769760" y="4481585"/>
                <a:ext cx="507586" cy="507586"/>
              </a:xfrm>
              <a:prstGeom prst="ellipse">
                <a:avLst/>
              </a:prstGeom>
              <a:blipFill dpi="0" rotWithShape="0">
                <a:blip r:embed="rId2">
                  <a:lum/>
                </a:blip>
                <a:srcRect/>
                <a:stretch>
                  <a:fillRect l="-1558498" t="-308702" r="-743459" b="-94239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0" name="Graphic 89">
                <a:extLst>
                  <a:ext uri="{FF2B5EF4-FFF2-40B4-BE49-F238E27FC236}">
                    <a16:creationId xmlns:a16="http://schemas.microsoft.com/office/drawing/2014/main" id="{863D7D95-48C3-310F-2BD3-64D1BFAA24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grpSp>
          <p:nvGrpSpPr>
            <p:cNvPr id="53" name="Group 52">
              <a:extLst>
                <a:ext uri="{FF2B5EF4-FFF2-40B4-BE49-F238E27FC236}">
                  <a16:creationId xmlns:a16="http://schemas.microsoft.com/office/drawing/2014/main" id="{7CAF66A9-96AC-2ED7-012B-5F2A5E40BF82}"/>
                </a:ext>
              </a:extLst>
            </p:cNvPr>
            <p:cNvGrpSpPr/>
            <p:nvPr/>
          </p:nvGrpSpPr>
          <p:grpSpPr>
            <a:xfrm>
              <a:off x="273788" y="1808361"/>
              <a:ext cx="3733402" cy="1920950"/>
              <a:chOff x="273788" y="1808361"/>
              <a:chExt cx="3733402" cy="1920950"/>
            </a:xfrm>
          </p:grpSpPr>
          <p:sp>
            <p:nvSpPr>
              <p:cNvPr id="84" name="Rectangle: Rounded Corners 83">
                <a:extLst>
                  <a:ext uri="{FF2B5EF4-FFF2-40B4-BE49-F238E27FC236}">
                    <a16:creationId xmlns:a16="http://schemas.microsoft.com/office/drawing/2014/main" id="{5BC76EC0-292D-FEF8-5B0F-2F5F25BDEA7F}"/>
                  </a:ext>
                </a:extLst>
              </p:cNvPr>
              <p:cNvSpPr/>
              <p:nvPr/>
            </p:nvSpPr>
            <p:spPr>
              <a:xfrm>
                <a:off x="273788" y="1808361"/>
                <a:ext cx="3733402" cy="1920950"/>
              </a:xfrm>
              <a:prstGeom prst="roundRect">
                <a:avLst>
                  <a:gd name="adj" fmla="val 12077"/>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endParaRPr lang="en-GB" sz="2000">
                  <a:solidFill>
                    <a:schemeClr val="bg1"/>
                  </a:solidFill>
                  <a:latin typeface="Darker Grotesque SemiBold" pitchFamily="2" charset="0"/>
                </a:endParaRPr>
              </a:p>
            </p:txBody>
          </p:sp>
          <p:sp>
            <p:nvSpPr>
              <p:cNvPr id="85" name="Rectangle: Rounded Corners 13">
                <a:extLst>
                  <a:ext uri="{FF2B5EF4-FFF2-40B4-BE49-F238E27FC236}">
                    <a16:creationId xmlns:a16="http://schemas.microsoft.com/office/drawing/2014/main" id="{E3AF9191-3D95-0E36-2840-2048458978D5}"/>
                  </a:ext>
                </a:extLst>
              </p:cNvPr>
              <p:cNvSpPr/>
              <p:nvPr/>
            </p:nvSpPr>
            <p:spPr>
              <a:xfrm>
                <a:off x="3589231" y="3299098"/>
                <a:ext cx="259804" cy="259804"/>
              </a:xfrm>
              <a:prstGeom prst="roundRect">
                <a:avLst>
                  <a:gd name="adj" fmla="val 33110"/>
                </a:avLst>
              </a:prstGeom>
              <a:solidFill>
                <a:schemeClr val="bg1">
                  <a:alpha val="10000"/>
                </a:schemeClr>
              </a:solidFill>
              <a:ln w="6350" cap="rnd">
                <a:solidFill>
                  <a:srgbClr val="484525"/>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rgbClr val="484525"/>
                  </a:solidFill>
                  <a:latin typeface="+mj-lt"/>
                  <a:cs typeface="Poppins SemiBold" panose="00000700000000000000" pitchFamily="2" charset="0"/>
                </a:endParaRPr>
              </a:p>
            </p:txBody>
          </p:sp>
          <p:pic>
            <p:nvPicPr>
              <p:cNvPr id="86" name="Graphic 85">
                <a:extLst>
                  <a:ext uri="{FF2B5EF4-FFF2-40B4-BE49-F238E27FC236}">
                    <a16:creationId xmlns:a16="http://schemas.microsoft.com/office/drawing/2014/main" id="{09510F35-2AFA-5BB8-CF02-6EE8FAC6A7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20981" y="3330848"/>
                <a:ext cx="196304" cy="196304"/>
              </a:xfrm>
              <a:prstGeom prst="rect">
                <a:avLst/>
              </a:prstGeom>
            </p:spPr>
          </p:pic>
          <p:sp>
            <p:nvSpPr>
              <p:cNvPr id="87" name="TextBox 86">
                <a:extLst>
                  <a:ext uri="{FF2B5EF4-FFF2-40B4-BE49-F238E27FC236}">
                    <a16:creationId xmlns:a16="http://schemas.microsoft.com/office/drawing/2014/main" id="{B71F0252-730E-57E7-E61B-67A7EABEF815}"/>
                  </a:ext>
                </a:extLst>
              </p:cNvPr>
              <p:cNvSpPr txBox="1"/>
              <p:nvPr/>
            </p:nvSpPr>
            <p:spPr>
              <a:xfrm>
                <a:off x="447761" y="2115461"/>
                <a:ext cx="2268250"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solidFill>
                      <a:srgbClr val="484525"/>
                    </a:solidFill>
                    <a:latin typeface="+mj-lt"/>
                  </a:rPr>
                  <a:t>$97M+</a:t>
                </a:r>
                <a:endParaRPr lang="en-GB" sz="6600">
                  <a:solidFill>
                    <a:srgbClr val="484525"/>
                  </a:solidFill>
                  <a:latin typeface="+mj-lt"/>
                </a:endParaRPr>
              </a:p>
            </p:txBody>
          </p:sp>
          <p:sp>
            <p:nvSpPr>
              <p:cNvPr id="88" name="TextBox 87">
                <a:extLst>
                  <a:ext uri="{FF2B5EF4-FFF2-40B4-BE49-F238E27FC236}">
                    <a16:creationId xmlns:a16="http://schemas.microsoft.com/office/drawing/2014/main" id="{D07F80E1-3D1A-7ABD-78F8-90CF1974A29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srgbClr val="484525"/>
                    </a:solidFill>
                  </a:rPr>
                  <a:t>Provide more information about this key performance indicator.</a:t>
                </a:r>
                <a:endParaRPr lang="en-US">
                  <a:solidFill>
                    <a:srgbClr val="484525"/>
                  </a:solidFill>
                </a:endParaRPr>
              </a:p>
            </p:txBody>
          </p:sp>
        </p:grpSp>
        <p:grpSp>
          <p:nvGrpSpPr>
            <p:cNvPr id="54" name="Group 53">
              <a:extLst>
                <a:ext uri="{FF2B5EF4-FFF2-40B4-BE49-F238E27FC236}">
                  <a16:creationId xmlns:a16="http://schemas.microsoft.com/office/drawing/2014/main" id="{8F730538-205D-0B9C-6D84-764818C7C438}"/>
                </a:ext>
              </a:extLst>
            </p:cNvPr>
            <p:cNvGrpSpPr/>
            <p:nvPr/>
          </p:nvGrpSpPr>
          <p:grpSpPr>
            <a:xfrm>
              <a:off x="8184812" y="1808361"/>
              <a:ext cx="3733402" cy="1920950"/>
              <a:chOff x="273788" y="1808361"/>
              <a:chExt cx="3733402" cy="1920950"/>
            </a:xfrm>
          </p:grpSpPr>
          <p:sp>
            <p:nvSpPr>
              <p:cNvPr id="79" name="Rectangle: Rounded Corners 78">
                <a:extLst>
                  <a:ext uri="{FF2B5EF4-FFF2-40B4-BE49-F238E27FC236}">
                    <a16:creationId xmlns:a16="http://schemas.microsoft.com/office/drawing/2014/main" id="{08ABCF36-F542-EE98-D8F0-68C4DF877444}"/>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80" name="Rectangle: Rounded Corners 13">
                <a:extLst>
                  <a:ext uri="{FF2B5EF4-FFF2-40B4-BE49-F238E27FC236}">
                    <a16:creationId xmlns:a16="http://schemas.microsoft.com/office/drawing/2014/main" id="{25D0B79D-92CC-C329-6E9D-192CA4764D63}"/>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81" name="Graphic 80">
                <a:extLst>
                  <a:ext uri="{FF2B5EF4-FFF2-40B4-BE49-F238E27FC236}">
                    <a16:creationId xmlns:a16="http://schemas.microsoft.com/office/drawing/2014/main" id="{C3E8C9BB-137E-9B7B-13E9-009C5E0E10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82" name="TextBox 81">
                <a:extLst>
                  <a:ext uri="{FF2B5EF4-FFF2-40B4-BE49-F238E27FC236}">
                    <a16:creationId xmlns:a16="http://schemas.microsoft.com/office/drawing/2014/main" id="{573ACBD1-7D9C-EC58-3E03-1197EFB6A7A8}"/>
                  </a:ext>
                </a:extLst>
              </p:cNvPr>
              <p:cNvSpPr txBox="1"/>
              <p:nvPr/>
            </p:nvSpPr>
            <p:spPr>
              <a:xfrm>
                <a:off x="447761" y="2115461"/>
                <a:ext cx="1384995"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78%</a:t>
                </a:r>
                <a:endParaRPr lang="en-GB" sz="6600">
                  <a:latin typeface="+mj-lt"/>
                </a:endParaRPr>
              </a:p>
            </p:txBody>
          </p:sp>
          <p:sp>
            <p:nvSpPr>
              <p:cNvPr id="83" name="TextBox 82">
                <a:extLst>
                  <a:ext uri="{FF2B5EF4-FFF2-40B4-BE49-F238E27FC236}">
                    <a16:creationId xmlns:a16="http://schemas.microsoft.com/office/drawing/2014/main" id="{4DD689BD-3557-D487-6DE2-16F686914BB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5" name="Group 54">
              <a:extLst>
                <a:ext uri="{FF2B5EF4-FFF2-40B4-BE49-F238E27FC236}">
                  <a16:creationId xmlns:a16="http://schemas.microsoft.com/office/drawing/2014/main" id="{69D12F26-4D99-1D29-4E84-0E99D4D2FD86}"/>
                </a:ext>
              </a:extLst>
            </p:cNvPr>
            <p:cNvGrpSpPr/>
            <p:nvPr/>
          </p:nvGrpSpPr>
          <p:grpSpPr>
            <a:xfrm>
              <a:off x="4229299" y="1808361"/>
              <a:ext cx="3733402" cy="1920950"/>
              <a:chOff x="273788" y="1808361"/>
              <a:chExt cx="3733402" cy="1920950"/>
            </a:xfrm>
          </p:grpSpPr>
          <p:sp>
            <p:nvSpPr>
              <p:cNvPr id="74" name="Rectangle: Rounded Corners 73">
                <a:extLst>
                  <a:ext uri="{FF2B5EF4-FFF2-40B4-BE49-F238E27FC236}">
                    <a16:creationId xmlns:a16="http://schemas.microsoft.com/office/drawing/2014/main" id="{DACF0A22-B500-6A9E-1D24-1C989F2F54FA}"/>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75" name="Rectangle: Rounded Corners 13">
                <a:extLst>
                  <a:ext uri="{FF2B5EF4-FFF2-40B4-BE49-F238E27FC236}">
                    <a16:creationId xmlns:a16="http://schemas.microsoft.com/office/drawing/2014/main" id="{7415F173-067C-E4A0-CD3B-0E27A0A8BE6F}"/>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76" name="Graphic 75">
                <a:extLst>
                  <a:ext uri="{FF2B5EF4-FFF2-40B4-BE49-F238E27FC236}">
                    <a16:creationId xmlns:a16="http://schemas.microsoft.com/office/drawing/2014/main" id="{102F3937-8C80-D06A-DA95-C322C26963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7" name="TextBox 76">
                <a:extLst>
                  <a:ext uri="{FF2B5EF4-FFF2-40B4-BE49-F238E27FC236}">
                    <a16:creationId xmlns:a16="http://schemas.microsoft.com/office/drawing/2014/main" id="{E24BC47B-7759-3658-A1D3-F67E0BA0731F}"/>
                  </a:ext>
                </a:extLst>
              </p:cNvPr>
              <p:cNvSpPr txBox="1"/>
              <p:nvPr/>
            </p:nvSpPr>
            <p:spPr>
              <a:xfrm>
                <a:off x="447761" y="2115461"/>
                <a:ext cx="1112484"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x10</a:t>
                </a:r>
                <a:endParaRPr lang="en-GB" sz="6600">
                  <a:latin typeface="+mj-lt"/>
                </a:endParaRPr>
              </a:p>
            </p:txBody>
          </p:sp>
          <p:sp>
            <p:nvSpPr>
              <p:cNvPr id="78" name="TextBox 77">
                <a:extLst>
                  <a:ext uri="{FF2B5EF4-FFF2-40B4-BE49-F238E27FC236}">
                    <a16:creationId xmlns:a16="http://schemas.microsoft.com/office/drawing/2014/main" id="{A71B6A03-79E7-432C-584D-A3A2C81BEBAA}"/>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6" name="Group 55">
              <a:extLst>
                <a:ext uri="{FF2B5EF4-FFF2-40B4-BE49-F238E27FC236}">
                  <a16:creationId xmlns:a16="http://schemas.microsoft.com/office/drawing/2014/main" id="{6C27343D-FB93-35AF-40F5-BDAFC5AAD602}"/>
                </a:ext>
              </a:extLst>
            </p:cNvPr>
            <p:cNvGrpSpPr/>
            <p:nvPr/>
          </p:nvGrpSpPr>
          <p:grpSpPr>
            <a:xfrm>
              <a:off x="273788" y="3953417"/>
              <a:ext cx="3733402" cy="1920950"/>
              <a:chOff x="273788" y="1808361"/>
              <a:chExt cx="3733402" cy="1920950"/>
            </a:xfrm>
          </p:grpSpPr>
          <p:sp>
            <p:nvSpPr>
              <p:cNvPr id="69" name="Rectangle: Rounded Corners 68">
                <a:extLst>
                  <a:ext uri="{FF2B5EF4-FFF2-40B4-BE49-F238E27FC236}">
                    <a16:creationId xmlns:a16="http://schemas.microsoft.com/office/drawing/2014/main" id="{01131CC5-EF57-894E-506A-CD8454BC3355}"/>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70" name="Rectangle: Rounded Corners 13">
                <a:extLst>
                  <a:ext uri="{FF2B5EF4-FFF2-40B4-BE49-F238E27FC236}">
                    <a16:creationId xmlns:a16="http://schemas.microsoft.com/office/drawing/2014/main" id="{6DF9CE2C-E6A8-4A28-F2CE-FE50AEC369F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71" name="Graphic 70">
                <a:extLst>
                  <a:ext uri="{FF2B5EF4-FFF2-40B4-BE49-F238E27FC236}">
                    <a16:creationId xmlns:a16="http://schemas.microsoft.com/office/drawing/2014/main" id="{A397A33A-5C33-4B22-0820-9A5D8452B2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2" name="TextBox 71">
                <a:extLst>
                  <a:ext uri="{FF2B5EF4-FFF2-40B4-BE49-F238E27FC236}">
                    <a16:creationId xmlns:a16="http://schemas.microsoft.com/office/drawing/2014/main" id="{D8B92B2D-5231-3CC0-1091-C7C78B0D9346}"/>
                  </a:ext>
                </a:extLst>
              </p:cNvPr>
              <p:cNvSpPr txBox="1"/>
              <p:nvPr/>
            </p:nvSpPr>
            <p:spPr>
              <a:xfrm>
                <a:off x="447761" y="2115461"/>
                <a:ext cx="1412246"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99%</a:t>
                </a:r>
                <a:endParaRPr lang="en-GB" sz="6600">
                  <a:latin typeface="+mj-lt"/>
                </a:endParaRPr>
              </a:p>
            </p:txBody>
          </p:sp>
          <p:sp>
            <p:nvSpPr>
              <p:cNvPr id="73" name="TextBox 72">
                <a:extLst>
                  <a:ext uri="{FF2B5EF4-FFF2-40B4-BE49-F238E27FC236}">
                    <a16:creationId xmlns:a16="http://schemas.microsoft.com/office/drawing/2014/main" id="{50451393-37A2-55DA-1FC9-3FD0C3F4D5BD}"/>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7" name="Group 56">
              <a:extLst>
                <a:ext uri="{FF2B5EF4-FFF2-40B4-BE49-F238E27FC236}">
                  <a16:creationId xmlns:a16="http://schemas.microsoft.com/office/drawing/2014/main" id="{73D45429-700C-28FE-C3C7-7C70A049C3E9}"/>
                </a:ext>
              </a:extLst>
            </p:cNvPr>
            <p:cNvGrpSpPr/>
            <p:nvPr/>
          </p:nvGrpSpPr>
          <p:grpSpPr>
            <a:xfrm>
              <a:off x="8184812" y="3953417"/>
              <a:ext cx="3733402" cy="1920950"/>
              <a:chOff x="273788" y="1808361"/>
              <a:chExt cx="3733402" cy="1920950"/>
            </a:xfrm>
          </p:grpSpPr>
          <p:sp>
            <p:nvSpPr>
              <p:cNvPr id="64" name="Rectangle: Rounded Corners 63">
                <a:extLst>
                  <a:ext uri="{FF2B5EF4-FFF2-40B4-BE49-F238E27FC236}">
                    <a16:creationId xmlns:a16="http://schemas.microsoft.com/office/drawing/2014/main" id="{BA23A1AB-1FAC-0038-3E32-052EC9101E5D}"/>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65" name="Rectangle: Rounded Corners 13">
                <a:extLst>
                  <a:ext uri="{FF2B5EF4-FFF2-40B4-BE49-F238E27FC236}">
                    <a16:creationId xmlns:a16="http://schemas.microsoft.com/office/drawing/2014/main" id="{A305DC71-9C50-8968-0212-9CB21DE755B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66" name="Graphic 65">
                <a:extLst>
                  <a:ext uri="{FF2B5EF4-FFF2-40B4-BE49-F238E27FC236}">
                    <a16:creationId xmlns:a16="http://schemas.microsoft.com/office/drawing/2014/main" id="{A799058B-7BA4-66A1-0363-B821416D75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7" name="TextBox 66">
                <a:extLst>
                  <a:ext uri="{FF2B5EF4-FFF2-40B4-BE49-F238E27FC236}">
                    <a16:creationId xmlns:a16="http://schemas.microsoft.com/office/drawing/2014/main" id="{0A5EA7DE-034D-EA3E-67E6-D11682B8A78C}"/>
                  </a:ext>
                </a:extLst>
              </p:cNvPr>
              <p:cNvSpPr txBox="1"/>
              <p:nvPr/>
            </p:nvSpPr>
            <p:spPr>
              <a:xfrm>
                <a:off x="447761" y="2115461"/>
                <a:ext cx="1949252"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1.7M</a:t>
                </a:r>
                <a:endParaRPr lang="en-GB" sz="6600">
                  <a:latin typeface="+mj-lt"/>
                </a:endParaRPr>
              </a:p>
            </p:txBody>
          </p:sp>
          <p:sp>
            <p:nvSpPr>
              <p:cNvPr id="68" name="TextBox 67">
                <a:extLst>
                  <a:ext uri="{FF2B5EF4-FFF2-40B4-BE49-F238E27FC236}">
                    <a16:creationId xmlns:a16="http://schemas.microsoft.com/office/drawing/2014/main" id="{AADFA3A1-3A8A-7E32-8952-1E14FF68B99B}"/>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8" name="Group 57">
              <a:extLst>
                <a:ext uri="{FF2B5EF4-FFF2-40B4-BE49-F238E27FC236}">
                  <a16:creationId xmlns:a16="http://schemas.microsoft.com/office/drawing/2014/main" id="{7C05DF1C-9FEC-2AAA-C749-6F7F61BDAAB6}"/>
                </a:ext>
              </a:extLst>
            </p:cNvPr>
            <p:cNvGrpSpPr/>
            <p:nvPr/>
          </p:nvGrpSpPr>
          <p:grpSpPr>
            <a:xfrm>
              <a:off x="4229299" y="3953417"/>
              <a:ext cx="3733402" cy="1920950"/>
              <a:chOff x="273788" y="1808361"/>
              <a:chExt cx="3733402" cy="1920950"/>
            </a:xfrm>
          </p:grpSpPr>
          <p:sp>
            <p:nvSpPr>
              <p:cNvPr id="59" name="Rectangle: Rounded Corners 58">
                <a:extLst>
                  <a:ext uri="{FF2B5EF4-FFF2-40B4-BE49-F238E27FC236}">
                    <a16:creationId xmlns:a16="http://schemas.microsoft.com/office/drawing/2014/main" id="{C62122E4-73FC-083C-3CE7-2D9F394E4CBE}"/>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60" name="Rectangle: Rounded Corners 13">
                <a:extLst>
                  <a:ext uri="{FF2B5EF4-FFF2-40B4-BE49-F238E27FC236}">
                    <a16:creationId xmlns:a16="http://schemas.microsoft.com/office/drawing/2014/main" id="{74358380-ACA3-DD5E-E3F9-2C603522B922}"/>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61" name="Graphic 60">
                <a:extLst>
                  <a:ext uri="{FF2B5EF4-FFF2-40B4-BE49-F238E27FC236}">
                    <a16:creationId xmlns:a16="http://schemas.microsoft.com/office/drawing/2014/main" id="{F82CDB29-1387-C5D2-CF9A-76C7A0D1B7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2" name="TextBox 61">
                <a:extLst>
                  <a:ext uri="{FF2B5EF4-FFF2-40B4-BE49-F238E27FC236}">
                    <a16:creationId xmlns:a16="http://schemas.microsoft.com/office/drawing/2014/main" id="{3469D3ED-46E6-5564-50EA-6D819A2F0C96}"/>
                  </a:ext>
                </a:extLst>
              </p:cNvPr>
              <p:cNvSpPr txBox="1"/>
              <p:nvPr/>
            </p:nvSpPr>
            <p:spPr>
              <a:xfrm>
                <a:off x="447761" y="2115461"/>
                <a:ext cx="2088713"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770K+</a:t>
                </a:r>
                <a:endParaRPr lang="en-GB" sz="6600">
                  <a:latin typeface="+mj-lt"/>
                </a:endParaRPr>
              </a:p>
            </p:txBody>
          </p:sp>
          <p:sp>
            <p:nvSpPr>
              <p:cNvPr id="63" name="TextBox 62">
                <a:extLst>
                  <a:ext uri="{FF2B5EF4-FFF2-40B4-BE49-F238E27FC236}">
                    <a16:creationId xmlns:a16="http://schemas.microsoft.com/office/drawing/2014/main" id="{15E7E710-06FF-39C6-2C66-90FEF65B31E8}"/>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F3D4A"/>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24676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7500" b="0" i="0" u="none" strike="noStrike" kern="0" cap="none" spc="0" normalizeH="0" baseline="0" noProof="0">
                <a:ln>
                  <a:noFill/>
                </a:ln>
                <a:solidFill>
                  <a:prstClr val="white"/>
                </a:solidFill>
                <a:effectLst/>
                <a:uLnTx/>
                <a:uFillTx/>
                <a:latin typeface="Century Gothic" panose="020B0502020202020204" pitchFamily="34" charset="0"/>
              </a:rPr>
              <a:t>Fasteners</a:t>
            </a:r>
          </a:p>
        </p:txBody>
      </p:sp>
      <p:grpSp>
        <p:nvGrpSpPr>
          <p:cNvPr id="49" name="Group 48">
            <a:extLst>
              <a:ext uri="{FF2B5EF4-FFF2-40B4-BE49-F238E27FC236}">
                <a16:creationId xmlns:a16="http://schemas.microsoft.com/office/drawing/2014/main" id="{E43BBAD4-DDA2-C048-EC2E-802923933637}"/>
              </a:ext>
            </a:extLst>
          </p:cNvPr>
          <p:cNvGrpSpPr/>
          <p:nvPr/>
        </p:nvGrpSpPr>
        <p:grpSpPr>
          <a:xfrm>
            <a:off x="273788" y="7252050"/>
            <a:ext cx="11670119" cy="5504381"/>
            <a:chOff x="273788" y="369986"/>
            <a:chExt cx="11670119" cy="5504381"/>
          </a:xfrm>
        </p:grpSpPr>
        <p:cxnSp>
          <p:nvCxnSpPr>
            <p:cNvPr id="50" name="Straight Connector 49">
              <a:extLst>
                <a:ext uri="{FF2B5EF4-FFF2-40B4-BE49-F238E27FC236}">
                  <a16:creationId xmlns:a16="http://schemas.microsoft.com/office/drawing/2014/main" id="{6524746B-8AC4-DFFA-F1FE-F0E0A7B3FC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TextBox 50">
              <a:extLst>
                <a:ext uri="{FF2B5EF4-FFF2-40B4-BE49-F238E27FC236}">
                  <a16:creationId xmlns:a16="http://schemas.microsoft.com/office/drawing/2014/main" id="{5D3E4C0F-FC3B-3A8A-75C7-116DD74F9252}"/>
                </a:ext>
              </a:extLst>
            </p:cNvPr>
            <p:cNvSpPr txBox="1"/>
            <p:nvPr/>
          </p:nvSpPr>
          <p:spPr>
            <a:xfrm>
              <a:off x="281745" y="969272"/>
              <a:ext cx="4046199" cy="49359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Key metrics</a:t>
              </a:r>
            </a:p>
          </p:txBody>
        </p:sp>
        <p:grpSp>
          <p:nvGrpSpPr>
            <p:cNvPr id="52" name="!!financials">
              <a:extLst>
                <a:ext uri="{FF2B5EF4-FFF2-40B4-BE49-F238E27FC236}">
                  <a16:creationId xmlns:a16="http://schemas.microsoft.com/office/drawing/2014/main" id="{3B59FD37-8508-1303-6FC3-435BBD48C8D1}"/>
                </a:ext>
              </a:extLst>
            </p:cNvPr>
            <p:cNvGrpSpPr/>
            <p:nvPr/>
          </p:nvGrpSpPr>
          <p:grpSpPr>
            <a:xfrm>
              <a:off x="5842207" y="369986"/>
              <a:ext cx="507586" cy="507586"/>
              <a:chOff x="8769760" y="4481585"/>
              <a:chExt cx="507586" cy="507586"/>
            </a:xfrm>
          </p:grpSpPr>
          <p:sp useBgFill="1">
            <p:nvSpPr>
              <p:cNvPr id="89" name="Oval 88">
                <a:extLst>
                  <a:ext uri="{FF2B5EF4-FFF2-40B4-BE49-F238E27FC236}">
                    <a16:creationId xmlns:a16="http://schemas.microsoft.com/office/drawing/2014/main" id="{71372494-2FEC-500A-89E2-DE135F027DE5}"/>
                  </a:ext>
                </a:extLst>
              </p:cNvPr>
              <p:cNvSpPr/>
              <p:nvPr/>
            </p:nvSpPr>
            <p:spPr>
              <a:xfrm>
                <a:off x="8769760" y="4481585"/>
                <a:ext cx="507586" cy="507586"/>
              </a:xfrm>
              <a:prstGeom prst="ellipse">
                <a:avLst/>
              </a:prstGeom>
              <a:blipFill dpi="0" rotWithShape="0">
                <a:blip r:embed="rId2">
                  <a:lum/>
                </a:blip>
                <a:srcRect/>
                <a:stretch>
                  <a:fillRect l="-1558498" t="-308702" r="-743459" b="-94239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90" name="Graphic 89">
                <a:extLst>
                  <a:ext uri="{FF2B5EF4-FFF2-40B4-BE49-F238E27FC236}">
                    <a16:creationId xmlns:a16="http://schemas.microsoft.com/office/drawing/2014/main" id="{863D7D95-48C3-310F-2BD3-64D1BFAA24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grpSp>
          <p:nvGrpSpPr>
            <p:cNvPr id="53" name="Group 52">
              <a:extLst>
                <a:ext uri="{FF2B5EF4-FFF2-40B4-BE49-F238E27FC236}">
                  <a16:creationId xmlns:a16="http://schemas.microsoft.com/office/drawing/2014/main" id="{7CAF66A9-96AC-2ED7-012B-5F2A5E40BF82}"/>
                </a:ext>
              </a:extLst>
            </p:cNvPr>
            <p:cNvGrpSpPr/>
            <p:nvPr/>
          </p:nvGrpSpPr>
          <p:grpSpPr>
            <a:xfrm>
              <a:off x="273788" y="1808361"/>
              <a:ext cx="3733402" cy="1920950"/>
              <a:chOff x="273788" y="1808361"/>
              <a:chExt cx="3733402" cy="1920950"/>
            </a:xfrm>
          </p:grpSpPr>
          <p:sp>
            <p:nvSpPr>
              <p:cNvPr id="84" name="Rectangle: Rounded Corners 83">
                <a:extLst>
                  <a:ext uri="{FF2B5EF4-FFF2-40B4-BE49-F238E27FC236}">
                    <a16:creationId xmlns:a16="http://schemas.microsoft.com/office/drawing/2014/main" id="{5BC76EC0-292D-FEF8-5B0F-2F5F25BDEA7F}"/>
                  </a:ext>
                </a:extLst>
              </p:cNvPr>
              <p:cNvSpPr/>
              <p:nvPr/>
            </p:nvSpPr>
            <p:spPr>
              <a:xfrm>
                <a:off x="273788" y="1808361"/>
                <a:ext cx="3733402" cy="1920950"/>
              </a:xfrm>
              <a:prstGeom prst="roundRect">
                <a:avLst>
                  <a:gd name="adj" fmla="val 12077"/>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endParaRPr lang="en-GB" sz="2000">
                  <a:solidFill>
                    <a:schemeClr val="bg1"/>
                  </a:solidFill>
                  <a:latin typeface="Darker Grotesque SemiBold" pitchFamily="2" charset="0"/>
                </a:endParaRPr>
              </a:p>
            </p:txBody>
          </p:sp>
          <p:sp>
            <p:nvSpPr>
              <p:cNvPr id="85" name="Rectangle: Rounded Corners 13">
                <a:extLst>
                  <a:ext uri="{FF2B5EF4-FFF2-40B4-BE49-F238E27FC236}">
                    <a16:creationId xmlns:a16="http://schemas.microsoft.com/office/drawing/2014/main" id="{E3AF9191-3D95-0E36-2840-2048458978D5}"/>
                  </a:ext>
                </a:extLst>
              </p:cNvPr>
              <p:cNvSpPr/>
              <p:nvPr/>
            </p:nvSpPr>
            <p:spPr>
              <a:xfrm>
                <a:off x="3589231" y="3299098"/>
                <a:ext cx="259804" cy="259804"/>
              </a:xfrm>
              <a:prstGeom prst="roundRect">
                <a:avLst>
                  <a:gd name="adj" fmla="val 33110"/>
                </a:avLst>
              </a:prstGeom>
              <a:solidFill>
                <a:schemeClr val="bg1">
                  <a:alpha val="10000"/>
                </a:schemeClr>
              </a:solidFill>
              <a:ln w="6350" cap="rnd">
                <a:solidFill>
                  <a:srgbClr val="484525"/>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rgbClr val="484525"/>
                  </a:solidFill>
                  <a:latin typeface="+mj-lt"/>
                  <a:cs typeface="Poppins SemiBold" panose="00000700000000000000" pitchFamily="2" charset="0"/>
                </a:endParaRPr>
              </a:p>
            </p:txBody>
          </p:sp>
          <p:pic>
            <p:nvPicPr>
              <p:cNvPr id="86" name="Graphic 85">
                <a:extLst>
                  <a:ext uri="{FF2B5EF4-FFF2-40B4-BE49-F238E27FC236}">
                    <a16:creationId xmlns:a16="http://schemas.microsoft.com/office/drawing/2014/main" id="{09510F35-2AFA-5BB8-CF02-6EE8FAC6A7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20981" y="3330848"/>
                <a:ext cx="196304" cy="196304"/>
              </a:xfrm>
              <a:prstGeom prst="rect">
                <a:avLst/>
              </a:prstGeom>
            </p:spPr>
          </p:pic>
          <p:sp>
            <p:nvSpPr>
              <p:cNvPr id="87" name="TextBox 86">
                <a:extLst>
                  <a:ext uri="{FF2B5EF4-FFF2-40B4-BE49-F238E27FC236}">
                    <a16:creationId xmlns:a16="http://schemas.microsoft.com/office/drawing/2014/main" id="{B71F0252-730E-57E7-E61B-67A7EABEF815}"/>
                  </a:ext>
                </a:extLst>
              </p:cNvPr>
              <p:cNvSpPr txBox="1"/>
              <p:nvPr/>
            </p:nvSpPr>
            <p:spPr>
              <a:xfrm>
                <a:off x="447761" y="2115461"/>
                <a:ext cx="2268250"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solidFill>
                      <a:srgbClr val="484525"/>
                    </a:solidFill>
                    <a:latin typeface="+mj-lt"/>
                  </a:rPr>
                  <a:t>$97M+</a:t>
                </a:r>
                <a:endParaRPr lang="en-GB" sz="6600">
                  <a:solidFill>
                    <a:srgbClr val="484525"/>
                  </a:solidFill>
                  <a:latin typeface="+mj-lt"/>
                </a:endParaRPr>
              </a:p>
            </p:txBody>
          </p:sp>
          <p:sp>
            <p:nvSpPr>
              <p:cNvPr id="88" name="TextBox 87">
                <a:extLst>
                  <a:ext uri="{FF2B5EF4-FFF2-40B4-BE49-F238E27FC236}">
                    <a16:creationId xmlns:a16="http://schemas.microsoft.com/office/drawing/2014/main" id="{D07F80E1-3D1A-7ABD-78F8-90CF1974A29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srgbClr val="484525"/>
                    </a:solidFill>
                  </a:rPr>
                  <a:t>Provide more information about this key performance indicator.</a:t>
                </a:r>
                <a:endParaRPr lang="en-US">
                  <a:solidFill>
                    <a:srgbClr val="484525"/>
                  </a:solidFill>
                </a:endParaRPr>
              </a:p>
            </p:txBody>
          </p:sp>
        </p:grpSp>
        <p:grpSp>
          <p:nvGrpSpPr>
            <p:cNvPr id="54" name="Group 53">
              <a:extLst>
                <a:ext uri="{FF2B5EF4-FFF2-40B4-BE49-F238E27FC236}">
                  <a16:creationId xmlns:a16="http://schemas.microsoft.com/office/drawing/2014/main" id="{8F730538-205D-0B9C-6D84-764818C7C438}"/>
                </a:ext>
              </a:extLst>
            </p:cNvPr>
            <p:cNvGrpSpPr/>
            <p:nvPr/>
          </p:nvGrpSpPr>
          <p:grpSpPr>
            <a:xfrm>
              <a:off x="8184812" y="1808361"/>
              <a:ext cx="3733402" cy="1920950"/>
              <a:chOff x="273788" y="1808361"/>
              <a:chExt cx="3733402" cy="1920950"/>
            </a:xfrm>
          </p:grpSpPr>
          <p:sp>
            <p:nvSpPr>
              <p:cNvPr id="79" name="Rectangle: Rounded Corners 78">
                <a:extLst>
                  <a:ext uri="{FF2B5EF4-FFF2-40B4-BE49-F238E27FC236}">
                    <a16:creationId xmlns:a16="http://schemas.microsoft.com/office/drawing/2014/main" id="{08ABCF36-F542-EE98-D8F0-68C4DF877444}"/>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80" name="Rectangle: Rounded Corners 13">
                <a:extLst>
                  <a:ext uri="{FF2B5EF4-FFF2-40B4-BE49-F238E27FC236}">
                    <a16:creationId xmlns:a16="http://schemas.microsoft.com/office/drawing/2014/main" id="{25D0B79D-92CC-C329-6E9D-192CA4764D63}"/>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81" name="Graphic 80">
                <a:extLst>
                  <a:ext uri="{FF2B5EF4-FFF2-40B4-BE49-F238E27FC236}">
                    <a16:creationId xmlns:a16="http://schemas.microsoft.com/office/drawing/2014/main" id="{C3E8C9BB-137E-9B7B-13E9-009C5E0E10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82" name="TextBox 81">
                <a:extLst>
                  <a:ext uri="{FF2B5EF4-FFF2-40B4-BE49-F238E27FC236}">
                    <a16:creationId xmlns:a16="http://schemas.microsoft.com/office/drawing/2014/main" id="{573ACBD1-7D9C-EC58-3E03-1197EFB6A7A8}"/>
                  </a:ext>
                </a:extLst>
              </p:cNvPr>
              <p:cNvSpPr txBox="1"/>
              <p:nvPr/>
            </p:nvSpPr>
            <p:spPr>
              <a:xfrm>
                <a:off x="447761" y="2115461"/>
                <a:ext cx="1384995"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78%</a:t>
                </a:r>
                <a:endParaRPr lang="en-GB" sz="6600">
                  <a:latin typeface="+mj-lt"/>
                </a:endParaRPr>
              </a:p>
            </p:txBody>
          </p:sp>
          <p:sp>
            <p:nvSpPr>
              <p:cNvPr id="83" name="TextBox 82">
                <a:extLst>
                  <a:ext uri="{FF2B5EF4-FFF2-40B4-BE49-F238E27FC236}">
                    <a16:creationId xmlns:a16="http://schemas.microsoft.com/office/drawing/2014/main" id="{4DD689BD-3557-D487-6DE2-16F686914BB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5" name="Group 54">
              <a:extLst>
                <a:ext uri="{FF2B5EF4-FFF2-40B4-BE49-F238E27FC236}">
                  <a16:creationId xmlns:a16="http://schemas.microsoft.com/office/drawing/2014/main" id="{69D12F26-4D99-1D29-4E84-0E99D4D2FD86}"/>
                </a:ext>
              </a:extLst>
            </p:cNvPr>
            <p:cNvGrpSpPr/>
            <p:nvPr/>
          </p:nvGrpSpPr>
          <p:grpSpPr>
            <a:xfrm>
              <a:off x="4229299" y="1808361"/>
              <a:ext cx="3733402" cy="1920950"/>
              <a:chOff x="273788" y="1808361"/>
              <a:chExt cx="3733402" cy="1920950"/>
            </a:xfrm>
          </p:grpSpPr>
          <p:sp>
            <p:nvSpPr>
              <p:cNvPr id="74" name="Rectangle: Rounded Corners 73">
                <a:extLst>
                  <a:ext uri="{FF2B5EF4-FFF2-40B4-BE49-F238E27FC236}">
                    <a16:creationId xmlns:a16="http://schemas.microsoft.com/office/drawing/2014/main" id="{DACF0A22-B500-6A9E-1D24-1C989F2F54FA}"/>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75" name="Rectangle: Rounded Corners 13">
                <a:extLst>
                  <a:ext uri="{FF2B5EF4-FFF2-40B4-BE49-F238E27FC236}">
                    <a16:creationId xmlns:a16="http://schemas.microsoft.com/office/drawing/2014/main" id="{7415F173-067C-E4A0-CD3B-0E27A0A8BE6F}"/>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76" name="Graphic 75">
                <a:extLst>
                  <a:ext uri="{FF2B5EF4-FFF2-40B4-BE49-F238E27FC236}">
                    <a16:creationId xmlns:a16="http://schemas.microsoft.com/office/drawing/2014/main" id="{102F3937-8C80-D06A-DA95-C322C26963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7" name="TextBox 76">
                <a:extLst>
                  <a:ext uri="{FF2B5EF4-FFF2-40B4-BE49-F238E27FC236}">
                    <a16:creationId xmlns:a16="http://schemas.microsoft.com/office/drawing/2014/main" id="{E24BC47B-7759-3658-A1D3-F67E0BA0731F}"/>
                  </a:ext>
                </a:extLst>
              </p:cNvPr>
              <p:cNvSpPr txBox="1"/>
              <p:nvPr/>
            </p:nvSpPr>
            <p:spPr>
              <a:xfrm>
                <a:off x="447761" y="2115461"/>
                <a:ext cx="1112484"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x10</a:t>
                </a:r>
                <a:endParaRPr lang="en-GB" sz="6600">
                  <a:latin typeface="+mj-lt"/>
                </a:endParaRPr>
              </a:p>
            </p:txBody>
          </p:sp>
          <p:sp>
            <p:nvSpPr>
              <p:cNvPr id="78" name="TextBox 77">
                <a:extLst>
                  <a:ext uri="{FF2B5EF4-FFF2-40B4-BE49-F238E27FC236}">
                    <a16:creationId xmlns:a16="http://schemas.microsoft.com/office/drawing/2014/main" id="{A71B6A03-79E7-432C-584D-A3A2C81BEBAA}"/>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6" name="Group 55">
              <a:extLst>
                <a:ext uri="{FF2B5EF4-FFF2-40B4-BE49-F238E27FC236}">
                  <a16:creationId xmlns:a16="http://schemas.microsoft.com/office/drawing/2014/main" id="{6C27343D-FB93-35AF-40F5-BDAFC5AAD602}"/>
                </a:ext>
              </a:extLst>
            </p:cNvPr>
            <p:cNvGrpSpPr/>
            <p:nvPr/>
          </p:nvGrpSpPr>
          <p:grpSpPr>
            <a:xfrm>
              <a:off x="273788" y="3953417"/>
              <a:ext cx="3733402" cy="1920950"/>
              <a:chOff x="273788" y="1808361"/>
              <a:chExt cx="3733402" cy="1920950"/>
            </a:xfrm>
          </p:grpSpPr>
          <p:sp>
            <p:nvSpPr>
              <p:cNvPr id="69" name="Rectangle: Rounded Corners 68">
                <a:extLst>
                  <a:ext uri="{FF2B5EF4-FFF2-40B4-BE49-F238E27FC236}">
                    <a16:creationId xmlns:a16="http://schemas.microsoft.com/office/drawing/2014/main" id="{01131CC5-EF57-894E-506A-CD8454BC3355}"/>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70" name="Rectangle: Rounded Corners 13">
                <a:extLst>
                  <a:ext uri="{FF2B5EF4-FFF2-40B4-BE49-F238E27FC236}">
                    <a16:creationId xmlns:a16="http://schemas.microsoft.com/office/drawing/2014/main" id="{6DF9CE2C-E6A8-4A28-F2CE-FE50AEC369F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71" name="Graphic 70">
                <a:extLst>
                  <a:ext uri="{FF2B5EF4-FFF2-40B4-BE49-F238E27FC236}">
                    <a16:creationId xmlns:a16="http://schemas.microsoft.com/office/drawing/2014/main" id="{A397A33A-5C33-4B22-0820-9A5D8452B2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2" name="TextBox 71">
                <a:extLst>
                  <a:ext uri="{FF2B5EF4-FFF2-40B4-BE49-F238E27FC236}">
                    <a16:creationId xmlns:a16="http://schemas.microsoft.com/office/drawing/2014/main" id="{D8B92B2D-5231-3CC0-1091-C7C78B0D9346}"/>
                  </a:ext>
                </a:extLst>
              </p:cNvPr>
              <p:cNvSpPr txBox="1"/>
              <p:nvPr/>
            </p:nvSpPr>
            <p:spPr>
              <a:xfrm>
                <a:off x="447761" y="2115461"/>
                <a:ext cx="1412246"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99%</a:t>
                </a:r>
                <a:endParaRPr lang="en-GB" sz="6600">
                  <a:latin typeface="+mj-lt"/>
                </a:endParaRPr>
              </a:p>
            </p:txBody>
          </p:sp>
          <p:sp>
            <p:nvSpPr>
              <p:cNvPr id="73" name="TextBox 72">
                <a:extLst>
                  <a:ext uri="{FF2B5EF4-FFF2-40B4-BE49-F238E27FC236}">
                    <a16:creationId xmlns:a16="http://schemas.microsoft.com/office/drawing/2014/main" id="{50451393-37A2-55DA-1FC9-3FD0C3F4D5BD}"/>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7" name="Group 56">
              <a:extLst>
                <a:ext uri="{FF2B5EF4-FFF2-40B4-BE49-F238E27FC236}">
                  <a16:creationId xmlns:a16="http://schemas.microsoft.com/office/drawing/2014/main" id="{73D45429-700C-28FE-C3C7-7C70A049C3E9}"/>
                </a:ext>
              </a:extLst>
            </p:cNvPr>
            <p:cNvGrpSpPr/>
            <p:nvPr/>
          </p:nvGrpSpPr>
          <p:grpSpPr>
            <a:xfrm>
              <a:off x="8184812" y="3953417"/>
              <a:ext cx="3733402" cy="1920950"/>
              <a:chOff x="273788" y="1808361"/>
              <a:chExt cx="3733402" cy="1920950"/>
            </a:xfrm>
          </p:grpSpPr>
          <p:sp>
            <p:nvSpPr>
              <p:cNvPr id="64" name="Rectangle: Rounded Corners 63">
                <a:extLst>
                  <a:ext uri="{FF2B5EF4-FFF2-40B4-BE49-F238E27FC236}">
                    <a16:creationId xmlns:a16="http://schemas.microsoft.com/office/drawing/2014/main" id="{BA23A1AB-1FAC-0038-3E32-052EC9101E5D}"/>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65" name="Rectangle: Rounded Corners 13">
                <a:extLst>
                  <a:ext uri="{FF2B5EF4-FFF2-40B4-BE49-F238E27FC236}">
                    <a16:creationId xmlns:a16="http://schemas.microsoft.com/office/drawing/2014/main" id="{A305DC71-9C50-8968-0212-9CB21DE755B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66" name="Graphic 65">
                <a:extLst>
                  <a:ext uri="{FF2B5EF4-FFF2-40B4-BE49-F238E27FC236}">
                    <a16:creationId xmlns:a16="http://schemas.microsoft.com/office/drawing/2014/main" id="{A799058B-7BA4-66A1-0363-B821416D75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7" name="TextBox 66">
                <a:extLst>
                  <a:ext uri="{FF2B5EF4-FFF2-40B4-BE49-F238E27FC236}">
                    <a16:creationId xmlns:a16="http://schemas.microsoft.com/office/drawing/2014/main" id="{0A5EA7DE-034D-EA3E-67E6-D11682B8A78C}"/>
                  </a:ext>
                </a:extLst>
              </p:cNvPr>
              <p:cNvSpPr txBox="1"/>
              <p:nvPr/>
            </p:nvSpPr>
            <p:spPr>
              <a:xfrm>
                <a:off x="447761" y="2115461"/>
                <a:ext cx="1949252"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1.7M</a:t>
                </a:r>
                <a:endParaRPr lang="en-GB" sz="6600">
                  <a:latin typeface="+mj-lt"/>
                </a:endParaRPr>
              </a:p>
            </p:txBody>
          </p:sp>
          <p:sp>
            <p:nvSpPr>
              <p:cNvPr id="68" name="TextBox 67">
                <a:extLst>
                  <a:ext uri="{FF2B5EF4-FFF2-40B4-BE49-F238E27FC236}">
                    <a16:creationId xmlns:a16="http://schemas.microsoft.com/office/drawing/2014/main" id="{AADFA3A1-3A8A-7E32-8952-1E14FF68B99B}"/>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nvGrpSpPr>
            <p:cNvPr id="58" name="Group 57">
              <a:extLst>
                <a:ext uri="{FF2B5EF4-FFF2-40B4-BE49-F238E27FC236}">
                  <a16:creationId xmlns:a16="http://schemas.microsoft.com/office/drawing/2014/main" id="{7C05DF1C-9FEC-2AAA-C749-6F7F61BDAAB6}"/>
                </a:ext>
              </a:extLst>
            </p:cNvPr>
            <p:cNvGrpSpPr/>
            <p:nvPr/>
          </p:nvGrpSpPr>
          <p:grpSpPr>
            <a:xfrm>
              <a:off x="4229299" y="3953417"/>
              <a:ext cx="3733402" cy="1920950"/>
              <a:chOff x="273788" y="1808361"/>
              <a:chExt cx="3733402" cy="1920950"/>
            </a:xfrm>
          </p:grpSpPr>
          <p:sp>
            <p:nvSpPr>
              <p:cNvPr id="59" name="Rectangle: Rounded Corners 58">
                <a:extLst>
                  <a:ext uri="{FF2B5EF4-FFF2-40B4-BE49-F238E27FC236}">
                    <a16:creationId xmlns:a16="http://schemas.microsoft.com/office/drawing/2014/main" id="{C62122E4-73FC-083C-3CE7-2D9F394E4CBE}"/>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a:solidFill>
                    <a:srgbClr val="FFFFFF"/>
                  </a:solidFill>
                  <a:latin typeface="Darker Grotesque" pitchFamily="2" charset="0"/>
                  <a:cs typeface="Poppins SemiBold" panose="00000700000000000000" pitchFamily="2" charset="0"/>
                </a:endParaRPr>
              </a:p>
            </p:txBody>
          </p:sp>
          <p:sp>
            <p:nvSpPr>
              <p:cNvPr id="60" name="Rectangle: Rounded Corners 13">
                <a:extLst>
                  <a:ext uri="{FF2B5EF4-FFF2-40B4-BE49-F238E27FC236}">
                    <a16:creationId xmlns:a16="http://schemas.microsoft.com/office/drawing/2014/main" id="{74358380-ACA3-DD5E-E3F9-2C603522B922}"/>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a:solidFill>
                    <a:schemeClr val="bg1"/>
                  </a:solidFill>
                  <a:latin typeface="+mj-lt"/>
                  <a:cs typeface="Poppins SemiBold" panose="00000700000000000000" pitchFamily="2" charset="0"/>
                </a:endParaRPr>
              </a:p>
            </p:txBody>
          </p:sp>
          <p:pic>
            <p:nvPicPr>
              <p:cNvPr id="61" name="Graphic 60">
                <a:extLst>
                  <a:ext uri="{FF2B5EF4-FFF2-40B4-BE49-F238E27FC236}">
                    <a16:creationId xmlns:a16="http://schemas.microsoft.com/office/drawing/2014/main" id="{F82CDB29-1387-C5D2-CF9A-76C7A0D1B7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2" name="TextBox 61">
                <a:extLst>
                  <a:ext uri="{FF2B5EF4-FFF2-40B4-BE49-F238E27FC236}">
                    <a16:creationId xmlns:a16="http://schemas.microsoft.com/office/drawing/2014/main" id="{3469D3ED-46E6-5564-50EA-6D819A2F0C96}"/>
                  </a:ext>
                </a:extLst>
              </p:cNvPr>
              <p:cNvSpPr txBox="1"/>
              <p:nvPr/>
            </p:nvSpPr>
            <p:spPr>
              <a:xfrm>
                <a:off x="447761" y="2115461"/>
                <a:ext cx="2088713"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a:latin typeface="+mj-lt"/>
                  </a:rPr>
                  <a:t>770K+</a:t>
                </a:r>
                <a:endParaRPr lang="en-GB" sz="6600">
                  <a:latin typeface="+mj-lt"/>
                </a:endParaRPr>
              </a:p>
            </p:txBody>
          </p:sp>
          <p:sp>
            <p:nvSpPr>
              <p:cNvPr id="63" name="TextBox 62">
                <a:extLst>
                  <a:ext uri="{FF2B5EF4-FFF2-40B4-BE49-F238E27FC236}">
                    <a16:creationId xmlns:a16="http://schemas.microsoft.com/office/drawing/2014/main" id="{15E7E710-06FF-39C6-2C66-90FEF65B31E8}"/>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a:solidFill>
                      <a:prstClr val="white">
                        <a:alpha val="50000"/>
                      </a:prstClr>
                    </a:solidFill>
                  </a:rPr>
                  <a:t>Provide more information about this key performance indicator.</a:t>
                </a:r>
                <a:endParaRPr lang="en-US">
                  <a:solidFill>
                    <a:prstClr val="white">
                      <a:alpha val="50000"/>
                    </a:prstClr>
                  </a:solidFill>
                </a:endParaRPr>
              </a:p>
            </p:txBody>
          </p:sp>
        </p:grpSp>
      </p:gr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mc:Choice xmlns:p159="http://schemas.microsoft.com/office/powerpoint/2015/09/main" Requires="p159">
      <p:transition spd="slow" advTm="0">
        <p159:morph option="byObject"/>
      </p:transition>
    </mc:Choice>
    <mc:Fallback>
      <p:transition spd="slow"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B0D85-AFCC-0F7E-4199-E5EEAA1B1A1A}"/>
            </a:ext>
          </a:extLst>
        </p:cNvPr>
        <p:cNvGrpSpPr/>
        <p:nvPr/>
      </p:nvGrpSpPr>
      <p:grpSpPr>
        <a:xfrm>
          <a:off x="0" y="0"/>
          <a:ext cx="0" cy="0"/>
          <a:chOff x="0" y="0"/>
          <a:chExt cx="0" cy="0"/>
        </a:xfrm>
      </p:grpSpPr>
      <p:pic>
        <p:nvPicPr>
          <p:cNvPr id="4" name="Picture 3" descr="A white and blue background&#10;&#10;AI-generated content may be incorrect.">
            <a:extLst>
              <a:ext uri="{FF2B5EF4-FFF2-40B4-BE49-F238E27FC236}">
                <a16:creationId xmlns:a16="http://schemas.microsoft.com/office/drawing/2014/main" id="{9CC690F5-E6C6-95A3-5116-389B1844E89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9" name="Straight Connector 8">
            <a:extLst>
              <a:ext uri="{FF2B5EF4-FFF2-40B4-BE49-F238E27FC236}">
                <a16:creationId xmlns:a16="http://schemas.microsoft.com/office/drawing/2014/main" id="{15675059-4188-BF5F-1A85-A9123B0B5B45}"/>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pic>
        <p:nvPicPr>
          <p:cNvPr id="7" name="Picture 6" descr="A logo with text and a square with a arrow up&#10;&#10;AI-generated content may be incorrect.">
            <a:extLst>
              <a:ext uri="{FF2B5EF4-FFF2-40B4-BE49-F238E27FC236}">
                <a16:creationId xmlns:a16="http://schemas.microsoft.com/office/drawing/2014/main" id="{45CD2E42-2377-F700-1E1B-44944AF514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96012" y="175527"/>
            <a:ext cx="896504" cy="896504"/>
          </a:xfrm>
          <a:prstGeom prst="roundRect">
            <a:avLst/>
          </a:prstGeom>
        </p:spPr>
      </p:pic>
      <p:sp>
        <p:nvSpPr>
          <p:cNvPr id="10" name="Oval 9">
            <a:extLst>
              <a:ext uri="{FF2B5EF4-FFF2-40B4-BE49-F238E27FC236}">
                <a16:creationId xmlns:a16="http://schemas.microsoft.com/office/drawing/2014/main" id="{4FDD7729-CAB1-036B-A491-D10C7CC24403}"/>
              </a:ext>
            </a:extLst>
          </p:cNvPr>
          <p:cNvSpPr/>
          <p:nvPr/>
        </p:nvSpPr>
        <p:spPr>
          <a:xfrm>
            <a:off x="5814956" y="369986"/>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68" name="Graphic 167" descr="Wrench with solid fill">
            <a:extLst>
              <a:ext uri="{FF2B5EF4-FFF2-40B4-BE49-F238E27FC236}">
                <a16:creationId xmlns:a16="http://schemas.microsoft.com/office/drawing/2014/main" id="{96BDD5FA-C765-E387-6557-6D6948CFE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4621" y="489651"/>
            <a:ext cx="268255" cy="268255"/>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4EFE0EA-67B5-182D-EACA-F2379947EA41}"/>
                  </a:ext>
                </a:extLst>
              </p:cNvPr>
              <p:cNvSpPr txBox="1"/>
              <p:nvPr/>
            </p:nvSpPr>
            <p:spPr>
              <a:xfrm>
                <a:off x="5934621" y="1128371"/>
                <a:ext cx="6009286" cy="5572295"/>
              </a:xfrm>
              <a:prstGeom prst="rect">
                <a:avLst/>
              </a:prstGeom>
              <a:noFill/>
            </p:spPr>
            <p:txBody>
              <a:bodyPr wrap="square" rtlCol="0">
                <a:spAutoFit/>
              </a:bodyPr>
              <a:lstStyle/>
              <a:p>
                <a:pPr marL="342900" indent="-342900">
                  <a:buAutoNum type="arabicPeriod"/>
                </a:pPr>
                <a:r>
                  <a:rPr lang="en-AU" b="1"/>
                  <a:t>Calculation of expected of life</a:t>
                </a:r>
              </a:p>
              <a:p>
                <a:pPr marL="342900" indent="-342900">
                  <a:buAutoNum type="arabicPeriod"/>
                </a:pPr>
                <a:endParaRPr lang="en-AU"/>
              </a:p>
              <a:p>
                <a:pPr/>
                <a14:m>
                  <m:oMathPara xmlns:m="http://schemas.openxmlformats.org/officeDocument/2006/math">
                    <m:oMathParaPr>
                      <m:jc m:val="centerGroup"/>
                    </m:oMathParaPr>
                    <m:oMath xmlns:m="http://schemas.openxmlformats.org/officeDocument/2006/math">
                      <m:r>
                        <a:rPr lang="en-AU" b="0" i="1" smtClean="0">
                          <a:latin typeface="Cambria Math" panose="02040503050406030204" pitchFamily="18" charset="0"/>
                        </a:rPr>
                        <m:t>𝐿</m:t>
                      </m:r>
                      <m:r>
                        <a:rPr lang="en-AU" b="0" i="1" smtClean="0">
                          <a:latin typeface="Cambria Math" panose="02040503050406030204" pitchFamily="18" charset="0"/>
                        </a:rPr>
                        <m:t>= </m:t>
                      </m:r>
                      <m:f>
                        <m:fPr>
                          <m:ctrlPr>
                            <a:rPr lang="en-AU" b="0" i="1" smtClean="0">
                              <a:latin typeface="Cambria Math" panose="02040503050406030204" pitchFamily="18" charset="0"/>
                            </a:rPr>
                          </m:ctrlPr>
                        </m:fPr>
                        <m:num>
                          <m:r>
                            <a:rPr lang="en-AU" b="0" i="1" smtClean="0">
                              <a:latin typeface="Cambria Math" panose="02040503050406030204" pitchFamily="18" charset="0"/>
                            </a:rPr>
                            <m:t>60 </m:t>
                          </m:r>
                          <m:r>
                            <a:rPr lang="en-AU" b="0" i="1" smtClean="0">
                              <a:latin typeface="Cambria Math" panose="02040503050406030204" pitchFamily="18" charset="0"/>
                            </a:rPr>
                            <m:t>𝑛</m:t>
                          </m:r>
                          <m:r>
                            <a:rPr lang="en-AU" b="0" i="1" smtClean="0">
                              <a:latin typeface="Cambria Math" panose="02040503050406030204" pitchFamily="18" charset="0"/>
                            </a:rPr>
                            <m:t> </m:t>
                          </m:r>
                          <m:sSub>
                            <m:sSubPr>
                              <m:ctrlPr>
                                <a:rPr lang="en-AU" b="0" i="1" smtClean="0">
                                  <a:latin typeface="Cambria Math" panose="02040503050406030204" pitchFamily="18" charset="0"/>
                                </a:rPr>
                              </m:ctrlPr>
                            </m:sSubPr>
                            <m:e>
                              <m:r>
                                <a:rPr lang="en-AU" b="0" i="1" smtClean="0">
                                  <a:latin typeface="Cambria Math" panose="02040503050406030204" pitchFamily="18" charset="0"/>
                                </a:rPr>
                                <m:t>𝐿</m:t>
                              </m:r>
                            </m:e>
                            <m:sub>
                              <m:r>
                                <a:rPr lang="en-AU" b="0" i="1" smtClean="0">
                                  <a:latin typeface="Cambria Math" panose="02040503050406030204" pitchFamily="18" charset="0"/>
                                </a:rPr>
                                <m:t>𝑛</m:t>
                              </m:r>
                            </m:sub>
                          </m:sSub>
                        </m:num>
                        <m:den>
                          <m:sSup>
                            <m:sSupPr>
                              <m:ctrlPr>
                                <a:rPr lang="en-AU" b="0" i="1" smtClean="0">
                                  <a:latin typeface="Cambria Math" panose="02040503050406030204" pitchFamily="18" charset="0"/>
                                </a:rPr>
                              </m:ctrlPr>
                            </m:sSupPr>
                            <m:e>
                              <m:r>
                                <a:rPr lang="en-AU" b="0" i="1" smtClean="0">
                                  <a:latin typeface="Cambria Math" panose="02040503050406030204" pitchFamily="18" charset="0"/>
                                </a:rPr>
                                <m:t>10</m:t>
                              </m:r>
                            </m:e>
                            <m:sup>
                              <m:r>
                                <a:rPr lang="en-AU" b="0" i="1" smtClean="0">
                                  <a:latin typeface="Cambria Math" panose="02040503050406030204" pitchFamily="18" charset="0"/>
                                </a:rPr>
                                <m:t>6</m:t>
                              </m:r>
                            </m:sup>
                          </m:sSup>
                        </m:den>
                      </m:f>
                      <m:r>
                        <a:rPr lang="en-AU" b="0" i="1" smtClean="0">
                          <a:latin typeface="Cambria Math" panose="02040503050406030204" pitchFamily="18" charset="0"/>
                        </a:rPr>
                        <m:t> </m:t>
                      </m:r>
                      <m:r>
                        <a:rPr lang="en-AU" b="0" i="1" smtClean="0">
                          <a:latin typeface="Cambria Math" panose="02040503050406030204" pitchFamily="18" charset="0"/>
                        </a:rPr>
                        <m:t>𝑚𝑖𝑙𝑙𝑖𝑜𝑛𝑠</m:t>
                      </m:r>
                      <m:r>
                        <a:rPr lang="en-AU" b="0" i="1" smtClean="0">
                          <a:latin typeface="Cambria Math" panose="02040503050406030204" pitchFamily="18" charset="0"/>
                        </a:rPr>
                        <m:t> </m:t>
                      </m:r>
                      <m:r>
                        <a:rPr lang="en-AU" b="0" i="1" smtClean="0">
                          <a:latin typeface="Cambria Math" panose="02040503050406030204" pitchFamily="18" charset="0"/>
                        </a:rPr>
                        <m:t>𝑟𝑒𝑣</m:t>
                      </m:r>
                    </m:oMath>
                  </m:oMathPara>
                </a14:m>
                <a:endParaRPr lang="en-AU" b="0"/>
              </a:p>
              <a:p>
                <a:pPr/>
                <a14:m>
                  <m:oMathPara xmlns:m="http://schemas.openxmlformats.org/officeDocument/2006/math">
                    <m:oMathParaPr>
                      <m:jc m:val="centerGroup"/>
                    </m:oMathParaPr>
                    <m:oMath xmlns:m="http://schemas.openxmlformats.org/officeDocument/2006/math">
                      <m:r>
                        <a:rPr lang="en-AU" i="1">
                          <a:latin typeface="Cambria Math" panose="02040503050406030204" pitchFamily="18" charset="0"/>
                        </a:rPr>
                        <m:t>= </m:t>
                      </m:r>
                      <m:f>
                        <m:fPr>
                          <m:ctrlPr>
                            <a:rPr lang="en-AU" i="1">
                              <a:latin typeface="Cambria Math" panose="02040503050406030204" pitchFamily="18" charset="0"/>
                            </a:rPr>
                          </m:ctrlPr>
                        </m:fPr>
                        <m:num>
                          <m:r>
                            <a:rPr lang="en-AU" b="0" i="1" smtClean="0">
                              <a:latin typeface="Cambria Math" panose="02040503050406030204" pitchFamily="18" charset="0"/>
                            </a:rPr>
                            <m:t>(</m:t>
                          </m:r>
                          <m:r>
                            <a:rPr lang="en-AU" i="1">
                              <a:latin typeface="Cambria Math" panose="02040503050406030204" pitchFamily="18" charset="0"/>
                            </a:rPr>
                            <m:t>60</m:t>
                          </m:r>
                          <m:r>
                            <a:rPr lang="en-AU" b="0" i="1" smtClean="0">
                              <a:latin typeface="Cambria Math" panose="02040503050406030204" pitchFamily="18" charset="0"/>
                            </a:rPr>
                            <m:t>)(10)(87600)</m:t>
                          </m:r>
                        </m:num>
                        <m:den>
                          <m:sSup>
                            <m:sSupPr>
                              <m:ctrlPr>
                                <a:rPr lang="en-AU" i="1">
                                  <a:latin typeface="Cambria Math" panose="02040503050406030204" pitchFamily="18" charset="0"/>
                                </a:rPr>
                              </m:ctrlPr>
                            </m:sSupPr>
                            <m:e>
                              <m:r>
                                <a:rPr lang="en-AU" i="1">
                                  <a:latin typeface="Cambria Math" panose="02040503050406030204" pitchFamily="18" charset="0"/>
                                </a:rPr>
                                <m:t>10</m:t>
                              </m:r>
                            </m:e>
                            <m:sup>
                              <m:r>
                                <a:rPr lang="en-AU" i="1">
                                  <a:latin typeface="Cambria Math" panose="02040503050406030204" pitchFamily="18" charset="0"/>
                                </a:rPr>
                                <m:t>6</m:t>
                              </m:r>
                            </m:sup>
                          </m:sSup>
                        </m:den>
                      </m:f>
                      <m:r>
                        <a:rPr lang="en-AU" b="0" i="1" smtClean="0">
                          <a:latin typeface="Cambria Math" panose="02040503050406030204" pitchFamily="18" charset="0"/>
                        </a:rPr>
                        <m:t>=52.52 </m:t>
                      </m:r>
                      <m:r>
                        <a:rPr lang="en-AU" b="0" i="1" smtClean="0">
                          <a:latin typeface="Cambria Math" panose="02040503050406030204" pitchFamily="18" charset="0"/>
                        </a:rPr>
                        <m:t>𝑚𝑖𝑙𝑙𝑖𝑜𝑛𝑠</m:t>
                      </m:r>
                      <m:r>
                        <a:rPr lang="en-AU" b="0" i="1" smtClean="0">
                          <a:latin typeface="Cambria Math" panose="02040503050406030204" pitchFamily="18" charset="0"/>
                        </a:rPr>
                        <m:t> </m:t>
                      </m:r>
                      <m:r>
                        <a:rPr lang="en-AU" b="0" i="1" smtClean="0">
                          <a:latin typeface="Cambria Math" panose="02040503050406030204" pitchFamily="18" charset="0"/>
                        </a:rPr>
                        <m:t>𝑟𝑒𝑣</m:t>
                      </m:r>
                      <m:r>
                        <a:rPr lang="en-AU" b="0" i="1" smtClean="0">
                          <a:latin typeface="Cambria Math" panose="02040503050406030204" pitchFamily="18" charset="0"/>
                        </a:rPr>
                        <m:t> </m:t>
                      </m:r>
                    </m:oMath>
                  </m:oMathPara>
                </a14:m>
                <a:endParaRPr lang="en-AU" b="0"/>
              </a:p>
              <a:p>
                <a:endParaRPr lang="en-AU" b="0"/>
              </a:p>
              <a:p>
                <a:r>
                  <a:rPr lang="en-AU" b="1"/>
                  <a:t> 2. Selection of bearing types: 10BC02 </a:t>
                </a:r>
              </a:p>
              <a:p>
                <a:endParaRPr lang="en-AU" i="1">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AU" i="1" smtClean="0">
                              <a:latin typeface="Cambria Math" panose="02040503050406030204" pitchFamily="18" charset="0"/>
                            </a:rPr>
                          </m:ctrlPr>
                        </m:sSubPr>
                        <m:e>
                          <m:r>
                            <a:rPr lang="en-AU" b="0" i="1" smtClean="0">
                              <a:latin typeface="Cambria Math" panose="02040503050406030204" pitchFamily="18" charset="0"/>
                            </a:rPr>
                            <m:t>𝐶</m:t>
                          </m:r>
                        </m:e>
                        <m:sub>
                          <m:r>
                            <a:rPr lang="en-AU" b="0" i="1" smtClean="0">
                              <a:latin typeface="Cambria Math" panose="02040503050406030204" pitchFamily="18" charset="0"/>
                            </a:rPr>
                            <m:t>0 </m:t>
                          </m:r>
                        </m:sub>
                      </m:sSub>
                      <m:r>
                        <a:rPr lang="en-AU" b="0" i="1" smtClean="0">
                          <a:latin typeface="Cambria Math" panose="02040503050406030204" pitchFamily="18" charset="0"/>
                        </a:rPr>
                        <m:t>=224 </m:t>
                      </m:r>
                      <m:r>
                        <a:rPr lang="en-AU" b="0" i="1" smtClean="0">
                          <a:latin typeface="Cambria Math" panose="02040503050406030204" pitchFamily="18" charset="0"/>
                        </a:rPr>
                        <m:t>𝑘𝑔𝑓</m:t>
                      </m:r>
                      <m:r>
                        <a:rPr lang="en-AU" b="0" i="1" smtClean="0">
                          <a:latin typeface="Cambria Math" panose="02040503050406030204" pitchFamily="18" charset="0"/>
                        </a:rPr>
                        <m:t> </m:t>
                      </m:r>
                    </m:oMath>
                  </m:oMathPara>
                </a14:m>
                <a:endParaRPr lang="en-AU" b="0" i="1">
                  <a:latin typeface="Cambria Math" panose="02040503050406030204" pitchFamily="18" charset="0"/>
                </a:endParaRPr>
              </a:p>
              <a:p>
                <a:r>
                  <a:rPr lang="en-AU"/>
                  <a:t>    	           </a:t>
                </a:r>
                <a14:m>
                  <m:oMath xmlns:m="http://schemas.openxmlformats.org/officeDocument/2006/math">
                    <m:r>
                      <a:rPr lang="en-AU" b="0" i="0" smtClean="0">
                        <a:latin typeface="Cambria Math" panose="02040503050406030204" pitchFamily="18" charset="0"/>
                      </a:rPr>
                      <m:t>                                     </m:t>
                    </m:r>
                    <m:r>
                      <a:rPr lang="en-AU" i="1">
                        <a:latin typeface="Cambria Math" panose="02040503050406030204" pitchFamily="18" charset="0"/>
                      </a:rPr>
                      <m:t>=</m:t>
                    </m:r>
                    <m:r>
                      <a:rPr lang="en-AU" b="0" i="1" smtClean="0">
                        <a:latin typeface="Cambria Math" panose="02040503050406030204" pitchFamily="18" charset="0"/>
                      </a:rPr>
                      <m:t>2240 </m:t>
                    </m:r>
                    <m:r>
                      <a:rPr lang="en-AU" b="0" i="1" smtClean="0">
                        <a:latin typeface="Cambria Math" panose="02040503050406030204" pitchFamily="18" charset="0"/>
                      </a:rPr>
                      <m:t>𝑁</m:t>
                    </m:r>
                  </m:oMath>
                </a14:m>
                <a:endParaRPr lang="en-AU" i="1">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AU" b="0" i="1" smtClean="0">
                          <a:latin typeface="Cambria Math" panose="02040503050406030204" pitchFamily="18" charset="0"/>
                        </a:rPr>
                        <m:t>𝐶</m:t>
                      </m:r>
                      <m:r>
                        <a:rPr lang="en-AU" b="0" i="1" smtClean="0">
                          <a:latin typeface="Cambria Math" panose="02040503050406030204" pitchFamily="18" charset="0"/>
                        </a:rPr>
                        <m:t>=400 </m:t>
                      </m:r>
                      <m:r>
                        <a:rPr lang="en-AU" b="0" i="1" smtClean="0">
                          <a:latin typeface="Cambria Math" panose="02040503050406030204" pitchFamily="18" charset="0"/>
                        </a:rPr>
                        <m:t>𝑘𝑔𝑓</m:t>
                      </m:r>
                    </m:oMath>
                  </m:oMathPara>
                </a14:m>
                <a:endParaRPr lang="en-AU" b="0"/>
              </a:p>
              <a:p>
                <a:r>
                  <a:rPr lang="en-AU"/>
                  <a:t>                            </a:t>
                </a:r>
                <a14:m>
                  <m:oMath xmlns:m="http://schemas.openxmlformats.org/officeDocument/2006/math">
                    <m:r>
                      <a:rPr lang="en-AU" b="0" i="0" smtClean="0">
                        <a:latin typeface="Cambria Math" panose="02040503050406030204" pitchFamily="18" charset="0"/>
                      </a:rPr>
                      <m:t>                                     </m:t>
                    </m:r>
                    <m:r>
                      <a:rPr lang="en-AU" i="1">
                        <a:latin typeface="Cambria Math" panose="02040503050406030204" pitchFamily="18" charset="0"/>
                      </a:rPr>
                      <m:t>=400</m:t>
                    </m:r>
                    <m:r>
                      <a:rPr lang="en-AU" b="0" i="1" smtClean="0">
                        <a:latin typeface="Cambria Math" panose="02040503050406030204" pitchFamily="18" charset="0"/>
                      </a:rPr>
                      <m:t>0</m:t>
                    </m:r>
                    <m:r>
                      <a:rPr lang="en-AU" i="1">
                        <a:latin typeface="Cambria Math" panose="02040503050406030204" pitchFamily="18" charset="0"/>
                      </a:rPr>
                      <m:t> </m:t>
                    </m:r>
                    <m:r>
                      <a:rPr lang="en-AU" b="0" i="1" smtClean="0">
                        <a:latin typeface="Cambria Math" panose="02040503050406030204" pitchFamily="18" charset="0"/>
                      </a:rPr>
                      <m:t>𝑁</m:t>
                    </m:r>
                  </m:oMath>
                </a14:m>
                <a:br>
                  <a:rPr lang="en-AU"/>
                </a:br>
                <a:r>
                  <a:rPr lang="en-AU" b="1"/>
                  <a:t>3. Calculate of Equivalent load:</a:t>
                </a:r>
              </a:p>
              <a:p>
                <a:pPr/>
                <a14:m>
                  <m:oMathPara xmlns:m="http://schemas.openxmlformats.org/officeDocument/2006/math">
                    <m:oMathParaPr>
                      <m:jc m:val="centerGroup"/>
                    </m:oMathParaPr>
                    <m:oMath xmlns:m="http://schemas.openxmlformats.org/officeDocument/2006/math">
                      <m:r>
                        <a:rPr lang="en-AU" i="1">
                          <a:latin typeface="Cambria Math" panose="02040503050406030204" pitchFamily="18" charset="0"/>
                        </a:rPr>
                        <m:t>𝐶</m:t>
                      </m:r>
                      <m:r>
                        <a:rPr lang="en-AU" i="1">
                          <a:latin typeface="Cambria Math" panose="02040503050406030204" pitchFamily="18" charset="0"/>
                        </a:rPr>
                        <m:t>=400 </m:t>
                      </m:r>
                      <m:r>
                        <a:rPr lang="en-AU" i="1" smtClean="0">
                          <a:latin typeface="Cambria Math" panose="02040503050406030204" pitchFamily="18" charset="0"/>
                        </a:rPr>
                        <m:t>𝑘𝑔𝑓</m:t>
                      </m:r>
                    </m:oMath>
                  </m:oMathPara>
                </a14:m>
                <a:endParaRPr lang="en-AU"/>
              </a:p>
              <a:p>
                <a:pPr/>
                <a14:m>
                  <m:oMathPara xmlns:m="http://schemas.openxmlformats.org/officeDocument/2006/math">
                    <m:oMathParaPr>
                      <m:jc m:val="centerGroup"/>
                    </m:oMathParaPr>
                    <m:oMath xmlns:m="http://schemas.openxmlformats.org/officeDocument/2006/math">
                      <m:r>
                        <m:rPr>
                          <m:nor/>
                        </m:rPr>
                        <a:rPr lang="en-AU" dirty="0"/>
                        <m:t> </m:t>
                      </m:r>
                      <m:r>
                        <a:rPr lang="en-AU" i="1">
                          <a:latin typeface="Cambria Math" panose="02040503050406030204" pitchFamily="18" charset="0"/>
                        </a:rPr>
                        <m:t>=4000 </m:t>
                      </m:r>
                      <m:r>
                        <a:rPr lang="en-AU" i="1">
                          <a:latin typeface="Cambria Math" panose="02040503050406030204" pitchFamily="18" charset="0"/>
                        </a:rPr>
                        <m:t>𝑁</m:t>
                      </m:r>
                    </m:oMath>
                  </m:oMathPara>
                </a14:m>
                <a:endParaRPr lang="en-AU" i="1">
                  <a:latin typeface="Cambria Math" panose="02040503050406030204" pitchFamily="18" charset="0"/>
                </a:endParaRPr>
              </a:p>
              <a:p>
                <a:endParaRPr lang="en-AU"/>
              </a:p>
              <a:p>
                <a:pPr/>
                <a14:m>
                  <m:oMathPara xmlns:m="http://schemas.openxmlformats.org/officeDocument/2006/math">
                    <m:oMathParaPr>
                      <m:jc m:val="centerGroup"/>
                    </m:oMathParaPr>
                    <m:oMath xmlns:m="http://schemas.openxmlformats.org/officeDocument/2006/math">
                      <m:r>
                        <a:rPr lang="en-AU" b="0" i="1" smtClean="0">
                          <a:latin typeface="Cambria Math" panose="02040503050406030204" pitchFamily="18" charset="0"/>
                        </a:rPr>
                        <m:t>𝑃</m:t>
                      </m:r>
                      <m:r>
                        <a:rPr lang="en-AU" b="0" i="1" smtClean="0">
                          <a:latin typeface="Cambria Math" panose="02040503050406030204" pitchFamily="18" charset="0"/>
                        </a:rPr>
                        <m:t>=</m:t>
                      </m:r>
                      <m:d>
                        <m:dPr>
                          <m:ctrlPr>
                            <a:rPr lang="en-AU" b="0" i="1" smtClean="0">
                              <a:latin typeface="Cambria Math" panose="02040503050406030204" pitchFamily="18" charset="0"/>
                            </a:rPr>
                          </m:ctrlPr>
                        </m:dPr>
                        <m:e>
                          <m:r>
                            <a:rPr lang="en-AU" b="0" i="1" smtClean="0">
                              <a:latin typeface="Cambria Math" panose="02040503050406030204" pitchFamily="18" charset="0"/>
                            </a:rPr>
                            <m:t>𝑋</m:t>
                          </m:r>
                          <m:sSub>
                            <m:sSubPr>
                              <m:ctrlPr>
                                <a:rPr lang="en-AU" b="0" i="1" smtClean="0">
                                  <a:latin typeface="Cambria Math" panose="02040503050406030204" pitchFamily="18" charset="0"/>
                                </a:rPr>
                              </m:ctrlPr>
                            </m:sSubPr>
                            <m:e>
                              <m:r>
                                <a:rPr lang="en-AU" b="0" i="1" smtClean="0">
                                  <a:latin typeface="Cambria Math" panose="02040503050406030204" pitchFamily="18" charset="0"/>
                                </a:rPr>
                                <m:t>𝐹</m:t>
                              </m:r>
                            </m:e>
                            <m:sub>
                              <m:r>
                                <a:rPr lang="en-AU" b="0" i="1" smtClean="0">
                                  <a:latin typeface="Cambria Math" panose="02040503050406030204" pitchFamily="18" charset="0"/>
                                </a:rPr>
                                <m:t>𝑟</m:t>
                              </m:r>
                            </m:sub>
                          </m:sSub>
                          <m:r>
                            <a:rPr lang="en-AU" b="0" i="1" smtClean="0">
                              <a:latin typeface="Cambria Math" panose="02040503050406030204" pitchFamily="18" charset="0"/>
                            </a:rPr>
                            <m:t>+</m:t>
                          </m:r>
                          <m:r>
                            <a:rPr lang="en-AU" b="0" i="1" smtClean="0">
                              <a:latin typeface="Cambria Math" panose="02040503050406030204" pitchFamily="18" charset="0"/>
                            </a:rPr>
                            <m:t>𝑌</m:t>
                          </m:r>
                          <m:sSub>
                            <m:sSubPr>
                              <m:ctrlPr>
                                <a:rPr lang="en-AU" b="0" i="1" smtClean="0">
                                  <a:latin typeface="Cambria Math" panose="02040503050406030204" pitchFamily="18" charset="0"/>
                                </a:rPr>
                              </m:ctrlPr>
                            </m:sSubPr>
                            <m:e>
                              <m:r>
                                <a:rPr lang="en-AU" b="0" i="1" smtClean="0">
                                  <a:latin typeface="Cambria Math" panose="02040503050406030204" pitchFamily="18" charset="0"/>
                                </a:rPr>
                                <m:t>𝐹</m:t>
                              </m:r>
                            </m:e>
                            <m:sub>
                              <m:r>
                                <a:rPr lang="en-AU" b="0" i="1" smtClean="0">
                                  <a:latin typeface="Cambria Math" panose="02040503050406030204" pitchFamily="18" charset="0"/>
                                </a:rPr>
                                <m:t>𝑎</m:t>
                              </m:r>
                            </m:sub>
                          </m:sSub>
                        </m:e>
                      </m:d>
                      <m:r>
                        <a:rPr lang="en-AU" b="0" i="1" smtClean="0">
                          <a:latin typeface="Cambria Math" panose="02040503050406030204" pitchFamily="18" charset="0"/>
                        </a:rPr>
                        <m:t>𝑆</m:t>
                      </m:r>
                    </m:oMath>
                  </m:oMathPara>
                </a14:m>
                <a:endParaRPr lang="en-AU"/>
              </a:p>
              <a:p>
                <a:r>
                  <a:rPr lang="en-AU"/>
                  <a:t>			= ((1)(980)+0)1.2) </a:t>
                </a:r>
              </a:p>
              <a:p>
                <a:r>
                  <a:rPr lang="en-AU"/>
                  <a:t>			= 1176 N</a:t>
                </a:r>
              </a:p>
            </p:txBody>
          </p:sp>
        </mc:Choice>
        <mc:Fallback xmlns="">
          <p:sp>
            <p:nvSpPr>
              <p:cNvPr id="2" name="TextBox 1">
                <a:extLst>
                  <a:ext uri="{FF2B5EF4-FFF2-40B4-BE49-F238E27FC236}">
                    <a16:creationId xmlns:a16="http://schemas.microsoft.com/office/drawing/2014/main" id="{B4EFE0EA-67B5-182D-EACA-F2379947EA41}"/>
                  </a:ext>
                </a:extLst>
              </p:cNvPr>
              <p:cNvSpPr txBox="1">
                <a:spLocks noRot="1" noChangeAspect="1" noMove="1" noResize="1" noEditPoints="1" noAdjustHandles="1" noChangeArrowheads="1" noChangeShapeType="1" noTextEdit="1"/>
              </p:cNvSpPr>
              <p:nvPr/>
            </p:nvSpPr>
            <p:spPr>
              <a:xfrm>
                <a:off x="5934621" y="1128371"/>
                <a:ext cx="6009286" cy="5572295"/>
              </a:xfrm>
              <a:prstGeom prst="rect">
                <a:avLst/>
              </a:prstGeom>
              <a:blipFill>
                <a:blip r:embed="rId6"/>
                <a:stretch>
                  <a:fillRect l="-914" t="-547" b="-766"/>
                </a:stretch>
              </a:blipFill>
            </p:spPr>
            <p:txBody>
              <a:bodyPr/>
              <a:lstStyle/>
              <a:p>
                <a:r>
                  <a:rPr lang="en-AU">
                    <a:noFill/>
                  </a:rPr>
                  <a:t> </a:t>
                </a:r>
              </a:p>
            </p:txBody>
          </p:sp>
        </mc:Fallback>
      </mc:AlternateContent>
      <p:sp>
        <p:nvSpPr>
          <p:cNvPr id="8" name="TextBox 7">
            <a:extLst>
              <a:ext uri="{FF2B5EF4-FFF2-40B4-BE49-F238E27FC236}">
                <a16:creationId xmlns:a16="http://schemas.microsoft.com/office/drawing/2014/main" id="{88F94A33-8357-9A9A-FA40-FF3DC19865D9}"/>
              </a:ext>
            </a:extLst>
          </p:cNvPr>
          <p:cNvSpPr txBox="1"/>
          <p:nvPr/>
        </p:nvSpPr>
        <p:spPr>
          <a:xfrm>
            <a:off x="299484" y="407551"/>
            <a:ext cx="815929"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7333D"/>
                </a:solidFill>
                <a:effectLst/>
                <a:uLnTx/>
                <a:uFillTx/>
                <a:latin typeface="Darker Grotesque" pitchFamily="2" charset="0"/>
              </a:rPr>
              <a:t>Fastener</a:t>
            </a:r>
          </a:p>
        </p:txBody>
      </p:sp>
      <p:pic>
        <p:nvPicPr>
          <p:cNvPr id="14" name="Picture 13">
            <a:extLst>
              <a:ext uri="{FF2B5EF4-FFF2-40B4-BE49-F238E27FC236}">
                <a16:creationId xmlns:a16="http://schemas.microsoft.com/office/drawing/2014/main" id="{E4DFD73E-722B-CBC3-F15F-8FF61C3BB72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434" b="96017" l="7797" r="91618">
                        <a14:foregroundMark x1="14815" y1="42558" x2="15984" y2="70231"/>
                        <a14:foregroundMark x1="15984" y1="70231" x2="26511" y2="84906"/>
                        <a14:foregroundMark x1="26511" y1="84906" x2="38791" y2="93291"/>
                        <a14:foregroundMark x1="8967" y1="49057" x2="8382" y2="59748"/>
                        <a14:foregroundMark x1="37622" y1="15094" x2="54191" y2="10482"/>
                        <a14:foregroundMark x1="54191" y1="10482" x2="60234" y2="11950"/>
                        <a14:foregroundMark x1="91618" y1="39413" x2="90448" y2="64570"/>
                        <a14:foregroundMark x1="37622" y1="93291" x2="63548" y2="96017"/>
                        <a14:foregroundMark x1="63548" y1="96017" x2="69786" y2="95178"/>
                        <a14:foregroundMark x1="35088" y1="15094" x2="41910" y2="10273"/>
                        <a14:foregroundMark x1="40351" y1="10273" x2="60234" y2="11740"/>
                        <a14:foregroundMark x1="60234" y1="11740" x2="60819" y2="11950"/>
                        <a14:foregroundMark x1="41520" y1="10901" x2="57505" y2="10273"/>
                        <a14:foregroundMark x1="45419" y1="9434" x2="71540" y2="13627"/>
                      </a14:backgroundRemoval>
                    </a14:imgEffect>
                  </a14:imgLayer>
                </a14:imgProps>
              </a:ext>
            </a:extLst>
          </a:blip>
          <a:stretch>
            <a:fillRect/>
          </a:stretch>
        </p:blipFill>
        <p:spPr>
          <a:xfrm>
            <a:off x="707448" y="1986335"/>
            <a:ext cx="4461202" cy="4148134"/>
          </a:xfrm>
          <a:prstGeom prst="rect">
            <a:avLst/>
          </a:prstGeom>
        </p:spPr>
      </p:pic>
      <p:sp>
        <p:nvSpPr>
          <p:cNvPr id="15" name="TextBox 14">
            <a:extLst>
              <a:ext uri="{FF2B5EF4-FFF2-40B4-BE49-F238E27FC236}">
                <a16:creationId xmlns:a16="http://schemas.microsoft.com/office/drawing/2014/main" id="{67335A34-2824-36B3-8A78-0DD7AE793E45}"/>
              </a:ext>
            </a:extLst>
          </p:cNvPr>
          <p:cNvSpPr txBox="1"/>
          <p:nvPr/>
        </p:nvSpPr>
        <p:spPr>
          <a:xfrm>
            <a:off x="905457" y="1216894"/>
            <a:ext cx="4123707" cy="769441"/>
          </a:xfrm>
          <a:prstGeom prst="rect">
            <a:avLst/>
          </a:prstGeom>
          <a:noFill/>
        </p:spPr>
        <p:txBody>
          <a:bodyPr wrap="square" rtlCol="0">
            <a:spAutoFit/>
          </a:bodyPr>
          <a:lstStyle/>
          <a:p>
            <a:r>
              <a:rPr lang="en-AU" sz="4400"/>
              <a:t>Bearing analysis</a:t>
            </a:r>
          </a:p>
        </p:txBody>
      </p:sp>
    </p:spTree>
    <p:extLst>
      <p:ext uri="{BB962C8B-B14F-4D97-AF65-F5344CB8AC3E}">
        <p14:creationId xmlns:p14="http://schemas.microsoft.com/office/powerpoint/2010/main" val="2354532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75302-B684-E5A7-592E-B27668A6FDA3}"/>
            </a:ext>
          </a:extLst>
        </p:cNvPr>
        <p:cNvGrpSpPr/>
        <p:nvPr/>
      </p:nvGrpSpPr>
      <p:grpSpPr>
        <a:xfrm>
          <a:off x="0" y="0"/>
          <a:ext cx="0" cy="0"/>
          <a:chOff x="0" y="0"/>
          <a:chExt cx="0" cy="0"/>
        </a:xfrm>
      </p:grpSpPr>
      <p:pic>
        <p:nvPicPr>
          <p:cNvPr id="4" name="Picture 3" descr="A white and blue background&#10;&#10;AI-generated content may be incorrect.">
            <a:extLst>
              <a:ext uri="{FF2B5EF4-FFF2-40B4-BE49-F238E27FC236}">
                <a16:creationId xmlns:a16="http://schemas.microsoft.com/office/drawing/2014/main" id="{1C7C2961-CA51-BE12-8B28-7E74066DB88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9" name="Straight Connector 8">
            <a:extLst>
              <a:ext uri="{FF2B5EF4-FFF2-40B4-BE49-F238E27FC236}">
                <a16:creationId xmlns:a16="http://schemas.microsoft.com/office/drawing/2014/main" id="{7CDDA829-D63A-8555-91F4-A96C6CF83CB3}"/>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pic>
        <p:nvPicPr>
          <p:cNvPr id="7" name="Picture 6" descr="A logo with text and a square with a arrow up&#10;&#10;AI-generated content may be incorrect.">
            <a:extLst>
              <a:ext uri="{FF2B5EF4-FFF2-40B4-BE49-F238E27FC236}">
                <a16:creationId xmlns:a16="http://schemas.microsoft.com/office/drawing/2014/main" id="{92C45F4F-3635-C728-1C8C-8346686A5A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96012" y="175527"/>
            <a:ext cx="896504" cy="896504"/>
          </a:xfrm>
          <a:prstGeom prst="roundRect">
            <a:avLst/>
          </a:prstGeom>
        </p:spPr>
      </p:pic>
      <p:sp>
        <p:nvSpPr>
          <p:cNvPr id="10" name="Oval 9">
            <a:extLst>
              <a:ext uri="{FF2B5EF4-FFF2-40B4-BE49-F238E27FC236}">
                <a16:creationId xmlns:a16="http://schemas.microsoft.com/office/drawing/2014/main" id="{8136A7E7-69C8-A3CA-4A7E-B82B5E0E00C1}"/>
              </a:ext>
            </a:extLst>
          </p:cNvPr>
          <p:cNvSpPr/>
          <p:nvPr/>
        </p:nvSpPr>
        <p:spPr>
          <a:xfrm>
            <a:off x="5814956" y="369986"/>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68" name="Graphic 167" descr="Wrench with solid fill">
            <a:extLst>
              <a:ext uri="{FF2B5EF4-FFF2-40B4-BE49-F238E27FC236}">
                <a16:creationId xmlns:a16="http://schemas.microsoft.com/office/drawing/2014/main" id="{AC4EC24A-8564-46B2-AD89-2451E44E5C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4621" y="489651"/>
            <a:ext cx="268255" cy="268255"/>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DE97A45-CD51-C582-2E3B-E7008079FC96}"/>
                  </a:ext>
                </a:extLst>
              </p:cNvPr>
              <p:cNvSpPr txBox="1"/>
              <p:nvPr/>
            </p:nvSpPr>
            <p:spPr>
              <a:xfrm>
                <a:off x="6985000" y="1428940"/>
                <a:ext cx="5436018" cy="4238724"/>
              </a:xfrm>
              <a:prstGeom prst="rect">
                <a:avLst/>
              </a:prstGeom>
              <a:noFill/>
            </p:spPr>
            <p:txBody>
              <a:bodyPr wrap="square" rtlCol="0">
                <a:spAutoFit/>
              </a:bodyPr>
              <a:lstStyle/>
              <a:p>
                <a:r>
                  <a:rPr lang="en-AU" b="1" dirty="0">
                    <a:latin typeface="Cambria Math" panose="02040503050406030204" pitchFamily="18" charset="0"/>
                  </a:rPr>
                  <a:t>4. Expected life comparison </a:t>
                </a:r>
              </a:p>
              <a:p>
                <a:pPr/>
                <a14:m>
                  <m:oMathPara xmlns:m="http://schemas.openxmlformats.org/officeDocument/2006/math">
                    <m:oMathParaPr>
                      <m:jc m:val="centerGroup"/>
                    </m:oMathParaPr>
                    <m:oMath xmlns:m="http://schemas.openxmlformats.org/officeDocument/2006/math">
                      <m:r>
                        <m:rPr>
                          <m:sty m:val="p"/>
                        </m:rPr>
                        <a:rPr lang="en-AU" b="0" i="1" smtClean="0">
                          <a:latin typeface="Cambria Math" panose="02040503050406030204" pitchFamily="18" charset="0"/>
                        </a:rPr>
                        <m:t>C</m:t>
                      </m:r>
                      <m:r>
                        <a:rPr lang="en-AU" i="1">
                          <a:latin typeface="Cambria Math" panose="02040503050406030204" pitchFamily="18" charset="0"/>
                        </a:rPr>
                        <m:t>=</m:t>
                      </m:r>
                      <m:sSup>
                        <m:sSupPr>
                          <m:ctrlPr>
                            <a:rPr lang="en-AU" i="1">
                              <a:latin typeface="Cambria Math" panose="02040503050406030204" pitchFamily="18" charset="0"/>
                            </a:rPr>
                          </m:ctrlPr>
                        </m:sSupPr>
                        <m:e>
                          <m:r>
                            <m:rPr>
                              <m:sty m:val="p"/>
                            </m:rPr>
                            <a:rPr lang="en-AU" b="0" i="1" smtClean="0">
                              <a:latin typeface="Cambria Math" panose="02040503050406030204" pitchFamily="18" charset="0"/>
                            </a:rPr>
                            <m:t>P</m:t>
                          </m:r>
                          <m:r>
                            <m:rPr>
                              <m:nor/>
                            </m:rPr>
                            <a:rPr lang="en-AU" dirty="0"/>
                            <m:t> </m:t>
                          </m:r>
                          <m:d>
                            <m:dPr>
                              <m:ctrlPr>
                                <a:rPr lang="en-AU" i="1">
                                  <a:latin typeface="Cambria Math" panose="02040503050406030204" pitchFamily="18" charset="0"/>
                                </a:rPr>
                              </m:ctrlPr>
                            </m:dPr>
                            <m:e>
                              <m:f>
                                <m:fPr>
                                  <m:ctrlPr>
                                    <a:rPr lang="en-AU" i="1">
                                      <a:latin typeface="Cambria Math" panose="02040503050406030204" pitchFamily="18" charset="0"/>
                                    </a:rPr>
                                  </m:ctrlPr>
                                </m:fPr>
                                <m:num>
                                  <m:r>
                                    <m:rPr>
                                      <m:sty m:val="p"/>
                                    </m:rPr>
                                    <a:rPr lang="en-AU" i="1">
                                      <a:latin typeface="Cambria Math" panose="02040503050406030204" pitchFamily="18" charset="0"/>
                                    </a:rPr>
                                    <m:t>L</m:t>
                                  </m:r>
                                </m:num>
                                <m:den>
                                  <m:r>
                                    <a:rPr lang="en-AU" i="1">
                                      <a:latin typeface="Cambria Math" panose="02040503050406030204" pitchFamily="18" charset="0"/>
                                    </a:rPr>
                                    <m:t>1</m:t>
                                  </m:r>
                                </m:den>
                              </m:f>
                            </m:e>
                          </m:d>
                        </m:e>
                        <m:sup>
                          <m:r>
                            <a:rPr lang="en-AU" b="0" i="1" smtClean="0">
                              <a:latin typeface="Cambria Math" panose="02040503050406030204" pitchFamily="18" charset="0"/>
                            </a:rPr>
                            <m:t>3</m:t>
                          </m:r>
                          <m:r>
                            <a:rPr lang="en-AU" i="1">
                              <a:latin typeface="Cambria Math" panose="02040503050406030204" pitchFamily="18" charset="0"/>
                            </a:rPr>
                            <m:t>/</m:t>
                          </m:r>
                          <m:r>
                            <a:rPr lang="en-AU" b="0" i="1" smtClean="0">
                              <a:latin typeface="Cambria Math" panose="02040503050406030204" pitchFamily="18" charset="0"/>
                            </a:rPr>
                            <m:t>10</m:t>
                          </m:r>
                        </m:sup>
                      </m:sSup>
                    </m:oMath>
                  </m:oMathPara>
                </a14:m>
                <a:endParaRPr lang="en-AU"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AU" i="1">
                          <a:latin typeface="Cambria Math" panose="02040503050406030204" pitchFamily="18" charset="0"/>
                        </a:rPr>
                        <m:t>4</m:t>
                      </m:r>
                      <m:r>
                        <a:rPr lang="en-AU" b="0" i="1" smtClean="0">
                          <a:latin typeface="Cambria Math" panose="02040503050406030204" pitchFamily="18" charset="0"/>
                        </a:rPr>
                        <m:t>000</m:t>
                      </m:r>
                      <m:r>
                        <a:rPr lang="en-AU" i="1" smtClean="0">
                          <a:latin typeface="Cambria Math" panose="02040503050406030204" pitchFamily="18" charset="0"/>
                        </a:rPr>
                        <m:t>=</m:t>
                      </m:r>
                      <m:sSup>
                        <m:sSupPr>
                          <m:ctrlPr>
                            <a:rPr lang="en-AU" i="1" smtClean="0">
                              <a:latin typeface="Cambria Math" panose="02040503050406030204" pitchFamily="18" charset="0"/>
                            </a:rPr>
                          </m:ctrlPr>
                        </m:sSupPr>
                        <m:e>
                          <m:r>
                            <a:rPr lang="en-AU" i="1">
                              <a:latin typeface="Cambria Math" panose="02040503050406030204" pitchFamily="18" charset="0"/>
                            </a:rPr>
                            <m:t>1176</m:t>
                          </m:r>
                          <m:r>
                            <m:rPr>
                              <m:nor/>
                            </m:rPr>
                            <a:rPr lang="en-AU" dirty="0"/>
                            <m:t> </m:t>
                          </m:r>
                          <m:d>
                            <m:dPr>
                              <m:ctrlPr>
                                <a:rPr lang="en-AU" i="1">
                                  <a:latin typeface="Cambria Math" panose="02040503050406030204" pitchFamily="18" charset="0"/>
                                </a:rPr>
                              </m:ctrlPr>
                            </m:dPr>
                            <m:e>
                              <m:f>
                                <m:fPr>
                                  <m:ctrlPr>
                                    <a:rPr lang="en-AU" i="1">
                                      <a:latin typeface="Cambria Math" panose="02040503050406030204" pitchFamily="18" charset="0"/>
                                    </a:rPr>
                                  </m:ctrlPr>
                                </m:fPr>
                                <m:num>
                                  <m:r>
                                    <m:rPr>
                                      <m:sty m:val="p"/>
                                    </m:rPr>
                                    <a:rPr lang="en-AU" i="1">
                                      <a:latin typeface="Cambria Math" panose="02040503050406030204" pitchFamily="18" charset="0"/>
                                    </a:rPr>
                                    <m:t>L</m:t>
                                  </m:r>
                                </m:num>
                                <m:den>
                                  <m:r>
                                    <a:rPr lang="en-AU" i="1">
                                      <a:latin typeface="Cambria Math" panose="02040503050406030204" pitchFamily="18" charset="0"/>
                                    </a:rPr>
                                    <m:t>1</m:t>
                                  </m:r>
                                </m:den>
                              </m:f>
                            </m:e>
                          </m:d>
                        </m:e>
                        <m:sup>
                          <m:r>
                            <a:rPr lang="en-AU" b="0" i="1" smtClean="0">
                              <a:latin typeface="Cambria Math" panose="02040503050406030204" pitchFamily="18" charset="0"/>
                            </a:rPr>
                            <m:t>3/10</m:t>
                          </m:r>
                        </m:sup>
                      </m:sSup>
                    </m:oMath>
                  </m:oMathPara>
                </a14:m>
                <a:endParaRPr lang="en-AU" dirty="0"/>
              </a:p>
              <a:p>
                <a:r>
                  <a:rPr lang="en-AU" dirty="0"/>
                  <a:t>Rearranging to get L gives:</a:t>
                </a:r>
              </a:p>
              <a:p>
                <a:endParaRPr lang="en-AU" dirty="0"/>
              </a:p>
              <a:p>
                <a:pPr/>
                <a14:m>
                  <m:oMathPara xmlns:m="http://schemas.openxmlformats.org/officeDocument/2006/math">
                    <m:oMathParaPr>
                      <m:jc m:val="centerGroup"/>
                    </m:oMathParaPr>
                    <m:oMath xmlns:m="http://schemas.openxmlformats.org/officeDocument/2006/math">
                      <m:r>
                        <a:rPr lang="en-AU" b="0" i="1" smtClean="0">
                          <a:latin typeface="Cambria Math" panose="02040503050406030204" pitchFamily="18" charset="0"/>
                        </a:rPr>
                        <m:t>𝐿</m:t>
                      </m:r>
                      <m:r>
                        <a:rPr lang="en-AU" b="0" i="1" smtClean="0">
                          <a:latin typeface="Cambria Math" panose="02040503050406030204" pitchFamily="18" charset="0"/>
                        </a:rPr>
                        <m:t>=59.18</m:t>
                      </m:r>
                    </m:oMath>
                  </m:oMathPara>
                </a14:m>
                <a:endParaRPr lang="en-AU" b="0" dirty="0"/>
              </a:p>
              <a:p>
                <a:endParaRPr lang="en-AU" dirty="0"/>
              </a:p>
              <a:p>
                <a:r>
                  <a:rPr lang="en-AU" b="0" dirty="0"/>
                  <a:t>Sinc</a:t>
                </a:r>
                <a:r>
                  <a:rPr lang="en-AU" dirty="0"/>
                  <a:t>e L is greater than the expected life:</a:t>
                </a:r>
              </a:p>
              <a:p>
                <a:endParaRPr lang="en-AU" dirty="0"/>
              </a:p>
              <a:p>
                <a:r>
                  <a:rPr lang="en-AU" dirty="0"/>
                  <a:t>59.18 mil rev &gt; 52.56 mil rev</a:t>
                </a:r>
              </a:p>
              <a:p>
                <a:endParaRPr lang="en-AU" dirty="0"/>
              </a:p>
              <a:p>
                <a:r>
                  <a:rPr lang="en-AU" dirty="0"/>
                  <a:t>Therefore, the bearing is </a:t>
                </a:r>
                <a:r>
                  <a:rPr lang="en-AU" b="1" dirty="0">
                    <a:solidFill>
                      <a:srgbClr val="00B050"/>
                    </a:solidFill>
                  </a:rPr>
                  <a:t>safe</a:t>
                </a:r>
              </a:p>
            </p:txBody>
          </p:sp>
        </mc:Choice>
        <mc:Fallback xmlns="">
          <p:sp>
            <p:nvSpPr>
              <p:cNvPr id="2" name="TextBox 1">
                <a:extLst>
                  <a:ext uri="{FF2B5EF4-FFF2-40B4-BE49-F238E27FC236}">
                    <a16:creationId xmlns:a16="http://schemas.microsoft.com/office/drawing/2014/main" id="{2DE97A45-CD51-C582-2E3B-E7008079FC96}"/>
                  </a:ext>
                </a:extLst>
              </p:cNvPr>
              <p:cNvSpPr txBox="1">
                <a:spLocks noRot="1" noChangeAspect="1" noMove="1" noResize="1" noEditPoints="1" noAdjustHandles="1" noChangeArrowheads="1" noChangeShapeType="1" noTextEdit="1"/>
              </p:cNvSpPr>
              <p:nvPr/>
            </p:nvSpPr>
            <p:spPr>
              <a:xfrm>
                <a:off x="6985000" y="1428940"/>
                <a:ext cx="5436018" cy="4238724"/>
              </a:xfrm>
              <a:prstGeom prst="rect">
                <a:avLst/>
              </a:prstGeom>
              <a:blipFill>
                <a:blip r:embed="rId6"/>
                <a:stretch>
                  <a:fillRect l="-1009" t="-862" b="-1293"/>
                </a:stretch>
              </a:blipFill>
            </p:spPr>
            <p:txBody>
              <a:bodyPr/>
              <a:lstStyle/>
              <a:p>
                <a:r>
                  <a:rPr lang="en-AU">
                    <a:noFill/>
                  </a:rPr>
                  <a:t> </a:t>
                </a:r>
              </a:p>
            </p:txBody>
          </p:sp>
        </mc:Fallback>
      </mc:AlternateContent>
      <p:sp>
        <p:nvSpPr>
          <p:cNvPr id="3" name="TextBox 2">
            <a:extLst>
              <a:ext uri="{FF2B5EF4-FFF2-40B4-BE49-F238E27FC236}">
                <a16:creationId xmlns:a16="http://schemas.microsoft.com/office/drawing/2014/main" id="{CCADD704-EF45-5FF1-6F44-16A853852E09}"/>
              </a:ext>
            </a:extLst>
          </p:cNvPr>
          <p:cNvSpPr txBox="1"/>
          <p:nvPr/>
        </p:nvSpPr>
        <p:spPr>
          <a:xfrm>
            <a:off x="299484" y="407551"/>
            <a:ext cx="815929"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rgbClr val="27333D"/>
                </a:solidFill>
                <a:effectLst/>
                <a:uLnTx/>
                <a:uFillTx/>
                <a:latin typeface="Darker Grotesque" pitchFamily="2" charset="0"/>
              </a:rPr>
              <a:t>Fastener</a:t>
            </a:r>
          </a:p>
        </p:txBody>
      </p:sp>
      <p:pic>
        <p:nvPicPr>
          <p:cNvPr id="5" name="Picture 4">
            <a:extLst>
              <a:ext uri="{FF2B5EF4-FFF2-40B4-BE49-F238E27FC236}">
                <a16:creationId xmlns:a16="http://schemas.microsoft.com/office/drawing/2014/main" id="{3B963146-41C0-3757-81E0-E2C860976839}"/>
              </a:ext>
            </a:extLst>
          </p:cNvPr>
          <p:cNvPicPr>
            <a:picLocks noChangeAspect="1"/>
          </p:cNvPicPr>
          <p:nvPr/>
        </p:nvPicPr>
        <p:blipFill>
          <a:blip r:embed="rId7"/>
          <a:stretch>
            <a:fillRect/>
          </a:stretch>
        </p:blipFill>
        <p:spPr>
          <a:xfrm>
            <a:off x="466830" y="1501350"/>
            <a:ext cx="6289152" cy="4093903"/>
          </a:xfrm>
          <a:prstGeom prst="rect">
            <a:avLst/>
          </a:prstGeom>
        </p:spPr>
      </p:pic>
    </p:spTree>
    <p:extLst>
      <p:ext uri="{BB962C8B-B14F-4D97-AF65-F5344CB8AC3E}">
        <p14:creationId xmlns:p14="http://schemas.microsoft.com/office/powerpoint/2010/main" val="7764659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and blue background&#10;&#10;AI-generated content may be incorrect.">
            <a:extLst>
              <a:ext uri="{FF2B5EF4-FFF2-40B4-BE49-F238E27FC236}">
                <a16:creationId xmlns:a16="http://schemas.microsoft.com/office/drawing/2014/main" id="{BC86A892-23AD-1388-CB79-13184D1F218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54501" y="0"/>
            <a:ext cx="12246501" cy="6858000"/>
          </a:xfrm>
          <a:prstGeom prst="rect">
            <a:avLst/>
          </a:prstGeom>
        </p:spPr>
      </p:pic>
      <p:sp>
        <p:nvSpPr>
          <p:cNvPr id="2" name="TextBox 1">
            <a:extLst>
              <a:ext uri="{FF2B5EF4-FFF2-40B4-BE49-F238E27FC236}">
                <a16:creationId xmlns:a16="http://schemas.microsoft.com/office/drawing/2014/main" id="{DC2FB639-1112-1ED9-1906-8EA464A9003B}"/>
              </a:ext>
            </a:extLst>
          </p:cNvPr>
          <p:cNvSpPr txBox="1"/>
          <p:nvPr/>
        </p:nvSpPr>
        <p:spPr>
          <a:xfrm>
            <a:off x="299484" y="407551"/>
            <a:ext cx="815929"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7333D"/>
                </a:solidFill>
                <a:effectLst/>
                <a:uLnTx/>
                <a:uFillTx/>
                <a:latin typeface="Darker Grotesque" pitchFamily="2" charset="0"/>
              </a:rPr>
              <a:t>Fastener</a:t>
            </a:r>
          </a:p>
        </p:txBody>
      </p:sp>
      <p:cxnSp>
        <p:nvCxnSpPr>
          <p:cNvPr id="7" name="Straight Connector 6">
            <a:extLst>
              <a:ext uri="{FF2B5EF4-FFF2-40B4-BE49-F238E27FC236}">
                <a16:creationId xmlns:a16="http://schemas.microsoft.com/office/drawing/2014/main" id="{7336A150-80DB-0776-9406-4AF6ED31570D}"/>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3" name="Oval 2">
            <a:extLst>
              <a:ext uri="{FF2B5EF4-FFF2-40B4-BE49-F238E27FC236}">
                <a16:creationId xmlns:a16="http://schemas.microsoft.com/office/drawing/2014/main" id="{E93565ED-B311-6D91-46E1-DD46B418F731}"/>
              </a:ext>
            </a:extLst>
          </p:cNvPr>
          <p:cNvSpPr/>
          <p:nvPr/>
        </p:nvSpPr>
        <p:spPr>
          <a:xfrm>
            <a:off x="5814956" y="369986"/>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8" name="Graphic 7" descr="Wrench with solid fill">
            <a:extLst>
              <a:ext uri="{FF2B5EF4-FFF2-40B4-BE49-F238E27FC236}">
                <a16:creationId xmlns:a16="http://schemas.microsoft.com/office/drawing/2014/main" id="{59BD1D6F-1CB7-6905-FC71-A4FBD316DB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4621" y="489651"/>
            <a:ext cx="268255" cy="268255"/>
          </a:xfrm>
          <a:prstGeom prst="rect">
            <a:avLst/>
          </a:prstGeom>
        </p:spPr>
      </p:pic>
      <p:pic>
        <p:nvPicPr>
          <p:cNvPr id="12" name="Picture 11">
            <a:extLst>
              <a:ext uri="{FF2B5EF4-FFF2-40B4-BE49-F238E27FC236}">
                <a16:creationId xmlns:a16="http://schemas.microsoft.com/office/drawing/2014/main" id="{63248639-8C95-42F3-4158-E3B90FC3E3B6}"/>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3299730" y="1108722"/>
            <a:ext cx="1059264" cy="1805665"/>
          </a:xfrm>
          <a:prstGeom prst="rect">
            <a:avLst/>
          </a:prstGeom>
        </p:spPr>
      </p:pic>
      <p:pic>
        <p:nvPicPr>
          <p:cNvPr id="14" name="Picture 13">
            <a:extLst>
              <a:ext uri="{FF2B5EF4-FFF2-40B4-BE49-F238E27FC236}">
                <a16:creationId xmlns:a16="http://schemas.microsoft.com/office/drawing/2014/main" id="{88B05B4B-2023-3C1A-09E4-83DAF1ABD8D2}"/>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372" b="91026" l="9744" r="89744">
                        <a14:foregroundMark x1="43077" y1="8654" x2="43077" y2="8654"/>
                        <a14:foregroundMark x1="61538" y1="8333" x2="61538" y2="8333"/>
                        <a14:foregroundMark x1="52821" y1="87821" x2="52821" y2="91026"/>
                        <a14:foregroundMark x1="46667" y1="7372" x2="46667" y2="7372"/>
                      </a14:backgroundRemoval>
                    </a14:imgEffect>
                  </a14:imgLayer>
                </a14:imgProps>
              </a:ext>
            </a:extLst>
          </a:blip>
          <a:stretch>
            <a:fillRect/>
          </a:stretch>
        </p:blipFill>
        <p:spPr>
          <a:xfrm>
            <a:off x="3254604" y="3707817"/>
            <a:ext cx="928688" cy="1485900"/>
          </a:xfrm>
          <a:prstGeom prst="rect">
            <a:avLst/>
          </a:prstGeom>
        </p:spPr>
      </p:pic>
      <p:pic>
        <p:nvPicPr>
          <p:cNvPr id="35" name="Picture 34">
            <a:extLst>
              <a:ext uri="{FF2B5EF4-FFF2-40B4-BE49-F238E27FC236}">
                <a16:creationId xmlns:a16="http://schemas.microsoft.com/office/drawing/2014/main" id="{315D9173-E801-71C6-6647-F6419D77DA23}"/>
              </a:ext>
            </a:extLst>
          </p:cNvPr>
          <p:cNvPicPr>
            <a:picLocks noChangeAspect="1"/>
          </p:cNvPicPr>
          <p:nvPr/>
        </p:nvPicPr>
        <p:blipFill>
          <a:blip r:embed="rId10"/>
          <a:stretch>
            <a:fillRect/>
          </a:stretch>
        </p:blipFill>
        <p:spPr>
          <a:xfrm>
            <a:off x="1178456" y="3739571"/>
            <a:ext cx="1793883" cy="1592700"/>
          </a:xfrm>
          <a:prstGeom prst="rect">
            <a:avLst/>
          </a:prstGeom>
        </p:spPr>
      </p:pic>
      <p:pic>
        <p:nvPicPr>
          <p:cNvPr id="37" name="Picture 36">
            <a:extLst>
              <a:ext uri="{FF2B5EF4-FFF2-40B4-BE49-F238E27FC236}">
                <a16:creationId xmlns:a16="http://schemas.microsoft.com/office/drawing/2014/main" id="{3ED5B977-3186-EA79-684D-3C52D77636D1}"/>
              </a:ext>
            </a:extLst>
          </p:cNvPr>
          <p:cNvPicPr>
            <a:picLocks noChangeAspect="1"/>
          </p:cNvPicPr>
          <p:nvPr/>
        </p:nvPicPr>
        <p:blipFill>
          <a:blip r:embed="rId11"/>
          <a:stretch>
            <a:fillRect/>
          </a:stretch>
        </p:blipFill>
        <p:spPr>
          <a:xfrm>
            <a:off x="1266880" y="1248311"/>
            <a:ext cx="1792800" cy="1661719"/>
          </a:xfrm>
          <a:prstGeom prst="rect">
            <a:avLst/>
          </a:prstGeom>
        </p:spPr>
      </p:pic>
      <p:sp>
        <p:nvSpPr>
          <p:cNvPr id="38" name="Arrow: Down 37">
            <a:extLst>
              <a:ext uri="{FF2B5EF4-FFF2-40B4-BE49-F238E27FC236}">
                <a16:creationId xmlns:a16="http://schemas.microsoft.com/office/drawing/2014/main" id="{9D2F985D-6654-C44D-C8E1-7C79FAE71C6C}"/>
              </a:ext>
            </a:extLst>
          </p:cNvPr>
          <p:cNvSpPr/>
          <p:nvPr/>
        </p:nvSpPr>
        <p:spPr>
          <a:xfrm>
            <a:off x="1748373" y="4269221"/>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Arrow: Down 38">
            <a:extLst>
              <a:ext uri="{FF2B5EF4-FFF2-40B4-BE49-F238E27FC236}">
                <a16:creationId xmlns:a16="http://schemas.microsoft.com/office/drawing/2014/main" id="{2E0A68E6-4EF9-1DDB-C3A2-2EB48640CD0C}"/>
              </a:ext>
            </a:extLst>
          </p:cNvPr>
          <p:cNvSpPr/>
          <p:nvPr/>
        </p:nvSpPr>
        <p:spPr>
          <a:xfrm>
            <a:off x="2004361" y="4317417"/>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Arrow: Down 39">
            <a:extLst>
              <a:ext uri="{FF2B5EF4-FFF2-40B4-BE49-F238E27FC236}">
                <a16:creationId xmlns:a16="http://schemas.microsoft.com/office/drawing/2014/main" id="{E1D35196-6823-274B-07F2-6C4CDD622C84}"/>
              </a:ext>
            </a:extLst>
          </p:cNvPr>
          <p:cNvSpPr/>
          <p:nvPr/>
        </p:nvSpPr>
        <p:spPr>
          <a:xfrm>
            <a:off x="1557338" y="1507466"/>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Arrow: Down 41">
            <a:extLst>
              <a:ext uri="{FF2B5EF4-FFF2-40B4-BE49-F238E27FC236}">
                <a16:creationId xmlns:a16="http://schemas.microsoft.com/office/drawing/2014/main" id="{A18F7163-4F5A-EC8A-A1AA-E178F343937E}"/>
              </a:ext>
            </a:extLst>
          </p:cNvPr>
          <p:cNvSpPr/>
          <p:nvPr/>
        </p:nvSpPr>
        <p:spPr>
          <a:xfrm>
            <a:off x="1470025" y="1984707"/>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Arrow: Down 42">
            <a:extLst>
              <a:ext uri="{FF2B5EF4-FFF2-40B4-BE49-F238E27FC236}">
                <a16:creationId xmlns:a16="http://schemas.microsoft.com/office/drawing/2014/main" id="{F3544AE8-8D80-CF1A-EC73-CD0249BCF360}"/>
              </a:ext>
            </a:extLst>
          </p:cNvPr>
          <p:cNvSpPr/>
          <p:nvPr/>
        </p:nvSpPr>
        <p:spPr>
          <a:xfrm>
            <a:off x="1871662" y="2040865"/>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Arrow: Down 43">
            <a:extLst>
              <a:ext uri="{FF2B5EF4-FFF2-40B4-BE49-F238E27FC236}">
                <a16:creationId xmlns:a16="http://schemas.microsoft.com/office/drawing/2014/main" id="{8A8D5534-1384-6DE3-6991-0D1A97F6069C}"/>
              </a:ext>
            </a:extLst>
          </p:cNvPr>
          <p:cNvSpPr/>
          <p:nvPr/>
        </p:nvSpPr>
        <p:spPr>
          <a:xfrm>
            <a:off x="1871662" y="2251407"/>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rrow: Down 44">
            <a:extLst>
              <a:ext uri="{FF2B5EF4-FFF2-40B4-BE49-F238E27FC236}">
                <a16:creationId xmlns:a16="http://schemas.microsoft.com/office/drawing/2014/main" id="{1355C0AC-AD33-C031-FD20-52501F708175}"/>
              </a:ext>
            </a:extLst>
          </p:cNvPr>
          <p:cNvSpPr/>
          <p:nvPr/>
        </p:nvSpPr>
        <p:spPr>
          <a:xfrm>
            <a:off x="2652713" y="1507466"/>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Arrow: Down 46">
            <a:extLst>
              <a:ext uri="{FF2B5EF4-FFF2-40B4-BE49-F238E27FC236}">
                <a16:creationId xmlns:a16="http://schemas.microsoft.com/office/drawing/2014/main" id="{4F7EEA54-7F84-904F-116E-7DF5C2CB1871}"/>
              </a:ext>
            </a:extLst>
          </p:cNvPr>
          <p:cNvSpPr/>
          <p:nvPr/>
        </p:nvSpPr>
        <p:spPr>
          <a:xfrm>
            <a:off x="2709863" y="1984707"/>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Arrow: Down 47">
            <a:extLst>
              <a:ext uri="{FF2B5EF4-FFF2-40B4-BE49-F238E27FC236}">
                <a16:creationId xmlns:a16="http://schemas.microsoft.com/office/drawing/2014/main" id="{5A26772C-72D2-219C-B2BF-A3DCED1BFD6E}"/>
              </a:ext>
            </a:extLst>
          </p:cNvPr>
          <p:cNvSpPr/>
          <p:nvPr/>
        </p:nvSpPr>
        <p:spPr>
          <a:xfrm>
            <a:off x="2330451" y="2040865"/>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Arrow: Down 48">
            <a:extLst>
              <a:ext uri="{FF2B5EF4-FFF2-40B4-BE49-F238E27FC236}">
                <a16:creationId xmlns:a16="http://schemas.microsoft.com/office/drawing/2014/main" id="{D2E41AB4-37B4-6BF3-26A8-C637058274FF}"/>
              </a:ext>
            </a:extLst>
          </p:cNvPr>
          <p:cNvSpPr/>
          <p:nvPr/>
        </p:nvSpPr>
        <p:spPr>
          <a:xfrm>
            <a:off x="2330451" y="2251407"/>
            <a:ext cx="114300" cy="2667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B32897DB-82F2-C5DF-596C-ED1D2E144D36}"/>
              </a:ext>
            </a:extLst>
          </p:cNvPr>
          <p:cNvSpPr/>
          <p:nvPr/>
        </p:nvSpPr>
        <p:spPr>
          <a:xfrm>
            <a:off x="4991086" y="2571557"/>
            <a:ext cx="1135247" cy="461665"/>
          </a:xfrm>
          <a:prstGeom prst="rect">
            <a:avLst/>
          </a:prstGeom>
          <a:noFill/>
        </p:spPr>
        <p:txBody>
          <a:bodyPr wrap="square" lIns="91440" tIns="45720" rIns="91440" bIns="45720">
            <a:spAutoFit/>
          </a:bodyPr>
          <a:lstStyle/>
          <a:p>
            <a:pPr algn="ctr"/>
            <a:r>
              <a:rPr lang="en-US" sz="2400" b="0" cap="none" spc="0">
                <a:ln w="0"/>
                <a:solidFill>
                  <a:schemeClr val="tx1"/>
                </a:solidFill>
                <a:effectLst>
                  <a:outerShdw blurRad="38100" dist="19050" dir="2700000" algn="tl" rotWithShape="0">
                    <a:schemeClr val="dk1">
                      <a:alpha val="40000"/>
                    </a:schemeClr>
                  </a:outerShdw>
                </a:effectLst>
              </a:rPr>
              <a:t>M8 Nut</a:t>
            </a:r>
          </a:p>
        </p:txBody>
      </p:sp>
      <p:sp>
        <p:nvSpPr>
          <p:cNvPr id="56" name="Rectangle 55">
            <a:extLst>
              <a:ext uri="{FF2B5EF4-FFF2-40B4-BE49-F238E27FC236}">
                <a16:creationId xmlns:a16="http://schemas.microsoft.com/office/drawing/2014/main" id="{D76964DE-DDD3-ED7C-4676-278658E665BB}"/>
              </a:ext>
            </a:extLst>
          </p:cNvPr>
          <p:cNvSpPr/>
          <p:nvPr/>
        </p:nvSpPr>
        <p:spPr>
          <a:xfrm>
            <a:off x="4758475" y="2172425"/>
            <a:ext cx="1731957"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M8 Washer</a:t>
            </a:r>
            <a:endParaRPr lang="en-US" sz="2400" b="0" cap="none" spc="0">
              <a:ln w="0"/>
              <a:solidFill>
                <a:schemeClr val="tx1"/>
              </a:solidFill>
              <a:effectLst>
                <a:outerShdw blurRad="38100" dist="19050" dir="2700000" algn="tl" rotWithShape="0">
                  <a:schemeClr val="dk1">
                    <a:alpha val="40000"/>
                  </a:schemeClr>
                </a:outerShdw>
              </a:effectLst>
            </a:endParaRPr>
          </a:p>
        </p:txBody>
      </p:sp>
      <p:sp>
        <p:nvSpPr>
          <p:cNvPr id="58" name="Rectangle 57">
            <a:extLst>
              <a:ext uri="{FF2B5EF4-FFF2-40B4-BE49-F238E27FC236}">
                <a16:creationId xmlns:a16="http://schemas.microsoft.com/office/drawing/2014/main" id="{C7783A26-36A0-EC6C-B1A6-E0B77539960E}"/>
              </a:ext>
            </a:extLst>
          </p:cNvPr>
          <p:cNvSpPr/>
          <p:nvPr/>
        </p:nvSpPr>
        <p:spPr>
          <a:xfrm>
            <a:off x="4227277" y="1067677"/>
            <a:ext cx="2794355" cy="1200329"/>
          </a:xfrm>
          <a:prstGeom prst="rect">
            <a:avLst/>
          </a:prstGeom>
          <a:noFill/>
        </p:spPr>
        <p:txBody>
          <a:bodyPr wrap="none" lIns="91440" tIns="45720" rIns="91440" bIns="45720">
            <a:spAutoFit/>
          </a:bodyPr>
          <a:lstStyle/>
          <a:p>
            <a:pPr algn="ctr"/>
            <a:r>
              <a:rPr lang="en-US" sz="2400" b="0" cap="none" spc="0">
                <a:ln w="0"/>
                <a:solidFill>
                  <a:schemeClr val="tx1"/>
                </a:solidFill>
                <a:effectLst>
                  <a:outerShdw blurRad="38100" dist="19050" dir="2700000" algn="tl" rotWithShape="0">
                    <a:schemeClr val="dk1">
                      <a:alpha val="40000"/>
                    </a:schemeClr>
                  </a:outerShdw>
                </a:effectLst>
              </a:rPr>
              <a:t>M8x25mm  (outside)</a:t>
            </a:r>
          </a:p>
          <a:p>
            <a:pPr algn="ctr"/>
            <a:r>
              <a:rPr lang="en-US" sz="2400">
                <a:ln w="0"/>
                <a:effectLst>
                  <a:outerShdw blurRad="38100" dist="19050" dir="2700000" algn="tl" rotWithShape="0">
                    <a:schemeClr val="dk1">
                      <a:alpha val="40000"/>
                    </a:schemeClr>
                  </a:outerShdw>
                </a:effectLst>
              </a:rPr>
              <a:t>M8x12.5mm (inside)</a:t>
            </a:r>
          </a:p>
          <a:p>
            <a:pPr algn="ctr"/>
            <a:r>
              <a:rPr lang="en-US" sz="2400" b="0" cap="none" spc="0">
                <a:ln w="0"/>
                <a:solidFill>
                  <a:schemeClr val="tx1"/>
                </a:solidFill>
                <a:effectLst>
                  <a:outerShdw blurRad="38100" dist="19050" dir="2700000" algn="tl" rotWithShape="0">
                    <a:schemeClr val="dk1">
                      <a:alpha val="40000"/>
                    </a:schemeClr>
                  </a:outerShdw>
                </a:effectLst>
              </a:rPr>
              <a:t> Flat head bolt</a:t>
            </a:r>
          </a:p>
        </p:txBody>
      </p:sp>
      <p:sp>
        <p:nvSpPr>
          <p:cNvPr id="99" name="Rectangle 98">
            <a:extLst>
              <a:ext uri="{FF2B5EF4-FFF2-40B4-BE49-F238E27FC236}">
                <a16:creationId xmlns:a16="http://schemas.microsoft.com/office/drawing/2014/main" id="{4D57360D-19DC-39C4-3A08-A481AAF9BDD6}"/>
              </a:ext>
            </a:extLst>
          </p:cNvPr>
          <p:cNvSpPr/>
          <p:nvPr/>
        </p:nvSpPr>
        <p:spPr>
          <a:xfrm>
            <a:off x="4608514" y="3853722"/>
            <a:ext cx="1900392" cy="830997"/>
          </a:xfrm>
          <a:prstGeom prst="rect">
            <a:avLst/>
          </a:prstGeom>
          <a:noFill/>
        </p:spPr>
        <p:txBody>
          <a:bodyPr wrap="none" lIns="91440" tIns="45720" rIns="91440" bIns="45720">
            <a:spAutoFit/>
          </a:bodyPr>
          <a:lstStyle/>
          <a:p>
            <a:pPr algn="ctr"/>
            <a:r>
              <a:rPr lang="en-US" sz="2400" b="0" cap="none" spc="0">
                <a:ln w="0"/>
                <a:solidFill>
                  <a:schemeClr val="tx1"/>
                </a:solidFill>
                <a:effectLst>
                  <a:outerShdw blurRad="38100" dist="19050" dir="2700000" algn="tl" rotWithShape="0">
                    <a:schemeClr val="dk1">
                      <a:alpha val="40000"/>
                    </a:schemeClr>
                  </a:outerShdw>
                </a:effectLst>
              </a:rPr>
              <a:t>M3 x 20mm </a:t>
            </a:r>
          </a:p>
          <a:p>
            <a:pPr algn="ctr"/>
            <a:r>
              <a:rPr lang="en-US" sz="2400" b="0" cap="none" spc="0">
                <a:ln w="0"/>
                <a:solidFill>
                  <a:schemeClr val="tx1"/>
                </a:solidFill>
                <a:effectLst>
                  <a:outerShdw blurRad="38100" dist="19050" dir="2700000" algn="tl" rotWithShape="0">
                    <a:schemeClr val="dk1">
                      <a:alpha val="40000"/>
                    </a:schemeClr>
                  </a:outerShdw>
                </a:effectLst>
              </a:rPr>
              <a:t>Fillister </a:t>
            </a:r>
            <a:r>
              <a:rPr lang="en-US" sz="2400">
                <a:ln w="0"/>
                <a:effectLst>
                  <a:outerShdw blurRad="38100" dist="19050" dir="2700000" algn="tl" rotWithShape="0">
                    <a:schemeClr val="dk1">
                      <a:alpha val="40000"/>
                    </a:schemeClr>
                  </a:outerShdw>
                </a:effectLst>
              </a:rPr>
              <a:t>S</a:t>
            </a:r>
            <a:r>
              <a:rPr lang="en-US" sz="2400" b="0" cap="none" spc="0">
                <a:ln w="0"/>
                <a:solidFill>
                  <a:schemeClr val="tx1"/>
                </a:solidFill>
                <a:effectLst>
                  <a:outerShdw blurRad="38100" dist="19050" dir="2700000" algn="tl" rotWithShape="0">
                    <a:schemeClr val="dk1">
                      <a:alpha val="40000"/>
                    </a:schemeClr>
                  </a:outerShdw>
                </a:effectLst>
              </a:rPr>
              <a:t>crew</a:t>
            </a:r>
          </a:p>
        </p:txBody>
      </p:sp>
      <p:sp>
        <p:nvSpPr>
          <p:cNvPr id="100" name="Rectangle 99">
            <a:extLst>
              <a:ext uri="{FF2B5EF4-FFF2-40B4-BE49-F238E27FC236}">
                <a16:creationId xmlns:a16="http://schemas.microsoft.com/office/drawing/2014/main" id="{6F6BB58E-E1D6-0E2A-3690-FB4791F3885C}"/>
              </a:ext>
            </a:extLst>
          </p:cNvPr>
          <p:cNvSpPr/>
          <p:nvPr/>
        </p:nvSpPr>
        <p:spPr>
          <a:xfrm>
            <a:off x="7001946" y="1176336"/>
            <a:ext cx="4485203" cy="1815882"/>
          </a:xfrm>
          <a:prstGeom prst="rect">
            <a:avLst/>
          </a:prstGeom>
          <a:noFill/>
        </p:spPr>
        <p:txBody>
          <a:bodyPr wrap="square" lIns="91440" tIns="45720" rIns="91440" bIns="45720">
            <a:spAutoFit/>
          </a:bodyPr>
          <a:lstStyle/>
          <a:p>
            <a:r>
              <a:rPr lang="en-US" sz="1400">
                <a:ln w="0"/>
                <a:effectLst>
                  <a:outerShdw blurRad="38100" dist="19050" dir="2700000" algn="tl" rotWithShape="0">
                    <a:schemeClr val="dk1">
                      <a:alpha val="40000"/>
                    </a:schemeClr>
                  </a:outerShdw>
                </a:effectLst>
              </a:rPr>
              <a:t>Bolts Shear failure : 		50</a:t>
            </a:r>
          </a:p>
          <a:p>
            <a:r>
              <a:rPr lang="en-US" sz="1400">
                <a:ln w="0"/>
                <a:effectLst>
                  <a:outerShdw blurRad="38100" dist="19050" dir="2700000" algn="tl" rotWithShape="0">
                    <a:schemeClr val="dk1">
                      <a:alpha val="40000"/>
                    </a:schemeClr>
                  </a:outerShdw>
                </a:effectLst>
              </a:rPr>
              <a:t>Bolts B</a:t>
            </a:r>
            <a:r>
              <a:rPr lang="en-US" sz="1400" cap="none" spc="0">
                <a:ln w="0"/>
                <a:solidFill>
                  <a:schemeClr val="tx1"/>
                </a:solidFill>
                <a:effectLst>
                  <a:outerShdw blurRad="38100" dist="19050" dir="2700000" algn="tl" rotWithShape="0">
                    <a:schemeClr val="dk1">
                      <a:alpha val="40000"/>
                    </a:schemeClr>
                  </a:outerShdw>
                </a:effectLst>
              </a:rPr>
              <a:t>earing failure : 		106</a:t>
            </a:r>
          </a:p>
          <a:p>
            <a:r>
              <a:rPr lang="en-US" sz="1400">
                <a:ln w="0"/>
                <a:effectLst>
                  <a:outerShdw blurRad="38100" dist="19050" dir="2700000" algn="tl" rotWithShape="0">
                    <a:schemeClr val="dk1">
                      <a:alpha val="40000"/>
                    </a:schemeClr>
                  </a:outerShdw>
                </a:effectLst>
              </a:rPr>
              <a:t>Bearing failure of members : 	420 </a:t>
            </a:r>
            <a:endParaRPr lang="en-US" sz="1400" cap="none" spc="0">
              <a:ln w="0"/>
              <a:solidFill>
                <a:schemeClr val="tx1"/>
              </a:solidFill>
              <a:effectLst>
                <a:outerShdw blurRad="38100" dist="19050" dir="2700000" algn="tl" rotWithShape="0">
                  <a:schemeClr val="dk1">
                    <a:alpha val="40000"/>
                  </a:schemeClr>
                </a:outerShdw>
              </a:effectLst>
            </a:endParaRPr>
          </a:p>
          <a:p>
            <a:r>
              <a:rPr lang="en-US" sz="1400">
                <a:ln w="0"/>
                <a:effectLst>
                  <a:outerShdw blurRad="38100" dist="19050" dir="2700000" algn="tl" rotWithShape="0">
                    <a:schemeClr val="dk1">
                      <a:alpha val="40000"/>
                    </a:schemeClr>
                  </a:outerShdw>
                </a:effectLst>
              </a:rPr>
              <a:t>Edge shearing of members: 	370 </a:t>
            </a:r>
          </a:p>
          <a:p>
            <a:r>
              <a:rPr lang="en-US" sz="1400" cap="none" spc="0">
                <a:ln w="0"/>
                <a:solidFill>
                  <a:schemeClr val="tx1"/>
                </a:solidFill>
                <a:effectLst>
                  <a:outerShdw blurRad="38100" dist="19050" dir="2700000" algn="tl" rotWithShape="0">
                    <a:schemeClr val="dk1">
                      <a:alpha val="40000"/>
                    </a:schemeClr>
                  </a:outerShdw>
                </a:effectLst>
              </a:rPr>
              <a:t>Tensile failure of membe</a:t>
            </a:r>
            <a:r>
              <a:rPr lang="en-US" sz="1400">
                <a:ln w="0"/>
                <a:effectLst>
                  <a:outerShdw blurRad="38100" dist="19050" dir="2700000" algn="tl" rotWithShape="0">
                    <a:schemeClr val="dk1">
                      <a:alpha val="40000"/>
                    </a:schemeClr>
                  </a:outerShdw>
                </a:effectLst>
              </a:rPr>
              <a:t>rs: 	377 </a:t>
            </a:r>
            <a:endParaRPr lang="en-US" sz="1400" cap="none" spc="0">
              <a:ln w="0"/>
              <a:solidFill>
                <a:schemeClr val="tx1"/>
              </a:solidFill>
              <a:effectLst>
                <a:outerShdw blurRad="38100" dist="19050" dir="2700000" algn="tl" rotWithShape="0">
                  <a:schemeClr val="dk1">
                    <a:alpha val="40000"/>
                  </a:schemeClr>
                </a:outerShdw>
              </a:effectLst>
            </a:endParaRPr>
          </a:p>
          <a:p>
            <a:endParaRPr lang="en-US" sz="1400">
              <a:ln w="0"/>
              <a:effectLst>
                <a:outerShdw blurRad="38100" dist="19050" dir="2700000" algn="tl" rotWithShape="0">
                  <a:schemeClr val="dk1">
                    <a:alpha val="40000"/>
                  </a:schemeClr>
                </a:outerShdw>
              </a:effectLst>
            </a:endParaRPr>
          </a:p>
          <a:p>
            <a:r>
              <a:rPr lang="en-US" sz="1400">
                <a:ln w="0"/>
                <a:effectLst>
                  <a:outerShdw blurRad="38100" dist="19050" dir="2700000" algn="tl" rotWithShape="0">
                    <a:schemeClr val="dk1">
                      <a:alpha val="40000"/>
                    </a:schemeClr>
                  </a:outerShdw>
                </a:effectLst>
              </a:rPr>
              <a:t>The maximum load which can carried </a:t>
            </a:r>
            <a:r>
              <a:rPr lang="en-US" sz="1400" cap="none" spc="0">
                <a:ln w="0"/>
                <a:solidFill>
                  <a:schemeClr val="tx1"/>
                </a:solidFill>
                <a:effectLst>
                  <a:outerShdw blurRad="38100" dist="19050" dir="2700000" algn="tl" rotWithShape="0">
                    <a:schemeClr val="dk1">
                      <a:alpha val="40000"/>
                    </a:schemeClr>
                  </a:outerShdw>
                </a:effectLst>
              </a:rPr>
              <a:t>50 </a:t>
            </a:r>
            <a:r>
              <a:rPr lang="en-US" sz="1400" err="1">
                <a:ln w="0"/>
                <a:effectLst>
                  <a:outerShdw blurRad="38100" dist="19050" dir="2700000" algn="tl" rotWithShape="0">
                    <a:schemeClr val="dk1">
                      <a:alpha val="40000"/>
                    </a:schemeClr>
                  </a:outerShdw>
                </a:effectLst>
              </a:rPr>
              <a:t>kN</a:t>
            </a:r>
            <a:r>
              <a:rPr lang="en-US" sz="1400">
                <a:ln w="0"/>
                <a:effectLst>
                  <a:outerShdw blurRad="38100" dist="19050" dir="2700000" algn="tl" rotWithShape="0">
                    <a:schemeClr val="dk1">
                      <a:alpha val="40000"/>
                    </a:schemeClr>
                  </a:outerShdw>
                </a:effectLst>
              </a:rPr>
              <a:t>, which failure by bolts shear failure.</a:t>
            </a:r>
            <a:endParaRPr lang="en-US" sz="1400" cap="none" spc="0">
              <a:ln w="0"/>
              <a:solidFill>
                <a:schemeClr val="tx1"/>
              </a:solidFill>
              <a:effectLst>
                <a:outerShdw blurRad="38100" dist="19050" dir="2700000" algn="tl" rotWithShape="0">
                  <a:schemeClr val="dk1">
                    <a:alpha val="40000"/>
                  </a:schemeClr>
                </a:outerShdw>
              </a:effectLst>
            </a:endParaRPr>
          </a:p>
        </p:txBody>
      </p:sp>
      <p:sp>
        <p:nvSpPr>
          <p:cNvPr id="102" name="Rectangle 101">
            <a:extLst>
              <a:ext uri="{FF2B5EF4-FFF2-40B4-BE49-F238E27FC236}">
                <a16:creationId xmlns:a16="http://schemas.microsoft.com/office/drawing/2014/main" id="{1C0026EC-F0FF-D2F3-D71B-E9B57345B44D}"/>
              </a:ext>
            </a:extLst>
          </p:cNvPr>
          <p:cNvSpPr/>
          <p:nvPr/>
        </p:nvSpPr>
        <p:spPr>
          <a:xfrm>
            <a:off x="6934129" y="3702584"/>
            <a:ext cx="4464596" cy="2031325"/>
          </a:xfrm>
          <a:prstGeom prst="rect">
            <a:avLst/>
          </a:prstGeom>
          <a:noFill/>
        </p:spPr>
        <p:txBody>
          <a:bodyPr wrap="square" lIns="91440" tIns="45720" rIns="91440" bIns="45720">
            <a:spAutoFit/>
          </a:bodyPr>
          <a:lstStyle/>
          <a:p>
            <a:r>
              <a:rPr lang="en-US" sz="1400">
                <a:ln w="0"/>
                <a:effectLst>
                  <a:outerShdw blurRad="38100" dist="19050" dir="2700000" algn="tl" rotWithShape="0">
                    <a:schemeClr val="dk1">
                      <a:alpha val="40000"/>
                    </a:schemeClr>
                  </a:outerShdw>
                </a:effectLst>
              </a:rPr>
              <a:t>Bolts Shear Failure : 		45 </a:t>
            </a:r>
          </a:p>
          <a:p>
            <a:r>
              <a:rPr lang="en-US" sz="1400">
                <a:ln w="0"/>
                <a:effectLst>
                  <a:outerShdw blurRad="38100" dist="19050" dir="2700000" algn="tl" rotWithShape="0">
                    <a:schemeClr val="dk1">
                      <a:alpha val="40000"/>
                    </a:schemeClr>
                  </a:outerShdw>
                </a:effectLst>
              </a:rPr>
              <a:t>Bolts B</a:t>
            </a:r>
            <a:r>
              <a:rPr lang="en-US" sz="1400" b="0" cap="none" spc="0">
                <a:ln w="0"/>
                <a:solidFill>
                  <a:schemeClr val="tx1"/>
                </a:solidFill>
                <a:effectLst>
                  <a:outerShdw blurRad="38100" dist="19050" dir="2700000" algn="tl" rotWithShape="0">
                    <a:schemeClr val="dk1">
                      <a:alpha val="40000"/>
                    </a:schemeClr>
                  </a:outerShdw>
                </a:effectLst>
              </a:rPr>
              <a:t>earing Failure : 		26</a:t>
            </a:r>
          </a:p>
          <a:p>
            <a:r>
              <a:rPr lang="en-US" sz="1400">
                <a:ln w="0"/>
                <a:effectLst>
                  <a:outerShdw blurRad="38100" dist="19050" dir="2700000" algn="tl" rotWithShape="0">
                    <a:schemeClr val="dk1">
                      <a:alpha val="40000"/>
                    </a:schemeClr>
                  </a:outerShdw>
                </a:effectLst>
              </a:rPr>
              <a:t>Bearing failure of members : 	67</a:t>
            </a:r>
            <a:endParaRPr lang="en-US" sz="1400" b="0" cap="none" spc="0">
              <a:ln w="0"/>
              <a:solidFill>
                <a:schemeClr val="tx1"/>
              </a:solidFill>
              <a:effectLst>
                <a:outerShdw blurRad="38100" dist="19050" dir="2700000" algn="tl" rotWithShape="0">
                  <a:schemeClr val="dk1">
                    <a:alpha val="40000"/>
                  </a:schemeClr>
                </a:outerShdw>
              </a:effectLst>
            </a:endParaRPr>
          </a:p>
          <a:p>
            <a:r>
              <a:rPr lang="en-US" sz="1400">
                <a:ln w="0"/>
                <a:effectLst>
                  <a:outerShdw blurRad="38100" dist="19050" dir="2700000" algn="tl" rotWithShape="0">
                    <a:schemeClr val="dk1">
                      <a:alpha val="40000"/>
                    </a:schemeClr>
                  </a:outerShdw>
                </a:effectLst>
              </a:rPr>
              <a:t>Edge’s Shearing of members: 	92</a:t>
            </a:r>
          </a:p>
          <a:p>
            <a:r>
              <a:rPr lang="en-US" sz="1400">
                <a:ln w="0"/>
                <a:effectLst>
                  <a:outerShdw blurRad="38100" dist="19050" dir="2700000" algn="tl" rotWithShape="0">
                    <a:schemeClr val="dk1">
                      <a:alpha val="40000"/>
                    </a:schemeClr>
                  </a:outerShdw>
                </a:effectLst>
              </a:rPr>
              <a:t>Tensile failure of members: 	102</a:t>
            </a:r>
            <a:br>
              <a:rPr lang="en-US" sz="1400">
                <a:ln w="0"/>
                <a:effectLst>
                  <a:outerShdw blurRad="38100" dist="19050" dir="2700000" algn="tl" rotWithShape="0">
                    <a:schemeClr val="dk1">
                      <a:alpha val="40000"/>
                    </a:schemeClr>
                  </a:outerShdw>
                </a:effectLst>
              </a:rPr>
            </a:br>
            <a:endParaRPr lang="en-US" sz="1400">
              <a:ln w="0"/>
              <a:effectLst>
                <a:outerShdw blurRad="38100" dist="19050" dir="2700000" algn="tl" rotWithShape="0">
                  <a:schemeClr val="dk1">
                    <a:alpha val="40000"/>
                  </a:schemeClr>
                </a:outerShdw>
              </a:effectLst>
            </a:endParaRPr>
          </a:p>
          <a:p>
            <a:r>
              <a:rPr lang="en-US" sz="1400">
                <a:ln w="0"/>
                <a:effectLst>
                  <a:outerShdw blurRad="38100" dist="19050" dir="2700000" algn="tl" rotWithShape="0">
                    <a:schemeClr val="dk1">
                      <a:alpha val="40000"/>
                    </a:schemeClr>
                  </a:outerShdw>
                </a:effectLst>
              </a:rPr>
              <a:t>The maximum load which can carried 26 </a:t>
            </a:r>
            <a:r>
              <a:rPr lang="en-US" sz="1400" err="1">
                <a:ln w="0"/>
                <a:effectLst>
                  <a:outerShdw blurRad="38100" dist="19050" dir="2700000" algn="tl" rotWithShape="0">
                    <a:schemeClr val="dk1">
                      <a:alpha val="40000"/>
                    </a:schemeClr>
                  </a:outerShdw>
                </a:effectLst>
              </a:rPr>
              <a:t>kN</a:t>
            </a:r>
            <a:r>
              <a:rPr lang="en-US" sz="1400">
                <a:ln w="0"/>
                <a:effectLst>
                  <a:outerShdw blurRad="38100" dist="19050" dir="2700000" algn="tl" rotWithShape="0">
                    <a:schemeClr val="dk1">
                      <a:alpha val="40000"/>
                    </a:schemeClr>
                  </a:outerShdw>
                </a:effectLst>
              </a:rPr>
              <a:t>, which failure by bolts bearing failure.</a:t>
            </a:r>
          </a:p>
          <a:p>
            <a:endParaRPr lang="en-US" sz="1400">
              <a:ln w="0"/>
              <a:effectLst>
                <a:outerShdw blurRad="38100" dist="19050" dir="2700000" algn="tl" rotWithShape="0">
                  <a:schemeClr val="dk1">
                    <a:alpha val="40000"/>
                  </a:schemeClr>
                </a:outerShdw>
              </a:effectLst>
            </a:endParaRPr>
          </a:p>
        </p:txBody>
      </p:sp>
      <p:sp>
        <p:nvSpPr>
          <p:cNvPr id="5" name="TextBox 4">
            <a:extLst>
              <a:ext uri="{FF2B5EF4-FFF2-40B4-BE49-F238E27FC236}">
                <a16:creationId xmlns:a16="http://schemas.microsoft.com/office/drawing/2014/main" id="{2ABFF5C9-73B2-AB57-95EF-ECB99A3FCE60}"/>
              </a:ext>
            </a:extLst>
          </p:cNvPr>
          <p:cNvSpPr txBox="1"/>
          <p:nvPr/>
        </p:nvSpPr>
        <p:spPr>
          <a:xfrm>
            <a:off x="7001946" y="701593"/>
            <a:ext cx="3552801" cy="369332"/>
          </a:xfrm>
          <a:prstGeom prst="rect">
            <a:avLst/>
          </a:prstGeom>
          <a:noFill/>
        </p:spPr>
        <p:txBody>
          <a:bodyPr wrap="square">
            <a:spAutoFit/>
          </a:bodyPr>
          <a:lstStyle/>
          <a:p>
            <a:r>
              <a:rPr lang="en-US" b="1" dirty="0">
                <a:ln w="0"/>
                <a:effectLst>
                  <a:outerShdw blurRad="38100" dist="19050" dir="2700000" algn="tl" rotWithShape="0">
                    <a:schemeClr val="dk1">
                      <a:alpha val="40000"/>
                    </a:schemeClr>
                  </a:outerShdw>
                </a:effectLst>
              </a:rPr>
              <a:t>Failure Mode/ Required Force (</a:t>
            </a:r>
            <a:r>
              <a:rPr lang="en-US" b="1" dirty="0" err="1">
                <a:ln w="0"/>
                <a:effectLst>
                  <a:outerShdw blurRad="38100" dist="19050" dir="2700000" algn="tl" rotWithShape="0">
                    <a:schemeClr val="dk1">
                      <a:alpha val="40000"/>
                    </a:schemeClr>
                  </a:outerShdw>
                </a:effectLst>
              </a:rPr>
              <a:t>kN</a:t>
            </a:r>
            <a:r>
              <a:rPr lang="en-US" b="1" dirty="0">
                <a:ln w="0"/>
                <a:effectLst>
                  <a:outerShdw blurRad="38100" dist="19050" dir="2700000" algn="tl" rotWithShape="0">
                    <a:schemeClr val="dk1">
                      <a:alpha val="40000"/>
                    </a:schemeClr>
                  </a:outerShdw>
                </a:effectLst>
              </a:rPr>
              <a:t>)</a:t>
            </a: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1013095-C52A-F0CD-A926-9EA74FA2FF54}"/>
                  </a:ext>
                </a:extLst>
              </p:cNvPr>
              <p:cNvSpPr txBox="1"/>
              <p:nvPr/>
            </p:nvSpPr>
            <p:spPr>
              <a:xfrm>
                <a:off x="657401" y="692905"/>
                <a:ext cx="4333523" cy="369332"/>
              </a:xfrm>
              <a:prstGeom prst="rect">
                <a:avLst/>
              </a:prstGeom>
              <a:noFill/>
            </p:spPr>
            <p:txBody>
              <a:bodyPr wrap="square">
                <a:spAutoFit/>
              </a:bodyPr>
              <a:lstStyle/>
              <a:p>
                <a:r>
                  <a:rPr lang="en-US" sz="1800" b="1">
                    <a:ln w="0"/>
                    <a:effectLst>
                      <a:outerShdw blurRad="38100" dist="19050" dir="2700000" algn="tl" rotWithShape="0">
                        <a:schemeClr val="dk1">
                          <a:alpha val="40000"/>
                        </a:schemeClr>
                      </a:outerShdw>
                    </a:effectLst>
                  </a:rPr>
                  <a:t>Expected </a:t>
                </a:r>
                <a14:m>
                  <m:oMath xmlns:m="http://schemas.openxmlformats.org/officeDocument/2006/math">
                    <m:sSub>
                      <m:sSubPr>
                        <m:ctrlPr>
                          <a:rPr lang="en-US" sz="1800" b="1" i="1">
                            <a:ln w="0"/>
                            <a:effectLst>
                              <a:outerShdw blurRad="38100" dist="19050" dir="2700000" algn="tl" rotWithShape="0">
                                <a:schemeClr val="dk1">
                                  <a:alpha val="40000"/>
                                </a:schemeClr>
                              </a:outerShdw>
                            </a:effectLst>
                            <a:latin typeface="Cambria Math" panose="02040503050406030204" pitchFamily="18" charset="0"/>
                          </a:rPr>
                        </m:ctrlPr>
                      </m:sSubPr>
                      <m:e>
                        <m:r>
                          <a:rPr lang="en-AU" sz="1800" b="1" i="1">
                            <a:ln w="0"/>
                            <a:effectLst>
                              <a:outerShdw blurRad="38100" dist="19050" dir="2700000" algn="tl" rotWithShape="0">
                                <a:schemeClr val="dk1">
                                  <a:alpha val="40000"/>
                                </a:schemeClr>
                              </a:outerShdw>
                            </a:effectLst>
                            <a:latin typeface="Cambria Math" panose="02040503050406030204" pitchFamily="18" charset="0"/>
                          </a:rPr>
                          <m:t>𝑭</m:t>
                        </m:r>
                      </m:e>
                      <m:sub>
                        <m:r>
                          <a:rPr lang="en-AU" sz="1800" b="1" i="1">
                            <a:ln w="0"/>
                            <a:effectLst>
                              <a:outerShdw blurRad="38100" dist="19050" dir="2700000" algn="tl" rotWithShape="0">
                                <a:schemeClr val="dk1">
                                  <a:alpha val="40000"/>
                                </a:schemeClr>
                              </a:outerShdw>
                            </a:effectLst>
                            <a:latin typeface="Cambria Math" panose="02040503050406030204" pitchFamily="18" charset="0"/>
                          </a:rPr>
                          <m:t>𝑴𝑨𝑿</m:t>
                        </m:r>
                      </m:sub>
                    </m:sSub>
                    <m:r>
                      <a:rPr lang="en-AU" sz="1800" b="1" i="1">
                        <a:ln w="0"/>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rPr>
                      <m:t>≈</m:t>
                    </m:r>
                    <m:r>
                      <a:rPr lang="en-AU" sz="1800" b="1" i="1">
                        <a:ln w="0"/>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rPr>
                      <m:t>𝟏</m:t>
                    </m:r>
                    <m:r>
                      <a:rPr lang="en-AU" sz="1800" b="1" i="1">
                        <a:ln w="0"/>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rPr>
                      <m:t>𝒌𝑵</m:t>
                    </m:r>
                    <m:r>
                      <a:rPr lang="en-AU" sz="1800" b="1" i="1" smtClean="0">
                        <a:ln w="0"/>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rPr>
                      <m:t>, </m:t>
                    </m:r>
                  </m:oMath>
                </a14:m>
                <a:r>
                  <a:rPr lang="en-US" sz="1800" b="1" err="1">
                    <a:ln w="0"/>
                    <a:effectLst>
                      <a:outerShdw blurRad="38100" dist="19050" dir="2700000" algn="tl" rotWithShape="0">
                        <a:schemeClr val="dk1">
                          <a:alpha val="40000"/>
                        </a:schemeClr>
                      </a:outerShdw>
                    </a:effectLst>
                  </a:rPr>
                  <a:t>FoS</a:t>
                </a:r>
                <a:r>
                  <a:rPr lang="en-US" sz="1800" b="1">
                    <a:ln w="0"/>
                    <a:effectLst>
                      <a:outerShdw blurRad="38100" dist="19050" dir="2700000" algn="tl" rotWithShape="0">
                        <a:schemeClr val="dk1">
                          <a:alpha val="40000"/>
                        </a:schemeClr>
                      </a:outerShdw>
                    </a:effectLst>
                  </a:rPr>
                  <a:t> </a:t>
                </a:r>
                <a14:m>
                  <m:oMath xmlns:m="http://schemas.openxmlformats.org/officeDocument/2006/math">
                    <m:r>
                      <a:rPr lang="en-US" sz="1800" b="1" i="1" smtClean="0">
                        <a:ln w="0"/>
                        <a:effectLst>
                          <a:outerShdw blurRad="38100" dist="19050" dir="2700000" algn="tl" rotWithShape="0">
                            <a:schemeClr val="dk1">
                              <a:alpha val="40000"/>
                            </a:schemeClr>
                          </a:outerShdw>
                        </a:effectLst>
                        <a:latin typeface="Cambria Math" panose="02040503050406030204" pitchFamily="18" charset="0"/>
                        <a:ea typeface="Cambria Math" panose="02040503050406030204" pitchFamily="18" charset="0"/>
                      </a:rPr>
                      <m:t>≈</m:t>
                    </m:r>
                  </m:oMath>
                </a14:m>
                <a:r>
                  <a:rPr lang="en-US" sz="1800" b="1">
                    <a:ln w="0"/>
                    <a:effectLst>
                      <a:outerShdw blurRad="38100" dist="19050" dir="2700000" algn="tl" rotWithShape="0">
                        <a:schemeClr val="dk1">
                          <a:alpha val="40000"/>
                        </a:schemeClr>
                      </a:outerShdw>
                    </a:effectLst>
                  </a:rPr>
                  <a:t> 1.25</a:t>
                </a:r>
              </a:p>
            </p:txBody>
          </p:sp>
        </mc:Choice>
        <mc:Fallback xmlns="">
          <p:sp>
            <p:nvSpPr>
              <p:cNvPr id="17" name="TextBox 16">
                <a:extLst>
                  <a:ext uri="{FF2B5EF4-FFF2-40B4-BE49-F238E27FC236}">
                    <a16:creationId xmlns:a16="http://schemas.microsoft.com/office/drawing/2014/main" id="{F1013095-C52A-F0CD-A926-9EA74FA2FF54}"/>
                  </a:ext>
                </a:extLst>
              </p:cNvPr>
              <p:cNvSpPr txBox="1">
                <a:spLocks noRot="1" noChangeAspect="1" noMove="1" noResize="1" noEditPoints="1" noAdjustHandles="1" noChangeArrowheads="1" noChangeShapeType="1" noTextEdit="1"/>
              </p:cNvSpPr>
              <p:nvPr/>
            </p:nvSpPr>
            <p:spPr>
              <a:xfrm>
                <a:off x="657401" y="692905"/>
                <a:ext cx="4333523" cy="369332"/>
              </a:xfrm>
              <a:prstGeom prst="rect">
                <a:avLst/>
              </a:prstGeom>
              <a:blipFill>
                <a:blip r:embed="rId12"/>
                <a:stretch>
                  <a:fillRect l="-1406" t="-11667" b="-31667"/>
                </a:stretch>
              </a:blipFill>
            </p:spPr>
            <p:txBody>
              <a:bodyPr/>
              <a:lstStyle/>
              <a:p>
                <a:r>
                  <a:rPr lang="en-US">
                    <a:noFill/>
                  </a:rPr>
                  <a:t> </a:t>
                </a:r>
              </a:p>
            </p:txBody>
          </p:sp>
        </mc:Fallback>
      </mc:AlternateContent>
      <p:pic>
        <p:nvPicPr>
          <p:cNvPr id="18" name="Picture 17" descr="A logo with text and a square with a arrow up&#10;&#10;AI-generated content may be incorrect.">
            <a:extLst>
              <a:ext uri="{FF2B5EF4-FFF2-40B4-BE49-F238E27FC236}">
                <a16:creationId xmlns:a16="http://schemas.microsoft.com/office/drawing/2014/main" id="{3DA7769E-C2B3-EB53-BE67-6453168A4B2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021706" y="174422"/>
            <a:ext cx="896504" cy="896504"/>
          </a:xfrm>
          <a:prstGeom prst="roundRect">
            <a:avLst/>
          </a:prstGeom>
        </p:spPr>
      </p:pic>
    </p:spTree>
    <p:extLst>
      <p:ext uri="{BB962C8B-B14F-4D97-AF65-F5344CB8AC3E}">
        <p14:creationId xmlns:p14="http://schemas.microsoft.com/office/powerpoint/2010/main" val="28864271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D0997-CB4A-0E0D-562A-50E0C6F423BC}"/>
            </a:ext>
          </a:extLst>
        </p:cNvPr>
        <p:cNvGrpSpPr/>
        <p:nvPr/>
      </p:nvGrpSpPr>
      <p:grpSpPr>
        <a:xfrm>
          <a:off x="0" y="0"/>
          <a:ext cx="0" cy="0"/>
          <a:chOff x="0" y="0"/>
          <a:chExt cx="0" cy="0"/>
        </a:xfrm>
      </p:grpSpPr>
      <p:pic>
        <p:nvPicPr>
          <p:cNvPr id="4" name="Picture 3" descr="A white and blue background&#10;&#10;AI-generated content may be incorrect.">
            <a:extLst>
              <a:ext uri="{FF2B5EF4-FFF2-40B4-BE49-F238E27FC236}">
                <a16:creationId xmlns:a16="http://schemas.microsoft.com/office/drawing/2014/main" id="{C71FCF2F-8D4B-3A8E-6D6C-0A3C42A37DE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8A7678AE-908E-3E50-56CC-57235ED5D4D7}"/>
              </a:ext>
            </a:extLst>
          </p:cNvPr>
          <p:cNvSpPr txBox="1"/>
          <p:nvPr/>
        </p:nvSpPr>
        <p:spPr>
          <a:xfrm>
            <a:off x="596899" y="589171"/>
            <a:ext cx="9570357" cy="2308324"/>
          </a:xfrm>
          <a:prstGeom prst="rect">
            <a:avLst/>
          </a:prstGeom>
          <a:noFill/>
        </p:spPr>
        <p:txBody>
          <a:bodyPr wrap="square">
            <a:spAutoFit/>
          </a:bodyPr>
          <a:lstStyle/>
          <a:p>
            <a:pPr lvl="0">
              <a:defRPr/>
            </a:pPr>
            <a:r>
              <a:rPr lang="en-US" sz="3600" dirty="0">
                <a:latin typeface="Century Gothic" panose="020B0502020202020204" pitchFamily="34" charset="0"/>
              </a:rPr>
              <a:t>We believe the Easy-Up assist device is ready for further prototyping, to empower the lives of elderly customers.</a:t>
            </a:r>
          </a:p>
          <a:p>
            <a:pPr lvl="0">
              <a:defRPr/>
            </a:pPr>
            <a:endParaRPr kumimoji="0" lang="en-US" sz="3600" i="0" u="none" strike="noStrike" kern="1200" cap="none" spc="-150" normalizeH="0" baseline="0" noProof="0" dirty="0">
              <a:ln>
                <a:noFill/>
              </a:ln>
              <a:solidFill>
                <a:srgbClr val="140812"/>
              </a:solidFill>
              <a:effectLst/>
              <a:uLnTx/>
              <a:uFillTx/>
              <a:latin typeface="Century Gothic" panose="020B0502020202020204" pitchFamily="34" charset="0"/>
            </a:endParaRPr>
          </a:p>
        </p:txBody>
      </p:sp>
      <p:pic>
        <p:nvPicPr>
          <p:cNvPr id="7" name="Picture 6" descr="A logo with text and a square with a arrow up&#10;&#10;AI-generated content may be incorrect.">
            <a:extLst>
              <a:ext uri="{FF2B5EF4-FFF2-40B4-BE49-F238E27FC236}">
                <a16:creationId xmlns:a16="http://schemas.microsoft.com/office/drawing/2014/main" id="{63BEA4D3-48AF-C505-E998-2EBF826E0B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150" y="239027"/>
            <a:ext cx="1434066" cy="1434066"/>
          </a:xfrm>
          <a:prstGeom prst="roundRect">
            <a:avLst/>
          </a:prstGeom>
        </p:spPr>
      </p:pic>
      <mc:AlternateContent xmlns:mc="http://schemas.openxmlformats.org/markup-compatibility/2006">
        <mc:Choice xmlns:am3d="http://schemas.microsoft.com/office/drawing/2017/model3d" Requires="am3d">
          <p:graphicFrame>
            <p:nvGraphicFramePr>
              <p:cNvPr id="8" name="3D Model 7">
                <a:extLst>
                  <a:ext uri="{FF2B5EF4-FFF2-40B4-BE49-F238E27FC236}">
                    <a16:creationId xmlns:a16="http://schemas.microsoft.com/office/drawing/2014/main" id="{9B635E8A-B7F8-89DD-1FB8-2C7FCF0553FF}"/>
                  </a:ext>
                </a:extLst>
              </p:cNvPr>
              <p:cNvGraphicFramePr>
                <a:graphicFrameLocks noChangeAspect="1"/>
              </p:cNvGraphicFramePr>
              <p:nvPr>
                <p:extLst>
                  <p:ext uri="{D42A27DB-BD31-4B8C-83A1-F6EECF244321}">
                    <p14:modId xmlns:p14="http://schemas.microsoft.com/office/powerpoint/2010/main" val="3699805003"/>
                  </p:ext>
                </p:extLst>
              </p:nvPr>
            </p:nvGraphicFramePr>
            <p:xfrm>
              <a:off x="3710890" y="2579914"/>
              <a:ext cx="4770220" cy="4066611"/>
            </p:xfrm>
            <a:graphic>
              <a:graphicData uri="http://schemas.microsoft.com/office/drawing/2017/model3d">
                <am3d:model3d r:embed="rId4">
                  <am3d:spPr>
                    <a:xfrm>
                      <a:off x="0" y="0"/>
                      <a:ext cx="4770220" cy="4066611"/>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9677123" ay="2545217" az="10027675"/>
                    <am3d:postTrans dx="0" dy="0" dz="0"/>
                  </am3d:trans>
                  <am3d:raster rName="Office3DRenderer" rVer="16.0.8326">
                    <am3d:blip r:embed="rId5"/>
                  </am3d:raster>
                  <am3d:objViewport viewportSz="568526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 Model 7">
                <a:extLst>
                  <a:ext uri="{FF2B5EF4-FFF2-40B4-BE49-F238E27FC236}">
                    <a16:creationId xmlns:a16="http://schemas.microsoft.com/office/drawing/2014/main" id="{9B635E8A-B7F8-89DD-1FB8-2C7FCF0553FF}"/>
                  </a:ext>
                </a:extLst>
              </p:cNvPr>
              <p:cNvPicPr>
                <a:picLocks noGrp="1" noRot="1" noChangeAspect="1" noMove="1" noResize="1" noEditPoints="1" noAdjustHandles="1" noChangeArrowheads="1" noChangeShapeType="1" noCrop="1"/>
              </p:cNvPicPr>
              <p:nvPr/>
            </p:nvPicPr>
            <p:blipFill>
              <a:blip r:embed="rId5"/>
              <a:stretch>
                <a:fillRect/>
              </a:stretch>
            </p:blipFill>
            <p:spPr>
              <a:xfrm>
                <a:off x="3710890" y="2579914"/>
                <a:ext cx="4770220" cy="4066611"/>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9" name="3D Model 8">
                <a:extLst>
                  <a:ext uri="{FF2B5EF4-FFF2-40B4-BE49-F238E27FC236}">
                    <a16:creationId xmlns:a16="http://schemas.microsoft.com/office/drawing/2014/main" id="{4E7846BC-119E-97B3-0100-A239042AF31B}"/>
                  </a:ext>
                </a:extLst>
              </p:cNvPr>
              <p:cNvGraphicFramePr>
                <a:graphicFrameLocks noChangeAspect="1"/>
              </p:cNvGraphicFramePr>
              <p:nvPr>
                <p:extLst>
                  <p:ext uri="{D42A27DB-BD31-4B8C-83A1-F6EECF244321}">
                    <p14:modId xmlns:p14="http://schemas.microsoft.com/office/powerpoint/2010/main" val="249838933"/>
                  </p:ext>
                </p:extLst>
              </p:nvPr>
            </p:nvGraphicFramePr>
            <p:xfrm>
              <a:off x="8753801" y="4240078"/>
              <a:ext cx="3345123" cy="1783543"/>
            </p:xfrm>
            <a:graphic>
              <a:graphicData uri="http://schemas.microsoft.com/office/drawing/2017/model3d">
                <am3d:model3d r:embed="rId4">
                  <am3d:spPr>
                    <a:xfrm>
                      <a:off x="0" y="0"/>
                      <a:ext cx="3345123" cy="1783543"/>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y="10800000"/>
                    <am3d:postTrans dx="0" dy="0" dz="0"/>
                  </am3d:trans>
                  <am3d:raster rName="Office3DRenderer" rVer="16.0.8326">
                    <am3d:blip r:embed="rId6"/>
                  </am3d:raster>
                  <am3d:objViewport viewportSz="403869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a:extLst>
                  <a:ext uri="{FF2B5EF4-FFF2-40B4-BE49-F238E27FC236}">
                    <a16:creationId xmlns:a16="http://schemas.microsoft.com/office/drawing/2014/main" id="{4E7846BC-119E-97B3-0100-A239042AF31B}"/>
                  </a:ext>
                </a:extLst>
              </p:cNvPr>
              <p:cNvPicPr>
                <a:picLocks noGrp="1" noRot="1" noChangeAspect="1" noMove="1" noResize="1" noEditPoints="1" noAdjustHandles="1" noChangeArrowheads="1" noChangeShapeType="1" noCrop="1"/>
              </p:cNvPicPr>
              <p:nvPr/>
            </p:nvPicPr>
            <p:blipFill>
              <a:blip r:embed="rId6"/>
              <a:stretch>
                <a:fillRect/>
              </a:stretch>
            </p:blipFill>
            <p:spPr>
              <a:xfrm>
                <a:off x="8753801" y="4240078"/>
                <a:ext cx="3345123" cy="1783543"/>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0" name="3D Model 9">
                <a:extLst>
                  <a:ext uri="{FF2B5EF4-FFF2-40B4-BE49-F238E27FC236}">
                    <a16:creationId xmlns:a16="http://schemas.microsoft.com/office/drawing/2014/main" id="{A3A1E899-6DD2-7804-8915-F0DD535C79B0}"/>
                  </a:ext>
                </a:extLst>
              </p:cNvPr>
              <p:cNvGraphicFramePr>
                <a:graphicFrameLocks noChangeAspect="1"/>
              </p:cNvGraphicFramePr>
              <p:nvPr>
                <p:extLst>
                  <p:ext uri="{D42A27DB-BD31-4B8C-83A1-F6EECF244321}">
                    <p14:modId xmlns:p14="http://schemas.microsoft.com/office/powerpoint/2010/main" val="2551104158"/>
                  </p:ext>
                </p:extLst>
              </p:nvPr>
            </p:nvGraphicFramePr>
            <p:xfrm>
              <a:off x="377203" y="3958363"/>
              <a:ext cx="2501102" cy="2065258"/>
            </p:xfrm>
            <a:graphic>
              <a:graphicData uri="http://schemas.microsoft.com/office/drawing/2017/model3d">
                <am3d:model3d r:embed="rId4">
                  <am3d:spPr>
                    <a:xfrm>
                      <a:off x="0" y="0"/>
                      <a:ext cx="2501102" cy="2065258"/>
                    </a:xfrm>
                    <a:prstGeom prst="rect">
                      <a:avLst/>
                    </a:prstGeom>
                  </am3d:spPr>
                  <am3d:camera>
                    <am3d:pos x="0" y="0" z="69580235"/>
                    <am3d:up dx="0" dy="36000000" dz="0"/>
                    <am3d:lookAt x="0" y="0" z="0"/>
                    <am3d:perspective fov="2700000"/>
                  </am3d:camera>
                  <am3d:trans>
                    <am3d:meterPerModelUnit n="1980831" d="1000000"/>
                    <am3d:preTrans dx="-17999995" dy="-27960632" dz="-17114385"/>
                    <am3d:scale>
                      <am3d:sx n="1000000" d="1000000"/>
                      <am3d:sy n="1000000" d="1000000"/>
                      <am3d:sz n="1000000" d="1000000"/>
                    </am3d:scale>
                    <am3d:rot ax="1200000"/>
                    <am3d:postTrans dx="0" dy="0" dz="0"/>
                  </am3d:trans>
                  <am3d:raster rName="Office3DRenderer" rVer="16.0.8326">
                    <am3d:blip r:embed="rId7"/>
                  </am3d:raster>
                  <am3d:objViewport viewportSz="326611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0" name="3D Model 9">
                <a:extLst>
                  <a:ext uri="{FF2B5EF4-FFF2-40B4-BE49-F238E27FC236}">
                    <a16:creationId xmlns:a16="http://schemas.microsoft.com/office/drawing/2014/main" id="{A3A1E899-6DD2-7804-8915-F0DD535C79B0}"/>
                  </a:ext>
                </a:extLst>
              </p:cNvPr>
              <p:cNvPicPr>
                <a:picLocks noGrp="1" noRot="1" noChangeAspect="1" noMove="1" noResize="1" noEditPoints="1" noAdjustHandles="1" noChangeArrowheads="1" noChangeShapeType="1" noCrop="1"/>
              </p:cNvPicPr>
              <p:nvPr/>
            </p:nvPicPr>
            <p:blipFill>
              <a:blip r:embed="rId7"/>
              <a:stretch>
                <a:fillRect/>
              </a:stretch>
            </p:blipFill>
            <p:spPr>
              <a:xfrm>
                <a:off x="377203" y="3958363"/>
                <a:ext cx="2501102" cy="2065258"/>
              </a:xfrm>
              <a:prstGeom prst="rect">
                <a:avLst/>
              </a:prstGeom>
            </p:spPr>
          </p:pic>
        </mc:Fallback>
      </mc:AlternateContent>
    </p:spTree>
    <p:extLst>
      <p:ext uri="{BB962C8B-B14F-4D97-AF65-F5344CB8AC3E}">
        <p14:creationId xmlns:p14="http://schemas.microsoft.com/office/powerpoint/2010/main" val="12066660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F3D4A"/>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90938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1300" b="0" i="0" u="none" strike="noStrike" kern="0" cap="none" spc="0" normalizeH="0" baseline="0" noProof="0">
                <a:ln>
                  <a:noFill/>
                </a:ln>
                <a:solidFill>
                  <a:prstClr val="white"/>
                </a:solidFill>
                <a:effectLst/>
                <a:uLnTx/>
                <a:uFillTx/>
                <a:latin typeface="Century Gothic" panose="020B0502020202020204" pitchFamily="34" charset="0"/>
              </a:rPr>
              <a:t>Our </a:t>
            </a:r>
            <a:r>
              <a:rPr lang="en-US" sz="11300" kern="0">
                <a:solidFill>
                  <a:prstClr val="white"/>
                </a:solidFill>
                <a:latin typeface="Century Gothic" panose="020B0502020202020204" pitchFamily="34" charset="0"/>
              </a:rPr>
              <a:t>Engineering Team</a:t>
            </a:r>
            <a:endParaRPr kumimoji="0" lang="en-US" sz="11300" b="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287" name="Group 286">
            <a:extLst>
              <a:ext uri="{FF2B5EF4-FFF2-40B4-BE49-F238E27FC236}">
                <a16:creationId xmlns:a16="http://schemas.microsoft.com/office/drawing/2014/main" id="{40BD55C2-330E-3359-E607-0612210362C1}"/>
              </a:ext>
            </a:extLst>
          </p:cNvPr>
          <p:cNvGrpSpPr/>
          <p:nvPr/>
        </p:nvGrpSpPr>
        <p:grpSpPr>
          <a:xfrm>
            <a:off x="234547" y="7342788"/>
            <a:ext cx="11709360" cy="4900966"/>
            <a:chOff x="234547" y="338873"/>
            <a:chExt cx="11709360" cy="4900966"/>
          </a:xfrm>
        </p:grpSpPr>
        <p:cxnSp>
          <p:nvCxnSpPr>
            <p:cNvPr id="288" name="Straight Connector 287">
              <a:extLst>
                <a:ext uri="{FF2B5EF4-FFF2-40B4-BE49-F238E27FC236}">
                  <a16:creationId xmlns:a16="http://schemas.microsoft.com/office/drawing/2014/main" id="{C6CDAFE0-B504-DD58-BB39-D68A4869552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289" name="Oval 288">
              <a:extLst>
                <a:ext uri="{FF2B5EF4-FFF2-40B4-BE49-F238E27FC236}">
                  <a16:creationId xmlns:a16="http://schemas.microsoft.com/office/drawing/2014/main" id="{7276CCCD-6AB5-9637-F89D-F0390F47439A}"/>
                </a:ext>
              </a:extLst>
            </p:cNvPr>
            <p:cNvSpPr/>
            <p:nvPr/>
          </p:nvSpPr>
          <p:spPr>
            <a:xfrm>
              <a:off x="5842207" y="338873"/>
              <a:ext cx="507586" cy="507586"/>
            </a:xfrm>
            <a:prstGeom prst="ellipse">
              <a:avLst/>
            </a:prstGeom>
            <a:blipFill dpi="0" rotWithShape="0">
              <a:blip r:embed="rId2">
                <a:lum/>
              </a:blip>
              <a:srcRect/>
              <a:stretch>
                <a:fillRect l="-1922467" t="-367961" r="-379491"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90" name="Graphic 289">
              <a:extLst>
                <a:ext uri="{FF2B5EF4-FFF2-40B4-BE49-F238E27FC236}">
                  <a16:creationId xmlns:a16="http://schemas.microsoft.com/office/drawing/2014/main" id="{FD372D03-EECF-FBBE-B46F-948E892C94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291" name="TextBox 290">
              <a:extLst>
                <a:ext uri="{FF2B5EF4-FFF2-40B4-BE49-F238E27FC236}">
                  <a16:creationId xmlns:a16="http://schemas.microsoft.com/office/drawing/2014/main" id="{2BD64E14-F291-FCCC-2A7B-B732C0E89E46}"/>
                </a:ext>
              </a:extLst>
            </p:cNvPr>
            <p:cNvSpPr txBox="1"/>
            <p:nvPr/>
          </p:nvSpPr>
          <p:spPr>
            <a:xfrm>
              <a:off x="2359185"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EO</a:t>
              </a:r>
              <a:endParaRPr lang="en-GB" sz="1600">
                <a:solidFill>
                  <a:schemeClr val="bg1"/>
                </a:solidFill>
                <a:latin typeface="Darker Grotesque" pitchFamily="2" charset="0"/>
              </a:endParaRPr>
            </a:p>
          </p:txBody>
        </p:sp>
        <p:sp>
          <p:nvSpPr>
            <p:cNvPr id="292" name="TextBox 291">
              <a:extLst>
                <a:ext uri="{FF2B5EF4-FFF2-40B4-BE49-F238E27FC236}">
                  <a16:creationId xmlns:a16="http://schemas.microsoft.com/office/drawing/2014/main" id="{1D6ACFF2-4AB2-29B4-8CBF-7F0716EA29D4}"/>
                </a:ext>
              </a:extLst>
            </p:cNvPr>
            <p:cNvSpPr txBox="1"/>
            <p:nvPr/>
          </p:nvSpPr>
          <p:spPr>
            <a:xfrm>
              <a:off x="2403123" y="4671889"/>
              <a:ext cx="846706" cy="275332"/>
            </a:xfrm>
            <a:prstGeom prst="rect">
              <a:avLst/>
            </a:prstGeom>
            <a:noFill/>
          </p:spPr>
          <p:txBody>
            <a:bodyPr wrap="none" rtlCol="0">
              <a:spAutoFit/>
            </a:bodyPr>
            <a:lstStyle/>
            <a:p>
              <a:pPr algn="ctr">
                <a:lnSpc>
                  <a:spcPct val="70000"/>
                </a:lnSpc>
              </a:pPr>
              <a:r>
                <a:rPr lang="en-US" sz="1600">
                  <a:solidFill>
                    <a:schemeClr val="bg1"/>
                  </a:solidFill>
                  <a:latin typeface="+mj-lt"/>
                </a:rPr>
                <a:t>Obi Wan</a:t>
              </a:r>
              <a:endParaRPr lang="en-GB" sz="1600">
                <a:solidFill>
                  <a:schemeClr val="bg1"/>
                </a:solidFill>
                <a:latin typeface="+mj-lt"/>
              </a:endParaRPr>
            </a:p>
          </p:txBody>
        </p:sp>
        <p:sp>
          <p:nvSpPr>
            <p:cNvPr id="293" name="Rounded Rectangle 24">
              <a:extLst>
                <a:ext uri="{FF2B5EF4-FFF2-40B4-BE49-F238E27FC236}">
                  <a16:creationId xmlns:a16="http://schemas.microsoft.com/office/drawing/2014/main" id="{340780BC-6989-5F24-8C34-BCE8F38A435C}"/>
                </a:ext>
              </a:extLst>
            </p:cNvPr>
            <p:cNvSpPr/>
            <p:nvPr/>
          </p:nvSpPr>
          <p:spPr>
            <a:xfrm>
              <a:off x="2143125"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294" name="Freeform: Shape 293">
              <a:extLst>
                <a:ext uri="{FF2B5EF4-FFF2-40B4-BE49-F238E27FC236}">
                  <a16:creationId xmlns:a16="http://schemas.microsoft.com/office/drawing/2014/main" id="{CA81D347-D0B1-35F7-EA5C-1C58B907967E}"/>
                </a:ext>
              </a:extLst>
            </p:cNvPr>
            <p:cNvSpPr/>
            <p:nvPr/>
          </p:nvSpPr>
          <p:spPr>
            <a:xfrm>
              <a:off x="2728339" y="3422713"/>
              <a:ext cx="272746" cy="137467"/>
            </a:xfrm>
            <a:custGeom>
              <a:avLst/>
              <a:gdLst>
                <a:gd name="connsiteX0" fmla="*/ 269204 w 272746"/>
                <a:gd name="connsiteY0" fmla="*/ 135867 h 137467"/>
                <a:gd name="connsiteX1" fmla="*/ 255799 w 272746"/>
                <a:gd name="connsiteY1" fmla="*/ 65825 h 137467"/>
                <a:gd name="connsiteX2" fmla="*/ 234748 w 272746"/>
                <a:gd name="connsiteY2" fmla="*/ 26021 h 137467"/>
                <a:gd name="connsiteX3" fmla="*/ 133084 w 272746"/>
                <a:gd name="connsiteY3" fmla="*/ 2192 h 137467"/>
                <a:gd name="connsiteX4" fmla="*/ 55350 w 272746"/>
                <a:gd name="connsiteY4" fmla="*/ 11850 h 137467"/>
                <a:gd name="connsiteX5" fmla="*/ 6679 w 272746"/>
                <a:gd name="connsiteY5" fmla="*/ 56619 h 137467"/>
                <a:gd name="connsiteX6" fmla="*/ 19543 w 272746"/>
                <a:gd name="connsiteY6" fmla="*/ 89294 h 137467"/>
                <a:gd name="connsiteX7" fmla="*/ 269204 w 272746"/>
                <a:gd name="connsiteY7" fmla="*/ 135867 h 1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746" h="137467">
                  <a:moveTo>
                    <a:pt x="269204" y="135867"/>
                  </a:moveTo>
                  <a:cubicBezTo>
                    <a:pt x="288098" y="126841"/>
                    <a:pt x="265426" y="71061"/>
                    <a:pt x="255799" y="65825"/>
                  </a:cubicBezTo>
                  <a:cubicBezTo>
                    <a:pt x="248781" y="62035"/>
                    <a:pt x="248871" y="35408"/>
                    <a:pt x="234748" y="26021"/>
                  </a:cubicBezTo>
                  <a:cubicBezTo>
                    <a:pt x="215674" y="13385"/>
                    <a:pt x="155126" y="3997"/>
                    <a:pt x="133084" y="2192"/>
                  </a:cubicBezTo>
                  <a:cubicBezTo>
                    <a:pt x="111941" y="477"/>
                    <a:pt x="75143" y="4088"/>
                    <a:pt x="55350" y="11850"/>
                  </a:cubicBezTo>
                  <a:cubicBezTo>
                    <a:pt x="31420" y="21147"/>
                    <a:pt x="17835" y="36671"/>
                    <a:pt x="6679" y="56619"/>
                  </a:cubicBezTo>
                  <a:cubicBezTo>
                    <a:pt x="-339" y="69166"/>
                    <a:pt x="5778" y="85050"/>
                    <a:pt x="19543" y="89294"/>
                  </a:cubicBezTo>
                  <a:cubicBezTo>
                    <a:pt x="80002" y="107887"/>
                    <a:pt x="231328" y="151662"/>
                    <a:pt x="269204" y="13586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295" name="Freeform: Shape 294">
              <a:extLst>
                <a:ext uri="{FF2B5EF4-FFF2-40B4-BE49-F238E27FC236}">
                  <a16:creationId xmlns:a16="http://schemas.microsoft.com/office/drawing/2014/main" id="{A51F89A1-85B5-CD2F-0079-23EB5B06185C}"/>
                </a:ext>
              </a:extLst>
            </p:cNvPr>
            <p:cNvSpPr/>
            <p:nvPr/>
          </p:nvSpPr>
          <p:spPr>
            <a:xfrm>
              <a:off x="2230908" y="3454441"/>
              <a:ext cx="1115774" cy="1010020"/>
            </a:xfrm>
            <a:custGeom>
              <a:avLst/>
              <a:gdLst>
                <a:gd name="connsiteX0" fmla="*/ 644100 w 1115774"/>
                <a:gd name="connsiteY0" fmla="*/ 1011793 h 1010020"/>
                <a:gd name="connsiteX1" fmla="*/ 496821 w 1115774"/>
                <a:gd name="connsiteY1" fmla="*/ 1007551 h 1010020"/>
                <a:gd name="connsiteX2" fmla="*/ 385890 w 1115774"/>
                <a:gd name="connsiteY2" fmla="*/ 1002948 h 1010020"/>
                <a:gd name="connsiteX3" fmla="*/ 297904 w 1115774"/>
                <a:gd name="connsiteY3" fmla="*/ 1002858 h 1010020"/>
                <a:gd name="connsiteX4" fmla="*/ 282339 w 1115774"/>
                <a:gd name="connsiteY4" fmla="*/ 1001865 h 1010020"/>
                <a:gd name="connsiteX5" fmla="*/ 64885 w 1115774"/>
                <a:gd name="connsiteY5" fmla="*/ 990763 h 1010020"/>
                <a:gd name="connsiteX6" fmla="*/ 40775 w 1115774"/>
                <a:gd name="connsiteY6" fmla="*/ 996269 h 1010020"/>
                <a:gd name="connsiteX7" fmla="*/ 10364 w 1115774"/>
                <a:gd name="connsiteY7" fmla="*/ 902308 h 1010020"/>
                <a:gd name="connsiteX8" fmla="*/ 12794 w 1115774"/>
                <a:gd name="connsiteY8" fmla="*/ 637666 h 1010020"/>
                <a:gd name="connsiteX9" fmla="*/ 90077 w 1115774"/>
                <a:gd name="connsiteY9" fmla="*/ 307495 h 1010020"/>
                <a:gd name="connsiteX10" fmla="*/ 155304 w 1115774"/>
                <a:gd name="connsiteY10" fmla="*/ 202341 h 1010020"/>
                <a:gd name="connsiteX11" fmla="*/ 212972 w 1115774"/>
                <a:gd name="connsiteY11" fmla="*/ 160281 h 1010020"/>
                <a:gd name="connsiteX12" fmla="*/ 236185 w 1115774"/>
                <a:gd name="connsiteY12" fmla="*/ 131037 h 1010020"/>
                <a:gd name="connsiteX13" fmla="*/ 271992 w 1115774"/>
                <a:gd name="connsiteY13" fmla="*/ 116866 h 1010020"/>
                <a:gd name="connsiteX14" fmla="*/ 298802 w 1115774"/>
                <a:gd name="connsiteY14" fmla="*/ 93489 h 1010020"/>
                <a:gd name="connsiteX15" fmla="*/ 327771 w 1115774"/>
                <a:gd name="connsiteY15" fmla="*/ 84643 h 1010020"/>
                <a:gd name="connsiteX16" fmla="*/ 440051 w 1115774"/>
                <a:gd name="connsiteY16" fmla="*/ 46463 h 1010020"/>
                <a:gd name="connsiteX17" fmla="*/ 473699 w 1115774"/>
                <a:gd name="connsiteY17" fmla="*/ 36444 h 1010020"/>
                <a:gd name="connsiteX18" fmla="*/ 499521 w 1115774"/>
                <a:gd name="connsiteY18" fmla="*/ 13879 h 1010020"/>
                <a:gd name="connsiteX19" fmla="*/ 546484 w 1115774"/>
                <a:gd name="connsiteY19" fmla="*/ 11803 h 1010020"/>
                <a:gd name="connsiteX20" fmla="*/ 737576 w 1115774"/>
                <a:gd name="connsiteY20" fmla="*/ 33194 h 1010020"/>
                <a:gd name="connsiteX21" fmla="*/ 780671 w 1115774"/>
                <a:gd name="connsiteY21" fmla="*/ 35541 h 1010020"/>
                <a:gd name="connsiteX22" fmla="*/ 803073 w 1115774"/>
                <a:gd name="connsiteY22" fmla="*/ 86087 h 1010020"/>
                <a:gd name="connsiteX23" fmla="*/ 826195 w 1115774"/>
                <a:gd name="connsiteY23" fmla="*/ 91593 h 1010020"/>
                <a:gd name="connsiteX24" fmla="*/ 846976 w 1115774"/>
                <a:gd name="connsiteY24" fmla="*/ 102334 h 1010020"/>
                <a:gd name="connsiteX25" fmla="*/ 859393 w 1115774"/>
                <a:gd name="connsiteY25" fmla="*/ 109915 h 1010020"/>
                <a:gd name="connsiteX26" fmla="*/ 1042836 w 1115774"/>
                <a:gd name="connsiteY26" fmla="*/ 313452 h 1010020"/>
                <a:gd name="connsiteX27" fmla="*/ 1062899 w 1115774"/>
                <a:gd name="connsiteY27" fmla="*/ 384938 h 1010020"/>
                <a:gd name="connsiteX28" fmla="*/ 1078555 w 1115774"/>
                <a:gd name="connsiteY28" fmla="*/ 492527 h 1010020"/>
                <a:gd name="connsiteX29" fmla="*/ 1077655 w 1115774"/>
                <a:gd name="connsiteY29" fmla="*/ 553453 h 1010020"/>
                <a:gd name="connsiteX30" fmla="*/ 1088270 w 1115774"/>
                <a:gd name="connsiteY30" fmla="*/ 586579 h 1010020"/>
                <a:gd name="connsiteX31" fmla="*/ 1085213 w 1115774"/>
                <a:gd name="connsiteY31" fmla="*/ 640373 h 1010020"/>
                <a:gd name="connsiteX32" fmla="*/ 1106264 w 1115774"/>
                <a:gd name="connsiteY32" fmla="*/ 807354 h 1010020"/>
                <a:gd name="connsiteX33" fmla="*/ 1106264 w 1115774"/>
                <a:gd name="connsiteY33" fmla="*/ 911965 h 1010020"/>
                <a:gd name="connsiteX34" fmla="*/ 1107615 w 1115774"/>
                <a:gd name="connsiteY34" fmla="*/ 921895 h 1010020"/>
                <a:gd name="connsiteX35" fmla="*/ 1112381 w 1115774"/>
                <a:gd name="connsiteY35" fmla="*/ 930740 h 1010020"/>
                <a:gd name="connsiteX36" fmla="*/ 1112381 w 1115774"/>
                <a:gd name="connsiteY36" fmla="*/ 930740 h 1010020"/>
                <a:gd name="connsiteX37" fmla="*/ 1091510 w 1115774"/>
                <a:gd name="connsiteY37" fmla="*/ 977313 h 1010020"/>
                <a:gd name="connsiteX38" fmla="*/ 994434 w 1115774"/>
                <a:gd name="connsiteY38" fmla="*/ 990852 h 1010020"/>
                <a:gd name="connsiteX39" fmla="*/ 979859 w 1115774"/>
                <a:gd name="connsiteY39" fmla="*/ 992568 h 1010020"/>
                <a:gd name="connsiteX40" fmla="*/ 949270 w 1115774"/>
                <a:gd name="connsiteY40" fmla="*/ 996449 h 1010020"/>
                <a:gd name="connsiteX41" fmla="*/ 949270 w 1115774"/>
                <a:gd name="connsiteY41" fmla="*/ 996449 h 1010020"/>
                <a:gd name="connsiteX42" fmla="*/ 883864 w 1115774"/>
                <a:gd name="connsiteY42" fmla="*/ 996900 h 1010020"/>
                <a:gd name="connsiteX43" fmla="*/ 819447 w 1115774"/>
                <a:gd name="connsiteY43" fmla="*/ 999066 h 1010020"/>
                <a:gd name="connsiteX44" fmla="*/ 819447 w 1115774"/>
                <a:gd name="connsiteY44" fmla="*/ 999066 h 1010020"/>
                <a:gd name="connsiteX45" fmla="*/ 644100 w 1115774"/>
                <a:gd name="connsiteY45" fmla="*/ 1011793 h 10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5774" h="1010020">
                  <a:moveTo>
                    <a:pt x="644100" y="1011793"/>
                  </a:moveTo>
                  <a:cubicBezTo>
                    <a:pt x="595966" y="1011793"/>
                    <a:pt x="549454" y="1009898"/>
                    <a:pt x="496821" y="1007551"/>
                  </a:cubicBezTo>
                  <a:cubicBezTo>
                    <a:pt x="455976" y="1007551"/>
                    <a:pt x="424577" y="996178"/>
                    <a:pt x="385890" y="1002948"/>
                  </a:cubicBezTo>
                  <a:cubicBezTo>
                    <a:pt x="355482" y="1011793"/>
                    <a:pt x="329660" y="1004843"/>
                    <a:pt x="297904" y="1002858"/>
                  </a:cubicBezTo>
                  <a:cubicBezTo>
                    <a:pt x="297453" y="1002767"/>
                    <a:pt x="283058" y="1001955"/>
                    <a:pt x="282339" y="1001865"/>
                  </a:cubicBezTo>
                  <a:cubicBezTo>
                    <a:pt x="209645" y="999066"/>
                    <a:pt x="137760" y="991846"/>
                    <a:pt x="64885" y="990763"/>
                  </a:cubicBezTo>
                  <a:cubicBezTo>
                    <a:pt x="63086" y="1001955"/>
                    <a:pt x="46442" y="1007732"/>
                    <a:pt x="40775" y="996269"/>
                  </a:cubicBezTo>
                  <a:cubicBezTo>
                    <a:pt x="26739" y="965580"/>
                    <a:pt x="16664" y="935163"/>
                    <a:pt x="10364" y="902308"/>
                  </a:cubicBezTo>
                  <a:cubicBezTo>
                    <a:pt x="-5380" y="814936"/>
                    <a:pt x="11805" y="725670"/>
                    <a:pt x="12794" y="637666"/>
                  </a:cubicBezTo>
                  <a:cubicBezTo>
                    <a:pt x="13784" y="520960"/>
                    <a:pt x="35105" y="412286"/>
                    <a:pt x="90077" y="307495"/>
                  </a:cubicBezTo>
                  <a:cubicBezTo>
                    <a:pt x="107890" y="270579"/>
                    <a:pt x="125974" y="231857"/>
                    <a:pt x="155304" y="202341"/>
                  </a:cubicBezTo>
                  <a:cubicBezTo>
                    <a:pt x="171949" y="184922"/>
                    <a:pt x="192549" y="172647"/>
                    <a:pt x="212972" y="160281"/>
                  </a:cubicBezTo>
                  <a:cubicBezTo>
                    <a:pt x="223500" y="152970"/>
                    <a:pt x="227188" y="139792"/>
                    <a:pt x="236185" y="131037"/>
                  </a:cubicBezTo>
                  <a:cubicBezTo>
                    <a:pt x="245452" y="120476"/>
                    <a:pt x="260115" y="121650"/>
                    <a:pt x="271992" y="116866"/>
                  </a:cubicBezTo>
                  <a:cubicBezTo>
                    <a:pt x="282427" y="110818"/>
                    <a:pt x="288366" y="99806"/>
                    <a:pt x="298802" y="93489"/>
                  </a:cubicBezTo>
                  <a:cubicBezTo>
                    <a:pt x="307529" y="87802"/>
                    <a:pt x="317876" y="86177"/>
                    <a:pt x="327771" y="84643"/>
                  </a:cubicBezTo>
                  <a:cubicBezTo>
                    <a:pt x="366728" y="78595"/>
                    <a:pt x="404064" y="62259"/>
                    <a:pt x="440051" y="46463"/>
                  </a:cubicBezTo>
                  <a:cubicBezTo>
                    <a:pt x="450759" y="41950"/>
                    <a:pt x="461645" y="35541"/>
                    <a:pt x="473699" y="36444"/>
                  </a:cubicBezTo>
                  <a:cubicBezTo>
                    <a:pt x="488815" y="40145"/>
                    <a:pt x="488815" y="19655"/>
                    <a:pt x="499521" y="13879"/>
                  </a:cubicBezTo>
                  <a:cubicBezTo>
                    <a:pt x="508968" y="1694"/>
                    <a:pt x="537487" y="-4895"/>
                    <a:pt x="546484" y="11803"/>
                  </a:cubicBezTo>
                  <a:cubicBezTo>
                    <a:pt x="608831" y="27057"/>
                    <a:pt x="673069" y="41228"/>
                    <a:pt x="737576" y="33194"/>
                  </a:cubicBezTo>
                  <a:cubicBezTo>
                    <a:pt x="745762" y="13609"/>
                    <a:pt x="776172" y="11803"/>
                    <a:pt x="780671" y="35541"/>
                  </a:cubicBezTo>
                  <a:cubicBezTo>
                    <a:pt x="794346" y="48900"/>
                    <a:pt x="791827" y="71645"/>
                    <a:pt x="803073" y="86087"/>
                  </a:cubicBezTo>
                  <a:cubicBezTo>
                    <a:pt x="809010" y="91322"/>
                    <a:pt x="818817" y="89247"/>
                    <a:pt x="826195" y="91593"/>
                  </a:cubicBezTo>
                  <a:cubicBezTo>
                    <a:pt x="833661" y="93939"/>
                    <a:pt x="840408" y="98182"/>
                    <a:pt x="846976" y="102334"/>
                  </a:cubicBezTo>
                  <a:cubicBezTo>
                    <a:pt x="847516" y="102695"/>
                    <a:pt x="858852" y="109645"/>
                    <a:pt x="859393" y="109915"/>
                  </a:cubicBezTo>
                  <a:cubicBezTo>
                    <a:pt x="936766" y="154324"/>
                    <a:pt x="1029251" y="218137"/>
                    <a:pt x="1042836" y="313452"/>
                  </a:cubicBezTo>
                  <a:cubicBezTo>
                    <a:pt x="1041668" y="339808"/>
                    <a:pt x="1061640" y="359394"/>
                    <a:pt x="1062899" y="384938"/>
                  </a:cubicBezTo>
                  <a:cubicBezTo>
                    <a:pt x="1067757" y="421042"/>
                    <a:pt x="1058400" y="460395"/>
                    <a:pt x="1078555" y="492527"/>
                  </a:cubicBezTo>
                  <a:cubicBezTo>
                    <a:pt x="1086922" y="512295"/>
                    <a:pt x="1077745" y="533235"/>
                    <a:pt x="1077655" y="553453"/>
                  </a:cubicBezTo>
                  <a:cubicBezTo>
                    <a:pt x="1077655" y="565458"/>
                    <a:pt x="1084853" y="575567"/>
                    <a:pt x="1088270" y="586579"/>
                  </a:cubicBezTo>
                  <a:cubicBezTo>
                    <a:pt x="1093759" y="604450"/>
                    <a:pt x="1086021" y="622412"/>
                    <a:pt x="1085213" y="640373"/>
                  </a:cubicBezTo>
                  <a:cubicBezTo>
                    <a:pt x="1087372" y="696245"/>
                    <a:pt x="1104285" y="753198"/>
                    <a:pt x="1106264" y="807354"/>
                  </a:cubicBezTo>
                  <a:cubicBezTo>
                    <a:pt x="1108603" y="842375"/>
                    <a:pt x="1108693" y="877306"/>
                    <a:pt x="1106264" y="911965"/>
                  </a:cubicBezTo>
                  <a:cubicBezTo>
                    <a:pt x="1106264" y="912507"/>
                    <a:pt x="1106264" y="918103"/>
                    <a:pt x="1107615" y="921895"/>
                  </a:cubicBezTo>
                  <a:cubicBezTo>
                    <a:pt x="1108783" y="925053"/>
                    <a:pt x="1110582" y="927941"/>
                    <a:pt x="1112381" y="930740"/>
                  </a:cubicBezTo>
                  <a:lnTo>
                    <a:pt x="1112381" y="930740"/>
                  </a:lnTo>
                  <a:cubicBezTo>
                    <a:pt x="1127858" y="951680"/>
                    <a:pt x="1116970" y="974787"/>
                    <a:pt x="1091510" y="977313"/>
                  </a:cubicBezTo>
                  <a:cubicBezTo>
                    <a:pt x="1058761" y="983361"/>
                    <a:pt x="1024662" y="987333"/>
                    <a:pt x="994434" y="990852"/>
                  </a:cubicBezTo>
                  <a:cubicBezTo>
                    <a:pt x="993804" y="990943"/>
                    <a:pt x="980489" y="992477"/>
                    <a:pt x="979859" y="992568"/>
                  </a:cubicBezTo>
                  <a:cubicBezTo>
                    <a:pt x="971312" y="993560"/>
                    <a:pt x="958447" y="995095"/>
                    <a:pt x="949270" y="996449"/>
                  </a:cubicBezTo>
                  <a:lnTo>
                    <a:pt x="949270" y="996449"/>
                  </a:lnTo>
                  <a:cubicBezTo>
                    <a:pt x="927589" y="999969"/>
                    <a:pt x="905455" y="1001684"/>
                    <a:pt x="883864" y="996900"/>
                  </a:cubicBezTo>
                  <a:cubicBezTo>
                    <a:pt x="862720" y="991665"/>
                    <a:pt x="840498" y="995005"/>
                    <a:pt x="819447" y="999066"/>
                  </a:cubicBezTo>
                  <a:lnTo>
                    <a:pt x="819447" y="999066"/>
                  </a:lnTo>
                  <a:cubicBezTo>
                    <a:pt x="760518" y="1009266"/>
                    <a:pt x="706627" y="1011522"/>
                    <a:pt x="644100" y="1011793"/>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nvGrpSpPr>
            <p:cNvPr id="296" name="Graphic 33" descr="Person wearing sweater">
              <a:extLst>
                <a:ext uri="{FF2B5EF4-FFF2-40B4-BE49-F238E27FC236}">
                  <a16:creationId xmlns:a16="http://schemas.microsoft.com/office/drawing/2014/main" id="{B5BD1296-93C0-1684-AE9F-A4424EFE165A}"/>
                </a:ext>
              </a:extLst>
            </p:cNvPr>
            <p:cNvGrpSpPr/>
            <p:nvPr/>
          </p:nvGrpSpPr>
          <p:grpSpPr>
            <a:xfrm>
              <a:off x="2484484" y="4181716"/>
              <a:ext cx="735341" cy="278725"/>
              <a:chOff x="2484484" y="4298660"/>
              <a:chExt cx="735341" cy="278725"/>
            </a:xfrm>
            <a:solidFill>
              <a:srgbClr val="FFFFFF"/>
            </a:solidFill>
          </p:grpSpPr>
          <p:sp>
            <p:nvSpPr>
              <p:cNvPr id="423" name="Freeform: Shape 422">
                <a:extLst>
                  <a:ext uri="{FF2B5EF4-FFF2-40B4-BE49-F238E27FC236}">
                    <a16:creationId xmlns:a16="http://schemas.microsoft.com/office/drawing/2014/main" id="{33D7DF37-2D48-D90C-1B78-03ED279E922B}"/>
                  </a:ext>
                </a:extLst>
              </p:cNvPr>
              <p:cNvSpPr/>
              <p:nvPr/>
            </p:nvSpPr>
            <p:spPr>
              <a:xfrm>
                <a:off x="2484484" y="4298660"/>
                <a:ext cx="39170" cy="278725"/>
              </a:xfrm>
              <a:custGeom>
                <a:avLst/>
                <a:gdLst>
                  <a:gd name="connsiteX0" fmla="*/ 42887 w 39170"/>
                  <a:gd name="connsiteY0" fmla="*/ 275492 h 278725"/>
                  <a:gd name="connsiteX1" fmla="*/ 13647 w 39170"/>
                  <a:gd name="connsiteY1" fmla="*/ 7149 h 278725"/>
                  <a:gd name="connsiteX2" fmla="*/ 3752 w 39170"/>
                  <a:gd name="connsiteY2" fmla="*/ 3358 h 278725"/>
                  <a:gd name="connsiteX3" fmla="*/ 30922 w 39170"/>
                  <a:gd name="connsiteY3" fmla="*/ 274680 h 278725"/>
                  <a:gd name="connsiteX4" fmla="*/ 37580 w 39170"/>
                  <a:gd name="connsiteY4" fmla="*/ 280366 h 278725"/>
                  <a:gd name="connsiteX5" fmla="*/ 42887 w 39170"/>
                  <a:gd name="connsiteY5" fmla="*/ 275492 h 27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70" h="278725">
                    <a:moveTo>
                      <a:pt x="42887" y="275492"/>
                    </a:moveTo>
                    <a:cubicBezTo>
                      <a:pt x="14368" y="189835"/>
                      <a:pt x="17965" y="96507"/>
                      <a:pt x="13647" y="7149"/>
                    </a:cubicBezTo>
                    <a:cubicBezTo>
                      <a:pt x="13647" y="2275"/>
                      <a:pt x="7080" y="19"/>
                      <a:pt x="3752" y="3358"/>
                    </a:cubicBezTo>
                    <a:cubicBezTo>
                      <a:pt x="4200" y="92987"/>
                      <a:pt x="4380" y="187579"/>
                      <a:pt x="30922" y="274680"/>
                    </a:cubicBezTo>
                    <a:cubicBezTo>
                      <a:pt x="30922" y="274680"/>
                      <a:pt x="32811" y="279553"/>
                      <a:pt x="37580" y="280366"/>
                    </a:cubicBezTo>
                    <a:cubicBezTo>
                      <a:pt x="43697" y="281450"/>
                      <a:pt x="42887" y="275492"/>
                      <a:pt x="42887" y="27549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4" name="Freeform: Shape 423">
                <a:extLst>
                  <a:ext uri="{FF2B5EF4-FFF2-40B4-BE49-F238E27FC236}">
                    <a16:creationId xmlns:a16="http://schemas.microsoft.com/office/drawing/2014/main" id="{523103AF-36A9-E157-4C6E-39E1D696CD3B}"/>
                  </a:ext>
                </a:extLst>
              </p:cNvPr>
              <p:cNvSpPr/>
              <p:nvPr/>
            </p:nvSpPr>
            <p:spPr>
              <a:xfrm>
                <a:off x="3191779" y="4390311"/>
                <a:ext cx="28046" cy="175771"/>
              </a:xfrm>
              <a:custGeom>
                <a:avLst/>
                <a:gdLst>
                  <a:gd name="connsiteX0" fmla="*/ 31765 w 28046"/>
                  <a:gd name="connsiteY0" fmla="*/ 172107 h 175771"/>
                  <a:gd name="connsiteX1" fmla="*/ 14940 w 28046"/>
                  <a:gd name="connsiteY1" fmla="*/ 7022 h 175771"/>
                  <a:gd name="connsiteX2" fmla="*/ 3784 w 28046"/>
                  <a:gd name="connsiteY2" fmla="*/ 7022 h 175771"/>
                  <a:gd name="connsiteX3" fmla="*/ 20789 w 28046"/>
                  <a:gd name="connsiteY3" fmla="*/ 173461 h 175771"/>
                  <a:gd name="connsiteX4" fmla="*/ 27266 w 28046"/>
                  <a:gd name="connsiteY4" fmla="*/ 177433 h 175771"/>
                  <a:gd name="connsiteX5" fmla="*/ 31765 w 28046"/>
                  <a:gd name="connsiteY5" fmla="*/ 172107 h 17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6" h="175771">
                    <a:moveTo>
                      <a:pt x="31765" y="172107"/>
                    </a:moveTo>
                    <a:cubicBezTo>
                      <a:pt x="24477" y="123908"/>
                      <a:pt x="18808" y="57206"/>
                      <a:pt x="14940" y="7022"/>
                    </a:cubicBezTo>
                    <a:cubicBezTo>
                      <a:pt x="14850" y="343"/>
                      <a:pt x="3063" y="-289"/>
                      <a:pt x="3784" y="7022"/>
                    </a:cubicBezTo>
                    <a:cubicBezTo>
                      <a:pt x="8012" y="61269"/>
                      <a:pt x="13321" y="122916"/>
                      <a:pt x="20789" y="173461"/>
                    </a:cubicBezTo>
                    <a:cubicBezTo>
                      <a:pt x="20789" y="173461"/>
                      <a:pt x="22047" y="178335"/>
                      <a:pt x="27266" y="177433"/>
                    </a:cubicBezTo>
                    <a:cubicBezTo>
                      <a:pt x="32483" y="176620"/>
                      <a:pt x="31765" y="172107"/>
                      <a:pt x="31765" y="17210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grpSp>
          <p:nvGrpSpPr>
            <p:cNvPr id="297" name="Graphic 33" descr="Person wearing sweater">
              <a:extLst>
                <a:ext uri="{FF2B5EF4-FFF2-40B4-BE49-F238E27FC236}">
                  <a16:creationId xmlns:a16="http://schemas.microsoft.com/office/drawing/2014/main" id="{3721D15E-F9F1-D125-4B8A-4352084BAC67}"/>
                </a:ext>
              </a:extLst>
            </p:cNvPr>
            <p:cNvGrpSpPr/>
            <p:nvPr/>
          </p:nvGrpSpPr>
          <p:grpSpPr>
            <a:xfrm>
              <a:off x="2322462" y="3555546"/>
              <a:ext cx="1012449" cy="848997"/>
              <a:chOff x="2322462" y="3672490"/>
              <a:chExt cx="1012449" cy="848997"/>
            </a:xfrm>
            <a:solidFill>
              <a:srgbClr val="FFFFFF"/>
            </a:solidFill>
          </p:grpSpPr>
          <p:sp>
            <p:nvSpPr>
              <p:cNvPr id="388" name="Freeform: Shape 387">
                <a:extLst>
                  <a:ext uri="{FF2B5EF4-FFF2-40B4-BE49-F238E27FC236}">
                    <a16:creationId xmlns:a16="http://schemas.microsoft.com/office/drawing/2014/main" id="{87188363-4734-D9C3-5642-3CA684202B23}"/>
                  </a:ext>
                </a:extLst>
              </p:cNvPr>
              <p:cNvSpPr/>
              <p:nvPr/>
            </p:nvSpPr>
            <p:spPr>
              <a:xfrm>
                <a:off x="2637042" y="4503330"/>
                <a:ext cx="22938" cy="18157"/>
              </a:xfrm>
              <a:custGeom>
                <a:avLst/>
                <a:gdLst>
                  <a:gd name="connsiteX0" fmla="*/ 21323 w 22938"/>
                  <a:gd name="connsiteY0" fmla="*/ 1773 h 18157"/>
                  <a:gd name="connsiteX1" fmla="*/ 17275 w 22938"/>
                  <a:gd name="connsiteY1" fmla="*/ 3037 h 18157"/>
                  <a:gd name="connsiteX2" fmla="*/ 3960 w 22938"/>
                  <a:gd name="connsiteY2" fmla="*/ 16214 h 18157"/>
                  <a:gd name="connsiteX3" fmla="*/ 21863 w 22938"/>
                  <a:gd name="connsiteY3" fmla="*/ 13146 h 18157"/>
                  <a:gd name="connsiteX4" fmla="*/ 21323 w 22938"/>
                  <a:gd name="connsiteY4" fmla="*/ 1773 h 18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8" h="18157">
                    <a:moveTo>
                      <a:pt x="21323" y="1773"/>
                    </a:moveTo>
                    <a:cubicBezTo>
                      <a:pt x="19884" y="1773"/>
                      <a:pt x="18533" y="2405"/>
                      <a:pt x="17275" y="3037"/>
                    </a:cubicBezTo>
                    <a:cubicBezTo>
                      <a:pt x="12506" y="6015"/>
                      <a:pt x="2161" y="9085"/>
                      <a:pt x="3960" y="16214"/>
                    </a:cubicBezTo>
                    <a:cubicBezTo>
                      <a:pt x="8548" y="25331"/>
                      <a:pt x="16014" y="15041"/>
                      <a:pt x="21863" y="13146"/>
                    </a:cubicBezTo>
                    <a:cubicBezTo>
                      <a:pt x="28431" y="11882"/>
                      <a:pt x="28341" y="1863"/>
                      <a:pt x="2132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89" name="Freeform: Shape 388">
                <a:extLst>
                  <a:ext uri="{FF2B5EF4-FFF2-40B4-BE49-F238E27FC236}">
                    <a16:creationId xmlns:a16="http://schemas.microsoft.com/office/drawing/2014/main" id="{EF8C9EAE-316A-808F-1EC2-53BDEAC0D51A}"/>
                  </a:ext>
                </a:extLst>
              </p:cNvPr>
              <p:cNvSpPr/>
              <p:nvPr/>
            </p:nvSpPr>
            <p:spPr>
              <a:xfrm>
                <a:off x="2793401" y="4498367"/>
                <a:ext cx="32260" cy="16224"/>
              </a:xfrm>
              <a:custGeom>
                <a:avLst/>
                <a:gdLst>
                  <a:gd name="connsiteX0" fmla="*/ 8642 w 32260"/>
                  <a:gd name="connsiteY0" fmla="*/ 1773 h 16224"/>
                  <a:gd name="connsiteX1" fmla="*/ 7563 w 32260"/>
                  <a:gd name="connsiteY1" fmla="*/ 12784 h 16224"/>
                  <a:gd name="connsiteX2" fmla="*/ 35992 w 32260"/>
                  <a:gd name="connsiteY2" fmla="*/ 12784 h 16224"/>
                  <a:gd name="connsiteX3" fmla="*/ 30593 w 32260"/>
                  <a:gd name="connsiteY3" fmla="*/ 6646 h 16224"/>
                  <a:gd name="connsiteX4" fmla="*/ 8642 w 32260"/>
                  <a:gd name="connsiteY4" fmla="*/ 1773 h 16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60" h="16224">
                    <a:moveTo>
                      <a:pt x="8642" y="1773"/>
                    </a:moveTo>
                    <a:cubicBezTo>
                      <a:pt x="2795" y="1862"/>
                      <a:pt x="1894" y="11340"/>
                      <a:pt x="7563" y="12784"/>
                    </a:cubicBezTo>
                    <a:cubicBezTo>
                      <a:pt x="14491" y="14318"/>
                      <a:pt x="34103" y="23706"/>
                      <a:pt x="35992" y="12784"/>
                    </a:cubicBezTo>
                    <a:cubicBezTo>
                      <a:pt x="36262" y="9715"/>
                      <a:pt x="33833" y="6556"/>
                      <a:pt x="30593" y="6646"/>
                    </a:cubicBezTo>
                    <a:cubicBezTo>
                      <a:pt x="22947" y="6737"/>
                      <a:pt x="15929" y="3397"/>
                      <a:pt x="8642"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0" name="Freeform: Shape 389">
                <a:extLst>
                  <a:ext uri="{FF2B5EF4-FFF2-40B4-BE49-F238E27FC236}">
                    <a16:creationId xmlns:a16="http://schemas.microsoft.com/office/drawing/2014/main" id="{FAA06C73-7AD8-7568-DFB3-842D4F3BE0B9}"/>
                  </a:ext>
                </a:extLst>
              </p:cNvPr>
              <p:cNvSpPr/>
              <p:nvPr/>
            </p:nvSpPr>
            <p:spPr>
              <a:xfrm>
                <a:off x="2327272" y="4455041"/>
                <a:ext cx="15739" cy="16001"/>
              </a:xfrm>
              <a:custGeom>
                <a:avLst/>
                <a:gdLst>
                  <a:gd name="connsiteX0" fmla="*/ 14136 w 15739"/>
                  <a:gd name="connsiteY0" fmla="*/ 1773 h 16001"/>
                  <a:gd name="connsiteX1" fmla="*/ 8467 w 15739"/>
                  <a:gd name="connsiteY1" fmla="*/ 6738 h 16001"/>
                  <a:gd name="connsiteX2" fmla="*/ 9187 w 15739"/>
                  <a:gd name="connsiteY2" fmla="*/ 17749 h 16001"/>
                  <a:gd name="connsiteX3" fmla="*/ 14136 w 15739"/>
                  <a:gd name="connsiteY3" fmla="*/ 1773 h 16001"/>
                  <a:gd name="connsiteX4" fmla="*/ 14136 w 15739"/>
                  <a:gd name="connsiteY4" fmla="*/ 1773 h 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9" h="16001">
                    <a:moveTo>
                      <a:pt x="14136" y="1773"/>
                    </a:moveTo>
                    <a:cubicBezTo>
                      <a:pt x="11346" y="1773"/>
                      <a:pt x="8827" y="3849"/>
                      <a:pt x="8467" y="6738"/>
                    </a:cubicBezTo>
                    <a:cubicBezTo>
                      <a:pt x="1719" y="7459"/>
                      <a:pt x="2440" y="17930"/>
                      <a:pt x="9187" y="17749"/>
                    </a:cubicBezTo>
                    <a:cubicBezTo>
                      <a:pt x="17554" y="18471"/>
                      <a:pt x="24842" y="3578"/>
                      <a:pt x="14136" y="1773"/>
                    </a:cubicBezTo>
                    <a:lnTo>
                      <a:pt x="14136"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1" name="Freeform: Shape 390">
                <a:extLst>
                  <a:ext uri="{FF2B5EF4-FFF2-40B4-BE49-F238E27FC236}">
                    <a16:creationId xmlns:a16="http://schemas.microsoft.com/office/drawing/2014/main" id="{F3E1946B-1D4C-ED07-030D-7A051DCA65A3}"/>
                  </a:ext>
                </a:extLst>
              </p:cNvPr>
              <p:cNvSpPr/>
              <p:nvPr/>
            </p:nvSpPr>
            <p:spPr>
              <a:xfrm>
                <a:off x="2956626" y="4438249"/>
                <a:ext cx="37076" cy="13687"/>
              </a:xfrm>
              <a:custGeom>
                <a:avLst/>
                <a:gdLst>
                  <a:gd name="connsiteX0" fmla="*/ 35610 w 37076"/>
                  <a:gd name="connsiteY0" fmla="*/ 1778 h 13687"/>
                  <a:gd name="connsiteX1" fmla="*/ 9158 w 37076"/>
                  <a:gd name="connsiteY1" fmla="*/ 4125 h 13687"/>
                  <a:gd name="connsiteX2" fmla="*/ 3761 w 37076"/>
                  <a:gd name="connsiteY2" fmla="*/ 9901 h 13687"/>
                  <a:gd name="connsiteX3" fmla="*/ 35520 w 37076"/>
                  <a:gd name="connsiteY3" fmla="*/ 12879 h 13687"/>
                  <a:gd name="connsiteX4" fmla="*/ 35610 w 37076"/>
                  <a:gd name="connsiteY4" fmla="*/ 1778 h 13687"/>
                  <a:gd name="connsiteX5" fmla="*/ 35610 w 37076"/>
                  <a:gd name="connsiteY5" fmla="*/ 177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76" h="13687">
                    <a:moveTo>
                      <a:pt x="35610" y="1778"/>
                    </a:moveTo>
                    <a:cubicBezTo>
                      <a:pt x="26791" y="1868"/>
                      <a:pt x="18065" y="3944"/>
                      <a:pt x="9158" y="4125"/>
                    </a:cubicBezTo>
                    <a:cubicBezTo>
                      <a:pt x="6100" y="4034"/>
                      <a:pt x="3581" y="6922"/>
                      <a:pt x="3761" y="9901"/>
                    </a:cubicBezTo>
                    <a:cubicBezTo>
                      <a:pt x="4569" y="21274"/>
                      <a:pt x="27692" y="11435"/>
                      <a:pt x="35520" y="12879"/>
                    </a:cubicBezTo>
                    <a:cubicBezTo>
                      <a:pt x="42448" y="13151"/>
                      <a:pt x="42716" y="1507"/>
                      <a:pt x="35610" y="1778"/>
                    </a:cubicBezTo>
                    <a:lnTo>
                      <a:pt x="35610" y="177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2" name="Freeform: Shape 391">
                <a:extLst>
                  <a:ext uri="{FF2B5EF4-FFF2-40B4-BE49-F238E27FC236}">
                    <a16:creationId xmlns:a16="http://schemas.microsoft.com/office/drawing/2014/main" id="{3B11448F-07D4-3C65-6AFC-E33C255E2497}"/>
                  </a:ext>
                </a:extLst>
              </p:cNvPr>
              <p:cNvSpPr/>
              <p:nvPr/>
            </p:nvSpPr>
            <p:spPr>
              <a:xfrm>
                <a:off x="3242470" y="4382825"/>
                <a:ext cx="25411" cy="15813"/>
              </a:xfrm>
              <a:custGeom>
                <a:avLst/>
                <a:gdLst>
                  <a:gd name="connsiteX0" fmla="*/ 8873 w 25411"/>
                  <a:gd name="connsiteY0" fmla="*/ 1782 h 15813"/>
                  <a:gd name="connsiteX1" fmla="*/ 5095 w 25411"/>
                  <a:gd name="connsiteY1" fmla="*/ 10988 h 15813"/>
                  <a:gd name="connsiteX2" fmla="*/ 19848 w 25411"/>
                  <a:gd name="connsiteY2" fmla="*/ 16494 h 15813"/>
                  <a:gd name="connsiteX3" fmla="*/ 23268 w 25411"/>
                  <a:gd name="connsiteY3" fmla="*/ 17577 h 15813"/>
                  <a:gd name="connsiteX4" fmla="*/ 29025 w 25411"/>
                  <a:gd name="connsiteY4" fmla="*/ 12883 h 15813"/>
                  <a:gd name="connsiteX5" fmla="*/ 26328 w 25411"/>
                  <a:gd name="connsiteY5" fmla="*/ 7378 h 15813"/>
                  <a:gd name="connsiteX6" fmla="*/ 8873 w 2541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1" h="15813">
                    <a:moveTo>
                      <a:pt x="8873" y="1782"/>
                    </a:moveTo>
                    <a:cubicBezTo>
                      <a:pt x="4194" y="1511"/>
                      <a:pt x="2215" y="7739"/>
                      <a:pt x="5095" y="10988"/>
                    </a:cubicBezTo>
                    <a:cubicBezTo>
                      <a:pt x="8424" y="14057"/>
                      <a:pt x="15082" y="12883"/>
                      <a:pt x="19848" y="16494"/>
                    </a:cubicBezTo>
                    <a:cubicBezTo>
                      <a:pt x="20929" y="17125"/>
                      <a:pt x="22098" y="17667"/>
                      <a:pt x="23268" y="17577"/>
                    </a:cubicBezTo>
                    <a:cubicBezTo>
                      <a:pt x="26058" y="17487"/>
                      <a:pt x="28397" y="15501"/>
                      <a:pt x="29025" y="12883"/>
                    </a:cubicBezTo>
                    <a:cubicBezTo>
                      <a:pt x="29566" y="10627"/>
                      <a:pt x="28487" y="8280"/>
                      <a:pt x="26328" y="7378"/>
                    </a:cubicBezTo>
                    <a:cubicBezTo>
                      <a:pt x="20389" y="4399"/>
                      <a:pt x="14992" y="1872"/>
                      <a:pt x="8873"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3" name="Freeform: Shape 392">
                <a:extLst>
                  <a:ext uri="{FF2B5EF4-FFF2-40B4-BE49-F238E27FC236}">
                    <a16:creationId xmlns:a16="http://schemas.microsoft.com/office/drawing/2014/main" id="{41012D2D-B156-EB88-EEC5-DD77E50D2B96}"/>
                  </a:ext>
                </a:extLst>
              </p:cNvPr>
              <p:cNvSpPr/>
              <p:nvPr/>
            </p:nvSpPr>
            <p:spPr>
              <a:xfrm>
                <a:off x="2858230" y="4363391"/>
                <a:ext cx="22838" cy="18539"/>
              </a:xfrm>
              <a:custGeom>
                <a:avLst/>
                <a:gdLst>
                  <a:gd name="connsiteX0" fmla="*/ 8860 w 22838"/>
                  <a:gd name="connsiteY0" fmla="*/ 1899 h 18539"/>
                  <a:gd name="connsiteX1" fmla="*/ 9040 w 22838"/>
                  <a:gd name="connsiteY1" fmla="*/ 13091 h 18539"/>
                  <a:gd name="connsiteX2" fmla="*/ 20646 w 22838"/>
                  <a:gd name="connsiteY2" fmla="*/ 20313 h 18539"/>
                  <a:gd name="connsiteX3" fmla="*/ 8860 w 22838"/>
                  <a:gd name="connsiteY3" fmla="*/ 1899 h 18539"/>
                </a:gdLst>
                <a:ahLst/>
                <a:cxnLst>
                  <a:cxn ang="0">
                    <a:pos x="connsiteX0" y="connsiteY0"/>
                  </a:cxn>
                  <a:cxn ang="0">
                    <a:pos x="connsiteX1" y="connsiteY1"/>
                  </a:cxn>
                  <a:cxn ang="0">
                    <a:pos x="connsiteX2" y="connsiteY2"/>
                  </a:cxn>
                  <a:cxn ang="0">
                    <a:pos x="connsiteX3" y="connsiteY3"/>
                  </a:cxn>
                </a:cxnLst>
                <a:rect l="l" t="t" r="r" b="b"/>
                <a:pathLst>
                  <a:path w="22838" h="18539">
                    <a:moveTo>
                      <a:pt x="8860" y="1899"/>
                    </a:moveTo>
                    <a:cubicBezTo>
                      <a:pt x="1842" y="1719"/>
                      <a:pt x="2202" y="13272"/>
                      <a:pt x="9040" y="13091"/>
                    </a:cubicBezTo>
                    <a:cubicBezTo>
                      <a:pt x="15337" y="12279"/>
                      <a:pt x="15427" y="20042"/>
                      <a:pt x="20646" y="20313"/>
                    </a:cubicBezTo>
                    <a:cubicBezTo>
                      <a:pt x="35940" y="16431"/>
                      <a:pt x="17947" y="185"/>
                      <a:pt x="8860" y="1899"/>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4" name="Freeform: Shape 393">
                <a:extLst>
                  <a:ext uri="{FF2B5EF4-FFF2-40B4-BE49-F238E27FC236}">
                    <a16:creationId xmlns:a16="http://schemas.microsoft.com/office/drawing/2014/main" id="{405713DA-1316-73D4-7828-1EC94FF0DD9A}"/>
                  </a:ext>
                </a:extLst>
              </p:cNvPr>
              <p:cNvSpPr/>
              <p:nvPr/>
            </p:nvSpPr>
            <p:spPr>
              <a:xfrm>
                <a:off x="2617905" y="4361080"/>
                <a:ext cx="22956" cy="13541"/>
              </a:xfrm>
              <a:custGeom>
                <a:avLst/>
                <a:gdLst>
                  <a:gd name="connsiteX0" fmla="*/ 17247 w 22956"/>
                  <a:gd name="connsiteY0" fmla="*/ 13779 h 13541"/>
                  <a:gd name="connsiteX1" fmla="*/ 26694 w 22956"/>
                  <a:gd name="connsiteY1" fmla="*/ 9536 h 13541"/>
                  <a:gd name="connsiteX2" fmla="*/ 9150 w 22956"/>
                  <a:gd name="connsiteY2" fmla="*/ 1774 h 13541"/>
                  <a:gd name="connsiteX3" fmla="*/ 9150 w 22956"/>
                  <a:gd name="connsiteY3" fmla="*/ 12966 h 13541"/>
                  <a:gd name="connsiteX4" fmla="*/ 17337 w 22956"/>
                  <a:gd name="connsiteY4" fmla="*/ 13779 h 13541"/>
                  <a:gd name="connsiteX5" fmla="*/ 17247 w 22956"/>
                  <a:gd name="connsiteY5" fmla="*/ 13779 h 13541"/>
                  <a:gd name="connsiteX6" fmla="*/ 17247 w 22956"/>
                  <a:gd name="connsiteY6" fmla="*/ 13779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56" h="13541">
                    <a:moveTo>
                      <a:pt x="17247" y="13779"/>
                    </a:moveTo>
                    <a:cubicBezTo>
                      <a:pt x="20757" y="17209"/>
                      <a:pt x="27054" y="14500"/>
                      <a:pt x="26694" y="9536"/>
                    </a:cubicBezTo>
                    <a:cubicBezTo>
                      <a:pt x="25525" y="1864"/>
                      <a:pt x="14907" y="1864"/>
                      <a:pt x="9150" y="1774"/>
                    </a:cubicBezTo>
                    <a:cubicBezTo>
                      <a:pt x="1953" y="1683"/>
                      <a:pt x="1953" y="13056"/>
                      <a:pt x="9150" y="12966"/>
                    </a:cubicBezTo>
                    <a:cubicBezTo>
                      <a:pt x="11850" y="12966"/>
                      <a:pt x="14817" y="12696"/>
                      <a:pt x="17337" y="13779"/>
                    </a:cubicBezTo>
                    <a:cubicBezTo>
                      <a:pt x="17337" y="13779"/>
                      <a:pt x="17337" y="13779"/>
                      <a:pt x="17247" y="13779"/>
                    </a:cubicBezTo>
                    <a:lnTo>
                      <a:pt x="17247" y="13779"/>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5" name="Freeform: Shape 394">
                <a:extLst>
                  <a:ext uri="{FF2B5EF4-FFF2-40B4-BE49-F238E27FC236}">
                    <a16:creationId xmlns:a16="http://schemas.microsoft.com/office/drawing/2014/main" id="{98339EDE-34F2-0003-DE63-8AA4E5E27BA1}"/>
                  </a:ext>
                </a:extLst>
              </p:cNvPr>
              <p:cNvSpPr/>
              <p:nvPr/>
            </p:nvSpPr>
            <p:spPr>
              <a:xfrm>
                <a:off x="3119945" y="4291490"/>
                <a:ext cx="32635" cy="25367"/>
              </a:xfrm>
              <a:custGeom>
                <a:avLst/>
                <a:gdLst>
                  <a:gd name="connsiteX0" fmla="*/ 30543 w 32635"/>
                  <a:gd name="connsiteY0" fmla="*/ 1773 h 25367"/>
                  <a:gd name="connsiteX1" fmla="*/ 25955 w 32635"/>
                  <a:gd name="connsiteY1" fmla="*/ 4301 h 25367"/>
                  <a:gd name="connsiteX2" fmla="*/ 7691 w 32635"/>
                  <a:gd name="connsiteY2" fmla="*/ 16214 h 25367"/>
                  <a:gd name="connsiteX3" fmla="*/ 9042 w 32635"/>
                  <a:gd name="connsiteY3" fmla="*/ 27135 h 25367"/>
                  <a:gd name="connsiteX4" fmla="*/ 30543 w 32635"/>
                  <a:gd name="connsiteY4" fmla="*/ 1773 h 25367"/>
                  <a:gd name="connsiteX5" fmla="*/ 30543 w 32635"/>
                  <a:gd name="connsiteY5" fmla="*/ 1773 h 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35" h="25367">
                    <a:moveTo>
                      <a:pt x="30543" y="1773"/>
                    </a:moveTo>
                    <a:cubicBezTo>
                      <a:pt x="28744" y="1773"/>
                      <a:pt x="26945" y="2675"/>
                      <a:pt x="25955" y="4301"/>
                    </a:cubicBezTo>
                    <a:cubicBezTo>
                      <a:pt x="21907" y="10077"/>
                      <a:pt x="15970" y="13958"/>
                      <a:pt x="7691" y="16214"/>
                    </a:cubicBezTo>
                    <a:cubicBezTo>
                      <a:pt x="1574" y="17478"/>
                      <a:pt x="3013" y="27135"/>
                      <a:pt x="9042" y="27135"/>
                    </a:cubicBezTo>
                    <a:cubicBezTo>
                      <a:pt x="17498" y="27497"/>
                      <a:pt x="49347" y="6917"/>
                      <a:pt x="30543" y="1773"/>
                    </a:cubicBezTo>
                    <a:lnTo>
                      <a:pt x="30543"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6" name="Freeform: Shape 395">
                <a:extLst>
                  <a:ext uri="{FF2B5EF4-FFF2-40B4-BE49-F238E27FC236}">
                    <a16:creationId xmlns:a16="http://schemas.microsoft.com/office/drawing/2014/main" id="{14E9D10B-3A35-9EE4-C625-410AA0151BFA}"/>
                  </a:ext>
                </a:extLst>
              </p:cNvPr>
              <p:cNvSpPr/>
              <p:nvPr/>
            </p:nvSpPr>
            <p:spPr>
              <a:xfrm>
                <a:off x="2399194" y="4300878"/>
                <a:ext cx="15765" cy="15796"/>
              </a:xfrm>
              <a:custGeom>
                <a:avLst/>
                <a:gdLst>
                  <a:gd name="connsiteX0" fmla="*/ 14278 w 15765"/>
                  <a:gd name="connsiteY0" fmla="*/ 1773 h 15796"/>
                  <a:gd name="connsiteX1" fmla="*/ 3753 w 15765"/>
                  <a:gd name="connsiteY1" fmla="*/ 12152 h 15796"/>
                  <a:gd name="connsiteX2" fmla="*/ 14818 w 15765"/>
                  <a:gd name="connsiteY2" fmla="*/ 12875 h 15796"/>
                  <a:gd name="connsiteX3" fmla="*/ 14278 w 15765"/>
                  <a:gd name="connsiteY3" fmla="*/ 1773 h 15796"/>
                  <a:gd name="connsiteX4" fmla="*/ 14278 w 15765"/>
                  <a:gd name="connsiteY4" fmla="*/ 1773 h 15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5" h="15796">
                    <a:moveTo>
                      <a:pt x="14278" y="1773"/>
                    </a:moveTo>
                    <a:cubicBezTo>
                      <a:pt x="8609" y="1862"/>
                      <a:pt x="3930" y="6466"/>
                      <a:pt x="3753" y="12152"/>
                    </a:cubicBezTo>
                    <a:cubicBezTo>
                      <a:pt x="3663" y="18922"/>
                      <a:pt x="14008" y="19554"/>
                      <a:pt x="14818" y="12875"/>
                    </a:cubicBezTo>
                    <a:cubicBezTo>
                      <a:pt x="21476" y="12152"/>
                      <a:pt x="20846" y="1862"/>
                      <a:pt x="14278" y="1773"/>
                    </a:cubicBezTo>
                    <a:lnTo>
                      <a:pt x="1427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7" name="Freeform: Shape 396">
                <a:extLst>
                  <a:ext uri="{FF2B5EF4-FFF2-40B4-BE49-F238E27FC236}">
                    <a16:creationId xmlns:a16="http://schemas.microsoft.com/office/drawing/2014/main" id="{DA008408-845C-92F3-7F69-476A15806D27}"/>
                  </a:ext>
                </a:extLst>
              </p:cNvPr>
              <p:cNvSpPr/>
              <p:nvPr/>
            </p:nvSpPr>
            <p:spPr>
              <a:xfrm>
                <a:off x="2764206" y="4257553"/>
                <a:ext cx="25371" cy="18422"/>
              </a:xfrm>
              <a:custGeom>
                <a:avLst/>
                <a:gdLst>
                  <a:gd name="connsiteX0" fmla="*/ 9588 w 25371"/>
                  <a:gd name="connsiteY0" fmla="*/ 1773 h 18422"/>
                  <a:gd name="connsiteX1" fmla="*/ 23982 w 25371"/>
                  <a:gd name="connsiteY1" fmla="*/ 20096 h 18422"/>
                  <a:gd name="connsiteX2" fmla="*/ 23801 w 25371"/>
                  <a:gd name="connsiteY2" fmla="*/ 8904 h 18422"/>
                  <a:gd name="connsiteX3" fmla="*/ 9588 w 25371"/>
                  <a:gd name="connsiteY3" fmla="*/ 1773 h 18422"/>
                  <a:gd name="connsiteX4" fmla="*/ 9588 w 25371"/>
                  <a:gd name="connsiteY4" fmla="*/ 177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1" h="18422">
                    <a:moveTo>
                      <a:pt x="9588" y="1773"/>
                    </a:moveTo>
                    <a:cubicBezTo>
                      <a:pt x="-7237" y="6917"/>
                      <a:pt x="16964" y="21539"/>
                      <a:pt x="23982" y="20096"/>
                    </a:cubicBezTo>
                    <a:cubicBezTo>
                      <a:pt x="31089" y="20277"/>
                      <a:pt x="30639" y="8814"/>
                      <a:pt x="23801" y="8904"/>
                    </a:cubicBezTo>
                    <a:cubicBezTo>
                      <a:pt x="17594" y="9264"/>
                      <a:pt x="14985" y="2585"/>
                      <a:pt x="9588" y="1773"/>
                    </a:cubicBezTo>
                    <a:lnTo>
                      <a:pt x="958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8" name="Freeform: Shape 397">
                <a:extLst>
                  <a:ext uri="{FF2B5EF4-FFF2-40B4-BE49-F238E27FC236}">
                    <a16:creationId xmlns:a16="http://schemas.microsoft.com/office/drawing/2014/main" id="{845FF083-C1A8-CBEB-6073-64E7A057C0AC}"/>
                  </a:ext>
                </a:extLst>
              </p:cNvPr>
              <p:cNvSpPr/>
              <p:nvPr/>
            </p:nvSpPr>
            <p:spPr>
              <a:xfrm>
                <a:off x="3004505" y="4252676"/>
                <a:ext cx="13588" cy="16002"/>
              </a:xfrm>
              <a:custGeom>
                <a:avLst/>
                <a:gdLst>
                  <a:gd name="connsiteX0" fmla="*/ 11842 w 13588"/>
                  <a:gd name="connsiteY0" fmla="*/ 1775 h 16002"/>
                  <a:gd name="connsiteX1" fmla="*/ 6083 w 13588"/>
                  <a:gd name="connsiteY1" fmla="*/ 7642 h 16002"/>
                  <a:gd name="connsiteX2" fmla="*/ 9323 w 13588"/>
                  <a:gd name="connsiteY2" fmla="*/ 17751 h 16002"/>
                  <a:gd name="connsiteX3" fmla="*/ 11842 w 13588"/>
                  <a:gd name="connsiteY3" fmla="*/ 1775 h 16002"/>
                  <a:gd name="connsiteX4" fmla="*/ 11842 w 13588"/>
                  <a:gd name="connsiteY4" fmla="*/ 1775 h 1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 h="16002">
                    <a:moveTo>
                      <a:pt x="11842" y="1775"/>
                    </a:moveTo>
                    <a:cubicBezTo>
                      <a:pt x="8783" y="1685"/>
                      <a:pt x="5903" y="4483"/>
                      <a:pt x="6083" y="7642"/>
                    </a:cubicBezTo>
                    <a:cubicBezTo>
                      <a:pt x="1585" y="10441"/>
                      <a:pt x="4104" y="17842"/>
                      <a:pt x="9323" y="17751"/>
                    </a:cubicBezTo>
                    <a:cubicBezTo>
                      <a:pt x="17689" y="18473"/>
                      <a:pt x="21019" y="2678"/>
                      <a:pt x="11842" y="1775"/>
                    </a:cubicBezTo>
                    <a:lnTo>
                      <a:pt x="11842"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9" name="Freeform: Shape 398">
                <a:extLst>
                  <a:ext uri="{FF2B5EF4-FFF2-40B4-BE49-F238E27FC236}">
                    <a16:creationId xmlns:a16="http://schemas.microsoft.com/office/drawing/2014/main" id="{2844EE5A-BBFE-5950-5DA9-DFE16A888C96}"/>
                  </a:ext>
                </a:extLst>
              </p:cNvPr>
              <p:cNvSpPr/>
              <p:nvPr/>
            </p:nvSpPr>
            <p:spPr>
              <a:xfrm>
                <a:off x="2526675" y="4221233"/>
                <a:ext cx="15834" cy="13647"/>
              </a:xfrm>
              <a:custGeom>
                <a:avLst/>
                <a:gdLst>
                  <a:gd name="connsiteX0" fmla="*/ 9152 w 15834"/>
                  <a:gd name="connsiteY0" fmla="*/ 1898 h 13647"/>
                  <a:gd name="connsiteX1" fmla="*/ 9422 w 15834"/>
                  <a:gd name="connsiteY1" fmla="*/ 13000 h 13647"/>
                  <a:gd name="connsiteX2" fmla="*/ 17881 w 15834"/>
                  <a:gd name="connsiteY2" fmla="*/ 13812 h 13647"/>
                  <a:gd name="connsiteX3" fmla="*/ 9152 w 15834"/>
                  <a:gd name="connsiteY3" fmla="*/ 1898 h 13647"/>
                  <a:gd name="connsiteX4" fmla="*/ 9152 w 15834"/>
                  <a:gd name="connsiteY4" fmla="*/ 1898 h 13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4" h="13647">
                    <a:moveTo>
                      <a:pt x="9152" y="1898"/>
                    </a:moveTo>
                    <a:cubicBezTo>
                      <a:pt x="1686" y="1898"/>
                      <a:pt x="2136" y="13452"/>
                      <a:pt x="9422" y="13000"/>
                    </a:cubicBezTo>
                    <a:cubicBezTo>
                      <a:pt x="11223" y="15979"/>
                      <a:pt x="15542" y="16159"/>
                      <a:pt x="17881" y="13812"/>
                    </a:cubicBezTo>
                    <a:cubicBezTo>
                      <a:pt x="23007" y="8036"/>
                      <a:pt x="15542" y="725"/>
                      <a:pt x="9152" y="1898"/>
                    </a:cubicBezTo>
                    <a:lnTo>
                      <a:pt x="9152" y="189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0" name="Freeform: Shape 399">
                <a:extLst>
                  <a:ext uri="{FF2B5EF4-FFF2-40B4-BE49-F238E27FC236}">
                    <a16:creationId xmlns:a16="http://schemas.microsoft.com/office/drawing/2014/main" id="{7BE07542-19D9-28C9-FE61-A16506C42E65}"/>
                  </a:ext>
                </a:extLst>
              </p:cNvPr>
              <p:cNvSpPr/>
              <p:nvPr/>
            </p:nvSpPr>
            <p:spPr>
              <a:xfrm>
                <a:off x="3184581" y="4168373"/>
                <a:ext cx="12896" cy="44673"/>
              </a:xfrm>
              <a:custGeom>
                <a:avLst/>
                <a:gdLst>
                  <a:gd name="connsiteX0" fmla="*/ 9993 w 12896"/>
                  <a:gd name="connsiteY0" fmla="*/ 1776 h 44673"/>
                  <a:gd name="connsiteX1" fmla="*/ 3964 w 12896"/>
                  <a:gd name="connsiteY1" fmla="*/ 8817 h 44673"/>
                  <a:gd name="connsiteX2" fmla="*/ 3964 w 12896"/>
                  <a:gd name="connsiteY2" fmla="*/ 39595 h 44673"/>
                  <a:gd name="connsiteX3" fmla="*/ 14759 w 12896"/>
                  <a:gd name="connsiteY3" fmla="*/ 42484 h 44673"/>
                  <a:gd name="connsiteX4" fmla="*/ 14759 w 12896"/>
                  <a:gd name="connsiteY4" fmla="*/ 5838 h 44673"/>
                  <a:gd name="connsiteX5" fmla="*/ 9993 w 12896"/>
                  <a:gd name="connsiteY5" fmla="*/ 1776 h 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96" h="44673">
                    <a:moveTo>
                      <a:pt x="9993" y="1776"/>
                    </a:moveTo>
                    <a:cubicBezTo>
                      <a:pt x="6483" y="1776"/>
                      <a:pt x="3155" y="5116"/>
                      <a:pt x="3964" y="8817"/>
                    </a:cubicBezTo>
                    <a:cubicBezTo>
                      <a:pt x="6123" y="20190"/>
                      <a:pt x="6123" y="30299"/>
                      <a:pt x="3964" y="39595"/>
                    </a:cubicBezTo>
                    <a:cubicBezTo>
                      <a:pt x="2075" y="46185"/>
                      <a:pt x="13411" y="49614"/>
                      <a:pt x="14759" y="42484"/>
                    </a:cubicBezTo>
                    <a:cubicBezTo>
                      <a:pt x="17279" y="31472"/>
                      <a:pt x="17279" y="19467"/>
                      <a:pt x="14759" y="5838"/>
                    </a:cubicBezTo>
                    <a:cubicBezTo>
                      <a:pt x="14401" y="3491"/>
                      <a:pt x="12422" y="1686"/>
                      <a:pt x="9993" y="177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1" name="Freeform: Shape 400">
                <a:extLst>
                  <a:ext uri="{FF2B5EF4-FFF2-40B4-BE49-F238E27FC236}">
                    <a16:creationId xmlns:a16="http://schemas.microsoft.com/office/drawing/2014/main" id="{1320F5C1-B855-89AD-3954-21EB0A0CD3AB}"/>
                  </a:ext>
                </a:extLst>
              </p:cNvPr>
              <p:cNvSpPr/>
              <p:nvPr/>
            </p:nvSpPr>
            <p:spPr>
              <a:xfrm>
                <a:off x="2322462" y="4197258"/>
                <a:ext cx="25208" cy="13261"/>
              </a:xfrm>
              <a:custGeom>
                <a:avLst/>
                <a:gdLst>
                  <a:gd name="connsiteX0" fmla="*/ 9139 w 25208"/>
                  <a:gd name="connsiteY0" fmla="*/ 1774 h 13261"/>
                  <a:gd name="connsiteX1" fmla="*/ 9229 w 25208"/>
                  <a:gd name="connsiteY1" fmla="*/ 12876 h 13261"/>
                  <a:gd name="connsiteX2" fmla="*/ 28573 w 25208"/>
                  <a:gd name="connsiteY2" fmla="*/ 12154 h 13261"/>
                  <a:gd name="connsiteX3" fmla="*/ 9139 w 25208"/>
                  <a:gd name="connsiteY3" fmla="*/ 1774 h 13261"/>
                </a:gdLst>
                <a:ahLst/>
                <a:cxnLst>
                  <a:cxn ang="0">
                    <a:pos x="connsiteX0" y="connsiteY0"/>
                  </a:cxn>
                  <a:cxn ang="0">
                    <a:pos x="connsiteX1" y="connsiteY1"/>
                  </a:cxn>
                  <a:cxn ang="0">
                    <a:pos x="connsiteX2" y="connsiteY2"/>
                  </a:cxn>
                  <a:cxn ang="0">
                    <a:pos x="connsiteX3" y="connsiteY3"/>
                  </a:cxn>
                </a:cxnLst>
                <a:rect l="l" t="t" r="r" b="b"/>
                <a:pathLst>
                  <a:path w="25208" h="13261">
                    <a:moveTo>
                      <a:pt x="9139" y="1774"/>
                    </a:moveTo>
                    <a:cubicBezTo>
                      <a:pt x="1853" y="1683"/>
                      <a:pt x="2031" y="13056"/>
                      <a:pt x="9229" y="12876"/>
                    </a:cubicBezTo>
                    <a:cubicBezTo>
                      <a:pt x="15976" y="11251"/>
                      <a:pt x="25153" y="19013"/>
                      <a:pt x="28573" y="12154"/>
                    </a:cubicBezTo>
                    <a:cubicBezTo>
                      <a:pt x="31631" y="1864"/>
                      <a:pt x="15796" y="2135"/>
                      <a:pt x="9139" y="177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2" name="Freeform: Shape 401">
                <a:extLst>
                  <a:ext uri="{FF2B5EF4-FFF2-40B4-BE49-F238E27FC236}">
                    <a16:creationId xmlns:a16="http://schemas.microsoft.com/office/drawing/2014/main" id="{4AB3675F-CF2D-939B-7C56-C649D6F25455}"/>
                  </a:ext>
                </a:extLst>
              </p:cNvPr>
              <p:cNvSpPr/>
              <p:nvPr/>
            </p:nvSpPr>
            <p:spPr>
              <a:xfrm>
                <a:off x="2622617" y="4168522"/>
                <a:ext cx="13547" cy="23099"/>
              </a:xfrm>
              <a:custGeom>
                <a:avLst/>
                <a:gdLst>
                  <a:gd name="connsiteX0" fmla="*/ 11637 w 13547"/>
                  <a:gd name="connsiteY0" fmla="*/ 1807 h 23099"/>
                  <a:gd name="connsiteX1" fmla="*/ 4439 w 13547"/>
                  <a:gd name="connsiteY1" fmla="*/ 16429 h 23099"/>
                  <a:gd name="connsiteX2" fmla="*/ 6418 w 13547"/>
                  <a:gd name="connsiteY2" fmla="*/ 24011 h 23099"/>
                  <a:gd name="connsiteX3" fmla="*/ 11637 w 13547"/>
                  <a:gd name="connsiteY3" fmla="*/ 1807 h 23099"/>
                  <a:gd name="connsiteX4" fmla="*/ 11637 w 13547"/>
                  <a:gd name="connsiteY4" fmla="*/ 1807 h 23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7" h="23099">
                    <a:moveTo>
                      <a:pt x="11637" y="1807"/>
                    </a:moveTo>
                    <a:cubicBezTo>
                      <a:pt x="3358" y="1897"/>
                      <a:pt x="7676" y="11555"/>
                      <a:pt x="4439" y="16429"/>
                    </a:cubicBezTo>
                    <a:cubicBezTo>
                      <a:pt x="3000" y="19047"/>
                      <a:pt x="3898" y="22387"/>
                      <a:pt x="6418" y="24011"/>
                    </a:cubicBezTo>
                    <a:cubicBezTo>
                      <a:pt x="16315" y="30239"/>
                      <a:pt x="22342" y="634"/>
                      <a:pt x="11637" y="1807"/>
                    </a:cubicBezTo>
                    <a:lnTo>
                      <a:pt x="11637" y="1807"/>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3" name="Freeform: Shape 402">
                <a:extLst>
                  <a:ext uri="{FF2B5EF4-FFF2-40B4-BE49-F238E27FC236}">
                    <a16:creationId xmlns:a16="http://schemas.microsoft.com/office/drawing/2014/main" id="{63749234-7A23-2F3D-DC97-07586F8ADF4D}"/>
                  </a:ext>
                </a:extLst>
              </p:cNvPr>
              <p:cNvSpPr/>
              <p:nvPr/>
            </p:nvSpPr>
            <p:spPr>
              <a:xfrm>
                <a:off x="3011734" y="4137089"/>
                <a:ext cx="27782" cy="12893"/>
              </a:xfrm>
              <a:custGeom>
                <a:avLst/>
                <a:gdLst>
                  <a:gd name="connsiteX0" fmla="*/ 9111 w 27782"/>
                  <a:gd name="connsiteY0" fmla="*/ 1830 h 12893"/>
                  <a:gd name="connsiteX1" fmla="*/ 4073 w 27782"/>
                  <a:gd name="connsiteY1" fmla="*/ 9141 h 12893"/>
                  <a:gd name="connsiteX2" fmla="*/ 30883 w 27782"/>
                  <a:gd name="connsiteY2" fmla="*/ 4447 h 12893"/>
                  <a:gd name="connsiteX3" fmla="*/ 23237 w 27782"/>
                  <a:gd name="connsiteY3" fmla="*/ 2462 h 12893"/>
                  <a:gd name="connsiteX4" fmla="*/ 9111 w 27782"/>
                  <a:gd name="connsiteY4" fmla="*/ 1830 h 1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82" h="12893">
                    <a:moveTo>
                      <a:pt x="9111" y="1830"/>
                    </a:moveTo>
                    <a:cubicBezTo>
                      <a:pt x="5421" y="1559"/>
                      <a:pt x="2814" y="5711"/>
                      <a:pt x="4073" y="9141"/>
                    </a:cubicBezTo>
                    <a:cubicBezTo>
                      <a:pt x="7402" y="17355"/>
                      <a:pt x="36192" y="16903"/>
                      <a:pt x="30883" y="4447"/>
                    </a:cubicBezTo>
                    <a:cubicBezTo>
                      <a:pt x="29444" y="1740"/>
                      <a:pt x="25844" y="1108"/>
                      <a:pt x="23237" y="2462"/>
                    </a:cubicBezTo>
                    <a:cubicBezTo>
                      <a:pt x="18558" y="4809"/>
                      <a:pt x="13790" y="2823"/>
                      <a:pt x="9111" y="1830"/>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4" name="Freeform: Shape 403">
                <a:extLst>
                  <a:ext uri="{FF2B5EF4-FFF2-40B4-BE49-F238E27FC236}">
                    <a16:creationId xmlns:a16="http://schemas.microsoft.com/office/drawing/2014/main" id="{57A7E5C7-A9A8-D5D0-8D88-AAB28522498F}"/>
                  </a:ext>
                </a:extLst>
              </p:cNvPr>
              <p:cNvSpPr/>
              <p:nvPr/>
            </p:nvSpPr>
            <p:spPr>
              <a:xfrm>
                <a:off x="2845981" y="4120150"/>
                <a:ext cx="18253" cy="18369"/>
              </a:xfrm>
              <a:custGeom>
                <a:avLst/>
                <a:gdLst>
                  <a:gd name="connsiteX0" fmla="*/ 16430 w 18253"/>
                  <a:gd name="connsiteY0" fmla="*/ 1801 h 18369"/>
                  <a:gd name="connsiteX1" fmla="*/ 5364 w 18253"/>
                  <a:gd name="connsiteY1" fmla="*/ 10646 h 18369"/>
                  <a:gd name="connsiteX2" fmla="*/ 9412 w 18253"/>
                  <a:gd name="connsiteY2" fmla="*/ 20123 h 18369"/>
                  <a:gd name="connsiteX3" fmla="*/ 20390 w 18253"/>
                  <a:gd name="connsiteY3" fmla="*/ 11277 h 18369"/>
                  <a:gd name="connsiteX4" fmla="*/ 16430 w 18253"/>
                  <a:gd name="connsiteY4" fmla="*/ 1801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3" h="18369">
                    <a:moveTo>
                      <a:pt x="16430" y="1801"/>
                    </a:moveTo>
                    <a:cubicBezTo>
                      <a:pt x="12922" y="1259"/>
                      <a:pt x="7703" y="8840"/>
                      <a:pt x="5364" y="10646"/>
                    </a:cubicBezTo>
                    <a:cubicBezTo>
                      <a:pt x="1856" y="13986"/>
                      <a:pt x="4466" y="20303"/>
                      <a:pt x="9412" y="20123"/>
                    </a:cubicBezTo>
                    <a:cubicBezTo>
                      <a:pt x="12832" y="20574"/>
                      <a:pt x="18051" y="13083"/>
                      <a:pt x="20390" y="11277"/>
                    </a:cubicBezTo>
                    <a:cubicBezTo>
                      <a:pt x="23898" y="7847"/>
                      <a:pt x="21289" y="1620"/>
                      <a:pt x="16430" y="180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5" name="Freeform: Shape 404">
                <a:extLst>
                  <a:ext uri="{FF2B5EF4-FFF2-40B4-BE49-F238E27FC236}">
                    <a16:creationId xmlns:a16="http://schemas.microsoft.com/office/drawing/2014/main" id="{9167A5E1-9CD8-8732-65AB-0611D65F7BFB}"/>
                  </a:ext>
                </a:extLst>
              </p:cNvPr>
              <p:cNvSpPr/>
              <p:nvPr/>
            </p:nvSpPr>
            <p:spPr>
              <a:xfrm>
                <a:off x="3242394" y="4083982"/>
                <a:ext cx="20596" cy="13513"/>
              </a:xfrm>
              <a:custGeom>
                <a:avLst/>
                <a:gdLst>
                  <a:gd name="connsiteX0" fmla="*/ 14977 w 20596"/>
                  <a:gd name="connsiteY0" fmla="*/ 13868 h 13513"/>
                  <a:gd name="connsiteX1" fmla="*/ 24334 w 20596"/>
                  <a:gd name="connsiteY1" fmla="*/ 9536 h 13513"/>
                  <a:gd name="connsiteX2" fmla="*/ 9218 w 20596"/>
                  <a:gd name="connsiteY2" fmla="*/ 1774 h 13513"/>
                  <a:gd name="connsiteX3" fmla="*/ 9218 w 20596"/>
                  <a:gd name="connsiteY3" fmla="*/ 12966 h 13513"/>
                  <a:gd name="connsiteX4" fmla="*/ 12548 w 20596"/>
                  <a:gd name="connsiteY4" fmla="*/ 13056 h 13513"/>
                  <a:gd name="connsiteX5" fmla="*/ 14437 w 20596"/>
                  <a:gd name="connsiteY5" fmla="*/ 13507 h 13513"/>
                  <a:gd name="connsiteX6" fmla="*/ 14437 w 20596"/>
                  <a:gd name="connsiteY6" fmla="*/ 13507 h 13513"/>
                  <a:gd name="connsiteX7" fmla="*/ 14437 w 20596"/>
                  <a:gd name="connsiteY7" fmla="*/ 13507 h 13513"/>
                  <a:gd name="connsiteX8" fmla="*/ 14617 w 20596"/>
                  <a:gd name="connsiteY8" fmla="*/ 13597 h 13513"/>
                  <a:gd name="connsiteX9" fmla="*/ 14977 w 20596"/>
                  <a:gd name="connsiteY9" fmla="*/ 13868 h 13513"/>
                  <a:gd name="connsiteX10" fmla="*/ 14977 w 20596"/>
                  <a:gd name="connsiteY10" fmla="*/ 13868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96" h="13513">
                    <a:moveTo>
                      <a:pt x="14977" y="13868"/>
                    </a:moveTo>
                    <a:cubicBezTo>
                      <a:pt x="18485" y="17117"/>
                      <a:pt x="24692" y="14410"/>
                      <a:pt x="24334" y="9536"/>
                    </a:cubicBezTo>
                    <a:cubicBezTo>
                      <a:pt x="23524" y="2676"/>
                      <a:pt x="14167" y="1774"/>
                      <a:pt x="9218" y="1774"/>
                    </a:cubicBezTo>
                    <a:cubicBezTo>
                      <a:pt x="1930" y="1683"/>
                      <a:pt x="1930" y="13056"/>
                      <a:pt x="9218" y="12966"/>
                    </a:cubicBezTo>
                    <a:cubicBezTo>
                      <a:pt x="10209" y="12875"/>
                      <a:pt x="11557" y="12966"/>
                      <a:pt x="12548" y="13056"/>
                    </a:cubicBezTo>
                    <a:cubicBezTo>
                      <a:pt x="13176" y="13146"/>
                      <a:pt x="13806" y="13327"/>
                      <a:pt x="14437" y="13507"/>
                    </a:cubicBezTo>
                    <a:lnTo>
                      <a:pt x="14437" y="13507"/>
                    </a:lnTo>
                    <a:lnTo>
                      <a:pt x="14437" y="13507"/>
                    </a:lnTo>
                    <a:cubicBezTo>
                      <a:pt x="14527" y="13507"/>
                      <a:pt x="14527" y="13507"/>
                      <a:pt x="14617" y="13597"/>
                    </a:cubicBezTo>
                    <a:cubicBezTo>
                      <a:pt x="14797" y="13687"/>
                      <a:pt x="15425" y="14229"/>
                      <a:pt x="14977" y="13868"/>
                    </a:cubicBezTo>
                    <a:lnTo>
                      <a:pt x="14977" y="1386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6" name="Freeform: Shape 405">
                <a:extLst>
                  <a:ext uri="{FF2B5EF4-FFF2-40B4-BE49-F238E27FC236}">
                    <a16:creationId xmlns:a16="http://schemas.microsoft.com/office/drawing/2014/main" id="{9D5CDE85-90A3-FF7B-DC14-BDD1840BC79C}"/>
                  </a:ext>
                </a:extLst>
              </p:cNvPr>
              <p:cNvSpPr/>
              <p:nvPr/>
            </p:nvSpPr>
            <p:spPr>
              <a:xfrm>
                <a:off x="3136549" y="4062391"/>
                <a:ext cx="25593" cy="18162"/>
              </a:xfrm>
              <a:custGeom>
                <a:avLst/>
                <a:gdLst>
                  <a:gd name="connsiteX0" fmla="*/ 9531 w 25593"/>
                  <a:gd name="connsiteY0" fmla="*/ 1792 h 18162"/>
                  <a:gd name="connsiteX1" fmla="*/ 6561 w 25593"/>
                  <a:gd name="connsiteY1" fmla="*/ 12082 h 18162"/>
                  <a:gd name="connsiteX2" fmla="*/ 23566 w 25593"/>
                  <a:gd name="connsiteY2" fmla="*/ 19935 h 18162"/>
                  <a:gd name="connsiteX3" fmla="*/ 26536 w 25593"/>
                  <a:gd name="connsiteY3" fmla="*/ 9645 h 18162"/>
                  <a:gd name="connsiteX4" fmla="*/ 9531 w 25593"/>
                  <a:gd name="connsiteY4" fmla="*/ 1792 h 18162"/>
                  <a:gd name="connsiteX5" fmla="*/ 9531 w 25593"/>
                  <a:gd name="connsiteY5" fmla="*/ 1792 h 1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 h="18162">
                    <a:moveTo>
                      <a:pt x="9531" y="1792"/>
                    </a:moveTo>
                    <a:cubicBezTo>
                      <a:pt x="4312" y="1702"/>
                      <a:pt x="1165" y="9735"/>
                      <a:pt x="6561" y="12082"/>
                    </a:cubicBezTo>
                    <a:cubicBezTo>
                      <a:pt x="11330" y="14067"/>
                      <a:pt x="18438" y="18942"/>
                      <a:pt x="23566" y="19935"/>
                    </a:cubicBezTo>
                    <a:cubicBezTo>
                      <a:pt x="28785" y="20025"/>
                      <a:pt x="31933" y="12082"/>
                      <a:pt x="26536" y="9645"/>
                    </a:cubicBezTo>
                    <a:cubicBezTo>
                      <a:pt x="24735" y="9013"/>
                      <a:pt x="11330" y="1340"/>
                      <a:pt x="9531" y="1792"/>
                    </a:cubicBezTo>
                    <a:lnTo>
                      <a:pt x="9531" y="1792"/>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7" name="Freeform: Shape 406">
                <a:extLst>
                  <a:ext uri="{FF2B5EF4-FFF2-40B4-BE49-F238E27FC236}">
                    <a16:creationId xmlns:a16="http://schemas.microsoft.com/office/drawing/2014/main" id="{CFE34562-1595-1DF7-678E-B6E42E20CAFB}"/>
                  </a:ext>
                </a:extLst>
              </p:cNvPr>
              <p:cNvSpPr/>
              <p:nvPr/>
            </p:nvSpPr>
            <p:spPr>
              <a:xfrm>
                <a:off x="2473529" y="4031171"/>
                <a:ext cx="13660" cy="32420"/>
              </a:xfrm>
              <a:custGeom>
                <a:avLst/>
                <a:gdLst>
                  <a:gd name="connsiteX0" fmla="*/ 11827 w 13660"/>
                  <a:gd name="connsiteY0" fmla="*/ 1784 h 32420"/>
                  <a:gd name="connsiteX1" fmla="*/ 6248 w 13660"/>
                  <a:gd name="connsiteY1" fmla="*/ 6747 h 32420"/>
                  <a:gd name="connsiteX2" fmla="*/ 4089 w 13660"/>
                  <a:gd name="connsiteY2" fmla="*/ 27327 h 32420"/>
                  <a:gd name="connsiteX3" fmla="*/ 9578 w 13660"/>
                  <a:gd name="connsiteY3" fmla="*/ 34187 h 32420"/>
                  <a:gd name="connsiteX4" fmla="*/ 14797 w 13660"/>
                  <a:gd name="connsiteY4" fmla="*/ 30305 h 32420"/>
                  <a:gd name="connsiteX5" fmla="*/ 17404 w 13660"/>
                  <a:gd name="connsiteY5" fmla="*/ 7199 h 32420"/>
                  <a:gd name="connsiteX6" fmla="*/ 11827 w 13660"/>
                  <a:gd name="connsiteY6" fmla="*/ 1784 h 3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0" h="32420">
                    <a:moveTo>
                      <a:pt x="11827" y="1784"/>
                    </a:moveTo>
                    <a:cubicBezTo>
                      <a:pt x="8948" y="1603"/>
                      <a:pt x="6428" y="3769"/>
                      <a:pt x="6248" y="6747"/>
                    </a:cubicBezTo>
                    <a:cubicBezTo>
                      <a:pt x="6248" y="13968"/>
                      <a:pt x="6158" y="20648"/>
                      <a:pt x="4089" y="27327"/>
                    </a:cubicBezTo>
                    <a:cubicBezTo>
                      <a:pt x="2650" y="30847"/>
                      <a:pt x="6068" y="34367"/>
                      <a:pt x="9578" y="34187"/>
                    </a:cubicBezTo>
                    <a:cubicBezTo>
                      <a:pt x="12007" y="34277"/>
                      <a:pt x="14167" y="32652"/>
                      <a:pt x="14797" y="30305"/>
                    </a:cubicBezTo>
                    <a:cubicBezTo>
                      <a:pt x="17226" y="22543"/>
                      <a:pt x="17404" y="14600"/>
                      <a:pt x="17404" y="7199"/>
                    </a:cubicBezTo>
                    <a:cubicBezTo>
                      <a:pt x="17584" y="4130"/>
                      <a:pt x="14797" y="1603"/>
                      <a:pt x="11827" y="178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8" name="Freeform: Shape 407">
                <a:extLst>
                  <a:ext uri="{FF2B5EF4-FFF2-40B4-BE49-F238E27FC236}">
                    <a16:creationId xmlns:a16="http://schemas.microsoft.com/office/drawing/2014/main" id="{88674B4E-8C6D-1428-FEB9-5557273762A1}"/>
                  </a:ext>
                </a:extLst>
              </p:cNvPr>
              <p:cNvSpPr/>
              <p:nvPr/>
            </p:nvSpPr>
            <p:spPr>
              <a:xfrm>
                <a:off x="2653983" y="4009124"/>
                <a:ext cx="22942" cy="11438"/>
              </a:xfrm>
              <a:custGeom>
                <a:avLst/>
                <a:gdLst>
                  <a:gd name="connsiteX0" fmla="*/ 9150 w 22942"/>
                  <a:gd name="connsiteY0" fmla="*/ 1896 h 11438"/>
                  <a:gd name="connsiteX1" fmla="*/ 9150 w 22942"/>
                  <a:gd name="connsiteY1" fmla="*/ 13088 h 11438"/>
                  <a:gd name="connsiteX2" fmla="*/ 26694 w 22942"/>
                  <a:gd name="connsiteY2" fmla="*/ 7492 h 11438"/>
                  <a:gd name="connsiteX3" fmla="*/ 9150 w 22942"/>
                  <a:gd name="connsiteY3" fmla="*/ 1896 h 11438"/>
                </a:gdLst>
                <a:ahLst/>
                <a:cxnLst>
                  <a:cxn ang="0">
                    <a:pos x="connsiteX0" y="connsiteY0"/>
                  </a:cxn>
                  <a:cxn ang="0">
                    <a:pos x="connsiteX1" y="connsiteY1"/>
                  </a:cxn>
                  <a:cxn ang="0">
                    <a:pos x="connsiteX2" y="connsiteY2"/>
                  </a:cxn>
                  <a:cxn ang="0">
                    <a:pos x="connsiteX3" y="connsiteY3"/>
                  </a:cxn>
                </a:cxnLst>
                <a:rect l="l" t="t" r="r" b="b"/>
                <a:pathLst>
                  <a:path w="22942" h="11438">
                    <a:moveTo>
                      <a:pt x="9150" y="1896"/>
                    </a:moveTo>
                    <a:cubicBezTo>
                      <a:pt x="1953" y="1806"/>
                      <a:pt x="1953" y="13179"/>
                      <a:pt x="9150" y="13088"/>
                    </a:cubicBezTo>
                    <a:cubicBezTo>
                      <a:pt x="13919" y="12457"/>
                      <a:pt x="26784" y="15706"/>
                      <a:pt x="26694" y="7492"/>
                    </a:cubicBezTo>
                    <a:cubicBezTo>
                      <a:pt x="26784" y="-722"/>
                      <a:pt x="13919" y="2528"/>
                      <a:pt x="9150" y="189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9" name="Freeform: Shape 408">
                <a:extLst>
                  <a:ext uri="{FF2B5EF4-FFF2-40B4-BE49-F238E27FC236}">
                    <a16:creationId xmlns:a16="http://schemas.microsoft.com/office/drawing/2014/main" id="{D1D970C0-4216-42EB-F785-084E60FEB0BD}"/>
                  </a:ext>
                </a:extLst>
              </p:cNvPr>
              <p:cNvSpPr/>
              <p:nvPr/>
            </p:nvSpPr>
            <p:spPr>
              <a:xfrm>
                <a:off x="2346203" y="3980274"/>
                <a:ext cx="30179" cy="20849"/>
              </a:xfrm>
              <a:custGeom>
                <a:avLst/>
                <a:gdLst>
                  <a:gd name="connsiteX0" fmla="*/ 29033 w 30179"/>
                  <a:gd name="connsiteY0" fmla="*/ 1773 h 20849"/>
                  <a:gd name="connsiteX1" fmla="*/ 9688 w 30179"/>
                  <a:gd name="connsiteY1" fmla="*/ 22622 h 20849"/>
                  <a:gd name="connsiteX2" fmla="*/ 13379 w 30179"/>
                  <a:gd name="connsiteY2" fmla="*/ 20998 h 20849"/>
                  <a:gd name="connsiteX3" fmla="*/ 30201 w 30179"/>
                  <a:gd name="connsiteY3" fmla="*/ 12784 h 20849"/>
                  <a:gd name="connsiteX4" fmla="*/ 29033 w 30179"/>
                  <a:gd name="connsiteY4" fmla="*/ 1773 h 2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9" h="20849">
                    <a:moveTo>
                      <a:pt x="29033" y="1773"/>
                    </a:moveTo>
                    <a:cubicBezTo>
                      <a:pt x="21835" y="2585"/>
                      <a:pt x="-9023" y="15582"/>
                      <a:pt x="9688" y="22622"/>
                    </a:cubicBezTo>
                    <a:cubicBezTo>
                      <a:pt x="11039" y="22532"/>
                      <a:pt x="12388" y="21991"/>
                      <a:pt x="13379" y="20998"/>
                    </a:cubicBezTo>
                    <a:cubicBezTo>
                      <a:pt x="17967" y="16666"/>
                      <a:pt x="24264" y="14770"/>
                      <a:pt x="30201" y="12784"/>
                    </a:cubicBezTo>
                    <a:cubicBezTo>
                      <a:pt x="35690" y="11340"/>
                      <a:pt x="34970" y="1773"/>
                      <a:pt x="2903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0" name="Freeform: Shape 409">
                <a:extLst>
                  <a:ext uri="{FF2B5EF4-FFF2-40B4-BE49-F238E27FC236}">
                    <a16:creationId xmlns:a16="http://schemas.microsoft.com/office/drawing/2014/main" id="{864497EB-37A9-C1AE-6B90-27FB124A6896}"/>
                  </a:ext>
                </a:extLst>
              </p:cNvPr>
              <p:cNvSpPr/>
              <p:nvPr/>
            </p:nvSpPr>
            <p:spPr>
              <a:xfrm>
                <a:off x="2795471" y="3963666"/>
                <a:ext cx="15856" cy="23107"/>
              </a:xfrm>
              <a:custGeom>
                <a:avLst/>
                <a:gdLst>
                  <a:gd name="connsiteX0" fmla="*/ 9182 w 15856"/>
                  <a:gd name="connsiteY0" fmla="*/ 1773 h 23107"/>
                  <a:gd name="connsiteX1" fmla="*/ 13950 w 15856"/>
                  <a:gd name="connsiteY1" fmla="*/ 24880 h 23107"/>
                  <a:gd name="connsiteX2" fmla="*/ 18088 w 15856"/>
                  <a:gd name="connsiteY2" fmla="*/ 15312 h 23107"/>
                  <a:gd name="connsiteX3" fmla="*/ 9182 w 15856"/>
                  <a:gd name="connsiteY3" fmla="*/ 1773 h 23107"/>
                  <a:gd name="connsiteX4" fmla="*/ 9182 w 15856"/>
                  <a:gd name="connsiteY4" fmla="*/ 1773 h 2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6" h="23107">
                    <a:moveTo>
                      <a:pt x="9182" y="1773"/>
                    </a:moveTo>
                    <a:cubicBezTo>
                      <a:pt x="-2064" y="2225"/>
                      <a:pt x="6482" y="24249"/>
                      <a:pt x="13950" y="24880"/>
                    </a:cubicBezTo>
                    <a:cubicBezTo>
                      <a:pt x="18539" y="24880"/>
                      <a:pt x="21596" y="18652"/>
                      <a:pt x="18088" y="15312"/>
                    </a:cubicBezTo>
                    <a:cubicBezTo>
                      <a:pt x="13590" y="11431"/>
                      <a:pt x="16920" y="1773"/>
                      <a:pt x="9182" y="1773"/>
                    </a:cubicBezTo>
                    <a:lnTo>
                      <a:pt x="918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1" name="Freeform: Shape 410">
                <a:extLst>
                  <a:ext uri="{FF2B5EF4-FFF2-40B4-BE49-F238E27FC236}">
                    <a16:creationId xmlns:a16="http://schemas.microsoft.com/office/drawing/2014/main" id="{8BE1669D-1B1E-5CDF-C73B-C46D8C09BB70}"/>
                  </a:ext>
                </a:extLst>
              </p:cNvPr>
              <p:cNvSpPr/>
              <p:nvPr/>
            </p:nvSpPr>
            <p:spPr>
              <a:xfrm>
                <a:off x="3028563" y="3965919"/>
                <a:ext cx="15768" cy="18334"/>
              </a:xfrm>
              <a:custGeom>
                <a:avLst/>
                <a:gdLst>
                  <a:gd name="connsiteX0" fmla="*/ 9196 w 15768"/>
                  <a:gd name="connsiteY0" fmla="*/ 1776 h 18334"/>
                  <a:gd name="connsiteX1" fmla="*/ 5598 w 15768"/>
                  <a:gd name="connsiteY1" fmla="*/ 11616 h 18334"/>
                  <a:gd name="connsiteX2" fmla="*/ 14054 w 15768"/>
                  <a:gd name="connsiteY2" fmla="*/ 20099 h 18334"/>
                  <a:gd name="connsiteX3" fmla="*/ 17654 w 15768"/>
                  <a:gd name="connsiteY3" fmla="*/ 10352 h 18334"/>
                  <a:gd name="connsiteX4" fmla="*/ 9196 w 15768"/>
                  <a:gd name="connsiteY4" fmla="*/ 1776 h 18334"/>
                  <a:gd name="connsiteX5" fmla="*/ 9196 w 15768"/>
                  <a:gd name="connsiteY5" fmla="*/ 1776 h 1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68" h="18334">
                    <a:moveTo>
                      <a:pt x="9196" y="1776"/>
                    </a:moveTo>
                    <a:cubicBezTo>
                      <a:pt x="4249" y="1597"/>
                      <a:pt x="1820" y="8457"/>
                      <a:pt x="5598" y="11616"/>
                    </a:cubicBezTo>
                    <a:cubicBezTo>
                      <a:pt x="7757" y="14955"/>
                      <a:pt x="9376" y="20190"/>
                      <a:pt x="14054" y="20099"/>
                    </a:cubicBezTo>
                    <a:cubicBezTo>
                      <a:pt x="19093" y="20371"/>
                      <a:pt x="21432" y="13420"/>
                      <a:pt x="17654" y="10352"/>
                    </a:cubicBezTo>
                    <a:cubicBezTo>
                      <a:pt x="15583" y="7012"/>
                      <a:pt x="13874" y="1776"/>
                      <a:pt x="9196" y="1776"/>
                    </a:cubicBezTo>
                    <a:lnTo>
                      <a:pt x="9196" y="1776"/>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2" name="Freeform: Shape 411">
                <a:extLst>
                  <a:ext uri="{FF2B5EF4-FFF2-40B4-BE49-F238E27FC236}">
                    <a16:creationId xmlns:a16="http://schemas.microsoft.com/office/drawing/2014/main" id="{852E5FEA-BB62-9907-9867-2678EEFF9513}"/>
                  </a:ext>
                </a:extLst>
              </p:cNvPr>
              <p:cNvSpPr/>
              <p:nvPr/>
            </p:nvSpPr>
            <p:spPr>
              <a:xfrm>
                <a:off x="2565107" y="3910323"/>
                <a:ext cx="29895" cy="21120"/>
              </a:xfrm>
              <a:custGeom>
                <a:avLst/>
                <a:gdLst>
                  <a:gd name="connsiteX0" fmla="*/ 28752 w 29895"/>
                  <a:gd name="connsiteY0" fmla="*/ 1773 h 21120"/>
                  <a:gd name="connsiteX1" fmla="*/ 4010 w 29895"/>
                  <a:gd name="connsiteY1" fmla="*/ 15312 h 21120"/>
                  <a:gd name="connsiteX2" fmla="*/ 9047 w 29895"/>
                  <a:gd name="connsiteY2" fmla="*/ 22894 h 21120"/>
                  <a:gd name="connsiteX3" fmla="*/ 29830 w 29895"/>
                  <a:gd name="connsiteY3" fmla="*/ 12875 h 21120"/>
                  <a:gd name="connsiteX4" fmla="*/ 32980 w 29895"/>
                  <a:gd name="connsiteY4" fmla="*/ 10257 h 21120"/>
                  <a:gd name="connsiteX5" fmla="*/ 28752 w 29895"/>
                  <a:gd name="connsiteY5" fmla="*/ 1773 h 21120"/>
                  <a:gd name="connsiteX6" fmla="*/ 28752 w 29895"/>
                  <a:gd name="connsiteY6" fmla="*/ 1773 h 2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5" h="21120">
                    <a:moveTo>
                      <a:pt x="28752" y="1773"/>
                    </a:moveTo>
                    <a:cubicBezTo>
                      <a:pt x="20203" y="4480"/>
                      <a:pt x="9587" y="8091"/>
                      <a:pt x="4010" y="15312"/>
                    </a:cubicBezTo>
                    <a:cubicBezTo>
                      <a:pt x="2930" y="18742"/>
                      <a:pt x="5359" y="22713"/>
                      <a:pt x="9047" y="22894"/>
                    </a:cubicBezTo>
                    <a:cubicBezTo>
                      <a:pt x="16155" y="20366"/>
                      <a:pt x="22274" y="14860"/>
                      <a:pt x="29830" y="12875"/>
                    </a:cubicBezTo>
                    <a:cubicBezTo>
                      <a:pt x="31181" y="12423"/>
                      <a:pt x="32349" y="11521"/>
                      <a:pt x="32980" y="10257"/>
                    </a:cubicBezTo>
                    <a:cubicBezTo>
                      <a:pt x="34779" y="6917"/>
                      <a:pt x="32800" y="1773"/>
                      <a:pt x="28752" y="1773"/>
                    </a:cubicBezTo>
                    <a:lnTo>
                      <a:pt x="2875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3" name="Freeform: Shape 412">
                <a:extLst>
                  <a:ext uri="{FF2B5EF4-FFF2-40B4-BE49-F238E27FC236}">
                    <a16:creationId xmlns:a16="http://schemas.microsoft.com/office/drawing/2014/main" id="{264A172B-F7AA-8C91-02A0-D456D1432BC2}"/>
                  </a:ext>
                </a:extLst>
              </p:cNvPr>
              <p:cNvSpPr/>
              <p:nvPr/>
            </p:nvSpPr>
            <p:spPr>
              <a:xfrm>
                <a:off x="3100795" y="3891073"/>
                <a:ext cx="22843" cy="18526"/>
              </a:xfrm>
              <a:custGeom>
                <a:avLst/>
                <a:gdLst>
                  <a:gd name="connsiteX0" fmla="*/ 8938 w 22843"/>
                  <a:gd name="connsiteY0" fmla="*/ 1887 h 18526"/>
                  <a:gd name="connsiteX1" fmla="*/ 9028 w 22843"/>
                  <a:gd name="connsiteY1" fmla="*/ 13080 h 18526"/>
                  <a:gd name="connsiteX2" fmla="*/ 20634 w 22843"/>
                  <a:gd name="connsiteY2" fmla="*/ 20300 h 18526"/>
                  <a:gd name="connsiteX3" fmla="*/ 8938 w 22843"/>
                  <a:gd name="connsiteY3" fmla="*/ 1887 h 18526"/>
                </a:gdLst>
                <a:ahLst/>
                <a:cxnLst>
                  <a:cxn ang="0">
                    <a:pos x="connsiteX0" y="connsiteY0"/>
                  </a:cxn>
                  <a:cxn ang="0">
                    <a:pos x="connsiteX1" y="connsiteY1"/>
                  </a:cxn>
                  <a:cxn ang="0">
                    <a:pos x="connsiteX2" y="connsiteY2"/>
                  </a:cxn>
                  <a:cxn ang="0">
                    <a:pos x="connsiteX3" y="connsiteY3"/>
                  </a:cxn>
                </a:cxnLst>
                <a:rect l="l" t="t" r="r" b="b"/>
                <a:pathLst>
                  <a:path w="22843" h="18526">
                    <a:moveTo>
                      <a:pt x="8938" y="1887"/>
                    </a:moveTo>
                    <a:cubicBezTo>
                      <a:pt x="1830" y="1707"/>
                      <a:pt x="2190" y="13260"/>
                      <a:pt x="9028" y="13080"/>
                    </a:cubicBezTo>
                    <a:cubicBezTo>
                      <a:pt x="15325" y="12266"/>
                      <a:pt x="15415" y="20030"/>
                      <a:pt x="20634" y="20300"/>
                    </a:cubicBezTo>
                    <a:cubicBezTo>
                      <a:pt x="35928" y="16419"/>
                      <a:pt x="18025" y="262"/>
                      <a:pt x="8938" y="188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4" name="Freeform: Shape 413">
                <a:extLst>
                  <a:ext uri="{FF2B5EF4-FFF2-40B4-BE49-F238E27FC236}">
                    <a16:creationId xmlns:a16="http://schemas.microsoft.com/office/drawing/2014/main" id="{39691EB4-8B65-0F94-A5A7-D6CEBAA19A82}"/>
                  </a:ext>
                </a:extLst>
              </p:cNvPr>
              <p:cNvSpPr/>
              <p:nvPr/>
            </p:nvSpPr>
            <p:spPr>
              <a:xfrm>
                <a:off x="2920607" y="3847854"/>
                <a:ext cx="25401" cy="15813"/>
              </a:xfrm>
              <a:custGeom>
                <a:avLst/>
                <a:gdLst>
                  <a:gd name="connsiteX0" fmla="*/ 8919 w 25401"/>
                  <a:gd name="connsiteY0" fmla="*/ 1782 h 15813"/>
                  <a:gd name="connsiteX1" fmla="*/ 5051 w 25401"/>
                  <a:gd name="connsiteY1" fmla="*/ 10988 h 15813"/>
                  <a:gd name="connsiteX2" fmla="*/ 19807 w 25401"/>
                  <a:gd name="connsiteY2" fmla="*/ 16494 h 15813"/>
                  <a:gd name="connsiteX3" fmla="*/ 23315 w 25401"/>
                  <a:gd name="connsiteY3" fmla="*/ 17577 h 15813"/>
                  <a:gd name="connsiteX4" fmla="*/ 28984 w 25401"/>
                  <a:gd name="connsiteY4" fmla="*/ 12883 h 15813"/>
                  <a:gd name="connsiteX5" fmla="*/ 26285 w 25401"/>
                  <a:gd name="connsiteY5" fmla="*/ 7378 h 15813"/>
                  <a:gd name="connsiteX6" fmla="*/ 8919 w 2540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1" h="15813">
                    <a:moveTo>
                      <a:pt x="8919" y="1782"/>
                    </a:moveTo>
                    <a:cubicBezTo>
                      <a:pt x="4153" y="1511"/>
                      <a:pt x="2262" y="7739"/>
                      <a:pt x="5051" y="10988"/>
                    </a:cubicBezTo>
                    <a:cubicBezTo>
                      <a:pt x="8471" y="14057"/>
                      <a:pt x="15039" y="12883"/>
                      <a:pt x="19807" y="16494"/>
                    </a:cubicBezTo>
                    <a:cubicBezTo>
                      <a:pt x="20886" y="17125"/>
                      <a:pt x="22056" y="17667"/>
                      <a:pt x="23315" y="17577"/>
                    </a:cubicBezTo>
                    <a:cubicBezTo>
                      <a:pt x="26015" y="17487"/>
                      <a:pt x="28354" y="15592"/>
                      <a:pt x="28984" y="12883"/>
                    </a:cubicBezTo>
                    <a:cubicBezTo>
                      <a:pt x="29612" y="10627"/>
                      <a:pt x="28444" y="8280"/>
                      <a:pt x="26285" y="7378"/>
                    </a:cubicBezTo>
                    <a:cubicBezTo>
                      <a:pt x="20435" y="4399"/>
                      <a:pt x="15039" y="1872"/>
                      <a:pt x="8919"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5" name="Freeform: Shape 414">
                <a:extLst>
                  <a:ext uri="{FF2B5EF4-FFF2-40B4-BE49-F238E27FC236}">
                    <a16:creationId xmlns:a16="http://schemas.microsoft.com/office/drawing/2014/main" id="{0EA661CD-15C2-E950-BBE4-81E7A7513B19}"/>
                  </a:ext>
                </a:extLst>
              </p:cNvPr>
              <p:cNvSpPr/>
              <p:nvPr/>
            </p:nvSpPr>
            <p:spPr>
              <a:xfrm>
                <a:off x="2502722" y="3830893"/>
                <a:ext cx="34684" cy="18595"/>
              </a:xfrm>
              <a:custGeom>
                <a:avLst/>
                <a:gdLst>
                  <a:gd name="connsiteX0" fmla="*/ 33375 w 34684"/>
                  <a:gd name="connsiteY0" fmla="*/ 1774 h 18595"/>
                  <a:gd name="connsiteX1" fmla="*/ 19610 w 34684"/>
                  <a:gd name="connsiteY1" fmla="*/ 5656 h 18595"/>
                  <a:gd name="connsiteX2" fmla="*/ 19610 w 34684"/>
                  <a:gd name="connsiteY2" fmla="*/ 5656 h 18595"/>
                  <a:gd name="connsiteX3" fmla="*/ 4406 w 34684"/>
                  <a:gd name="connsiteY3" fmla="*/ 11883 h 18595"/>
                  <a:gd name="connsiteX4" fmla="*/ 8724 w 34684"/>
                  <a:gd name="connsiteY4" fmla="*/ 20368 h 18595"/>
                  <a:gd name="connsiteX5" fmla="*/ 37783 w 34684"/>
                  <a:gd name="connsiteY5" fmla="*/ 10169 h 18595"/>
                  <a:gd name="connsiteX6" fmla="*/ 33375 w 34684"/>
                  <a:gd name="connsiteY6" fmla="*/ 1774 h 18595"/>
                  <a:gd name="connsiteX7" fmla="*/ 33375 w 34684"/>
                  <a:gd name="connsiteY7" fmla="*/ 1774 h 1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4" h="18595">
                    <a:moveTo>
                      <a:pt x="33375" y="1774"/>
                    </a:moveTo>
                    <a:cubicBezTo>
                      <a:pt x="28696" y="2586"/>
                      <a:pt x="24198" y="4573"/>
                      <a:pt x="19610" y="5656"/>
                    </a:cubicBezTo>
                    <a:lnTo>
                      <a:pt x="19610" y="5656"/>
                    </a:lnTo>
                    <a:cubicBezTo>
                      <a:pt x="14753" y="7732"/>
                      <a:pt x="7735" y="7461"/>
                      <a:pt x="4406" y="11883"/>
                    </a:cubicBezTo>
                    <a:cubicBezTo>
                      <a:pt x="2607" y="15132"/>
                      <a:pt x="4676" y="20368"/>
                      <a:pt x="8724" y="20368"/>
                    </a:cubicBezTo>
                    <a:cubicBezTo>
                      <a:pt x="18081" y="16938"/>
                      <a:pt x="30047" y="16487"/>
                      <a:pt x="37783" y="10169"/>
                    </a:cubicBezTo>
                    <a:cubicBezTo>
                      <a:pt x="39584" y="6920"/>
                      <a:pt x="37515" y="1684"/>
                      <a:pt x="33375" y="1774"/>
                    </a:cubicBezTo>
                    <a:lnTo>
                      <a:pt x="33375"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6" name="Freeform: Shape 415">
                <a:extLst>
                  <a:ext uri="{FF2B5EF4-FFF2-40B4-BE49-F238E27FC236}">
                    <a16:creationId xmlns:a16="http://schemas.microsoft.com/office/drawing/2014/main" id="{1CD833AB-2E57-5451-6EA8-1AEF41804366}"/>
                  </a:ext>
                </a:extLst>
              </p:cNvPr>
              <p:cNvSpPr/>
              <p:nvPr/>
            </p:nvSpPr>
            <p:spPr>
              <a:xfrm>
                <a:off x="2689948" y="3828547"/>
                <a:ext cx="22822" cy="13542"/>
              </a:xfrm>
              <a:custGeom>
                <a:avLst/>
                <a:gdLst>
                  <a:gd name="connsiteX0" fmla="*/ 21406 w 22822"/>
                  <a:gd name="connsiteY0" fmla="*/ 15312 h 13542"/>
                  <a:gd name="connsiteX1" fmla="*/ 25277 w 22822"/>
                  <a:gd name="connsiteY1" fmla="*/ 6105 h 13542"/>
                  <a:gd name="connsiteX2" fmla="*/ 8902 w 22822"/>
                  <a:gd name="connsiteY2" fmla="*/ 1773 h 13542"/>
                  <a:gd name="connsiteX3" fmla="*/ 8001 w 22822"/>
                  <a:gd name="connsiteY3" fmla="*/ 12784 h 13542"/>
                  <a:gd name="connsiteX4" fmla="*/ 21406 w 22822"/>
                  <a:gd name="connsiteY4" fmla="*/ 15312 h 13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22" h="13542">
                    <a:moveTo>
                      <a:pt x="21406" y="15312"/>
                    </a:moveTo>
                    <a:cubicBezTo>
                      <a:pt x="26175" y="15493"/>
                      <a:pt x="28064" y="9445"/>
                      <a:pt x="25277" y="6105"/>
                    </a:cubicBezTo>
                    <a:cubicBezTo>
                      <a:pt x="22397" y="3489"/>
                      <a:pt x="13310" y="2856"/>
                      <a:pt x="8902" y="1773"/>
                    </a:cubicBezTo>
                    <a:cubicBezTo>
                      <a:pt x="2334" y="2044"/>
                      <a:pt x="2064" y="11611"/>
                      <a:pt x="8001" y="12784"/>
                    </a:cubicBezTo>
                    <a:cubicBezTo>
                      <a:pt x="8361" y="12875"/>
                      <a:pt x="16998" y="15402"/>
                      <a:pt x="21406" y="1531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7" name="Freeform: Shape 416">
                <a:extLst>
                  <a:ext uri="{FF2B5EF4-FFF2-40B4-BE49-F238E27FC236}">
                    <a16:creationId xmlns:a16="http://schemas.microsoft.com/office/drawing/2014/main" id="{0E8C61CC-E5B2-769D-F23C-C26B56DE6C31}"/>
                  </a:ext>
                </a:extLst>
              </p:cNvPr>
              <p:cNvSpPr/>
              <p:nvPr/>
            </p:nvSpPr>
            <p:spPr>
              <a:xfrm>
                <a:off x="3151035" y="3794763"/>
                <a:ext cx="37216" cy="13541"/>
              </a:xfrm>
              <a:custGeom>
                <a:avLst/>
                <a:gdLst>
                  <a:gd name="connsiteX0" fmla="*/ 9261 w 37216"/>
                  <a:gd name="connsiteY0" fmla="*/ 1800 h 13541"/>
                  <a:gd name="connsiteX1" fmla="*/ 3772 w 37216"/>
                  <a:gd name="connsiteY1" fmla="*/ 7848 h 13541"/>
                  <a:gd name="connsiteX2" fmla="*/ 10790 w 37216"/>
                  <a:gd name="connsiteY2" fmla="*/ 12992 h 13541"/>
                  <a:gd name="connsiteX3" fmla="*/ 34632 w 37216"/>
                  <a:gd name="connsiteY3" fmla="*/ 15249 h 13541"/>
                  <a:gd name="connsiteX4" fmla="*/ 35081 w 37216"/>
                  <a:gd name="connsiteY4" fmla="*/ 3966 h 13541"/>
                  <a:gd name="connsiteX5" fmla="*/ 9261 w 37216"/>
                  <a:gd name="connsiteY5" fmla="*/ 1800 h 13541"/>
                  <a:gd name="connsiteX6" fmla="*/ 9261 w 37216"/>
                  <a:gd name="connsiteY6" fmla="*/ 1800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6" h="13541">
                    <a:moveTo>
                      <a:pt x="9261" y="1800"/>
                    </a:moveTo>
                    <a:cubicBezTo>
                      <a:pt x="6021" y="1800"/>
                      <a:pt x="3502" y="4599"/>
                      <a:pt x="3772" y="7848"/>
                    </a:cubicBezTo>
                    <a:cubicBezTo>
                      <a:pt x="3952" y="11459"/>
                      <a:pt x="7462" y="13444"/>
                      <a:pt x="10790" y="12992"/>
                    </a:cubicBezTo>
                    <a:cubicBezTo>
                      <a:pt x="18438" y="12992"/>
                      <a:pt x="26534" y="13354"/>
                      <a:pt x="34632" y="15249"/>
                    </a:cubicBezTo>
                    <a:cubicBezTo>
                      <a:pt x="42729" y="16332"/>
                      <a:pt x="43269" y="3606"/>
                      <a:pt x="35081" y="3966"/>
                    </a:cubicBezTo>
                    <a:cubicBezTo>
                      <a:pt x="26534" y="2342"/>
                      <a:pt x="17897" y="1619"/>
                      <a:pt x="9261" y="1800"/>
                    </a:cubicBezTo>
                    <a:lnTo>
                      <a:pt x="9261" y="1800"/>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8" name="Freeform: Shape 417">
                <a:extLst>
                  <a:ext uri="{FF2B5EF4-FFF2-40B4-BE49-F238E27FC236}">
                    <a16:creationId xmlns:a16="http://schemas.microsoft.com/office/drawing/2014/main" id="{9111A6E7-8F97-6C5E-2358-6091A69AA2ED}"/>
                  </a:ext>
                </a:extLst>
              </p:cNvPr>
              <p:cNvSpPr/>
              <p:nvPr/>
            </p:nvSpPr>
            <p:spPr>
              <a:xfrm>
                <a:off x="2925053" y="3725019"/>
                <a:ext cx="28302" cy="20351"/>
              </a:xfrm>
              <a:custGeom>
                <a:avLst/>
                <a:gdLst>
                  <a:gd name="connsiteX0" fmla="*/ 26068 w 28302"/>
                  <a:gd name="connsiteY0" fmla="*/ 1773 h 20351"/>
                  <a:gd name="connsiteX1" fmla="*/ 10593 w 28302"/>
                  <a:gd name="connsiteY1" fmla="*/ 10257 h 20351"/>
                  <a:gd name="connsiteX2" fmla="*/ 3936 w 28302"/>
                  <a:gd name="connsiteY2" fmla="*/ 17568 h 20351"/>
                  <a:gd name="connsiteX3" fmla="*/ 15720 w 28302"/>
                  <a:gd name="connsiteY3" fmla="*/ 20096 h 20351"/>
                  <a:gd name="connsiteX4" fmla="*/ 15720 w 28302"/>
                  <a:gd name="connsiteY4" fmla="*/ 20096 h 20351"/>
                  <a:gd name="connsiteX5" fmla="*/ 26068 w 28302"/>
                  <a:gd name="connsiteY5" fmla="*/ 1773 h 2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02" h="20351">
                    <a:moveTo>
                      <a:pt x="26068" y="1773"/>
                    </a:moveTo>
                    <a:cubicBezTo>
                      <a:pt x="20579" y="3308"/>
                      <a:pt x="16441" y="8723"/>
                      <a:pt x="10593" y="10257"/>
                    </a:cubicBezTo>
                    <a:cubicBezTo>
                      <a:pt x="7444" y="11611"/>
                      <a:pt x="2765" y="13236"/>
                      <a:pt x="3936" y="17568"/>
                    </a:cubicBezTo>
                    <a:cubicBezTo>
                      <a:pt x="5375" y="23436"/>
                      <a:pt x="11762" y="22894"/>
                      <a:pt x="15720" y="20096"/>
                    </a:cubicBezTo>
                    <a:lnTo>
                      <a:pt x="15720" y="20096"/>
                    </a:lnTo>
                    <a:cubicBezTo>
                      <a:pt x="22738" y="17478"/>
                      <a:pt x="41632" y="6557"/>
                      <a:pt x="26068"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9" name="Freeform: Shape 418">
                <a:extLst>
                  <a:ext uri="{FF2B5EF4-FFF2-40B4-BE49-F238E27FC236}">
                    <a16:creationId xmlns:a16="http://schemas.microsoft.com/office/drawing/2014/main" id="{9E58C144-8ADA-3F82-008D-5785D735D2B4}"/>
                  </a:ext>
                </a:extLst>
              </p:cNvPr>
              <p:cNvSpPr/>
              <p:nvPr/>
            </p:nvSpPr>
            <p:spPr>
              <a:xfrm>
                <a:off x="2531187" y="3722489"/>
                <a:ext cx="27769" cy="15599"/>
              </a:xfrm>
              <a:custGeom>
                <a:avLst/>
                <a:gdLst>
                  <a:gd name="connsiteX0" fmla="*/ 26414 w 27769"/>
                  <a:gd name="connsiteY0" fmla="*/ 1775 h 15599"/>
                  <a:gd name="connsiteX1" fmla="*/ 6622 w 27769"/>
                  <a:gd name="connsiteY1" fmla="*/ 7371 h 15599"/>
                  <a:gd name="connsiteX2" fmla="*/ 3922 w 27769"/>
                  <a:gd name="connsiteY2" fmla="*/ 12787 h 15599"/>
                  <a:gd name="connsiteX3" fmla="*/ 26234 w 27769"/>
                  <a:gd name="connsiteY3" fmla="*/ 12967 h 15599"/>
                  <a:gd name="connsiteX4" fmla="*/ 26414 w 27769"/>
                  <a:gd name="connsiteY4" fmla="*/ 1775 h 15599"/>
                  <a:gd name="connsiteX5" fmla="*/ 26414 w 27769"/>
                  <a:gd name="connsiteY5" fmla="*/ 1775 h 1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69" h="15599">
                    <a:moveTo>
                      <a:pt x="26414" y="1775"/>
                    </a:moveTo>
                    <a:cubicBezTo>
                      <a:pt x="20385" y="1956"/>
                      <a:pt x="14177" y="3671"/>
                      <a:pt x="6622" y="7371"/>
                    </a:cubicBezTo>
                    <a:cubicBezTo>
                      <a:pt x="4462" y="8274"/>
                      <a:pt x="3292" y="10620"/>
                      <a:pt x="3922" y="12787"/>
                    </a:cubicBezTo>
                    <a:cubicBezTo>
                      <a:pt x="7700" y="23528"/>
                      <a:pt x="18766" y="11884"/>
                      <a:pt x="26234" y="12967"/>
                    </a:cubicBezTo>
                    <a:cubicBezTo>
                      <a:pt x="33072" y="13148"/>
                      <a:pt x="33432" y="1594"/>
                      <a:pt x="26414" y="1775"/>
                    </a:cubicBezTo>
                    <a:lnTo>
                      <a:pt x="26414"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0" name="Freeform: Shape 419">
                <a:extLst>
                  <a:ext uri="{FF2B5EF4-FFF2-40B4-BE49-F238E27FC236}">
                    <a16:creationId xmlns:a16="http://schemas.microsoft.com/office/drawing/2014/main" id="{5EA1FFC7-0F44-D066-CD18-AFD188FE6926}"/>
                  </a:ext>
                </a:extLst>
              </p:cNvPr>
              <p:cNvSpPr/>
              <p:nvPr/>
            </p:nvSpPr>
            <p:spPr>
              <a:xfrm>
                <a:off x="2709052" y="3703265"/>
                <a:ext cx="22809" cy="25635"/>
              </a:xfrm>
              <a:custGeom>
                <a:avLst/>
                <a:gdLst>
                  <a:gd name="connsiteX0" fmla="*/ 9411 w 22809"/>
                  <a:gd name="connsiteY0" fmla="*/ 1774 h 25635"/>
                  <a:gd name="connsiteX1" fmla="*/ 6443 w 22809"/>
                  <a:gd name="connsiteY1" fmla="*/ 12154 h 25635"/>
                  <a:gd name="connsiteX2" fmla="*/ 16519 w 22809"/>
                  <a:gd name="connsiteY2" fmla="*/ 24610 h 25635"/>
                  <a:gd name="connsiteX3" fmla="*/ 20837 w 22809"/>
                  <a:gd name="connsiteY3" fmla="*/ 27408 h 25635"/>
                  <a:gd name="connsiteX4" fmla="*/ 9411 w 22809"/>
                  <a:gd name="connsiteY4" fmla="*/ 1774 h 25635"/>
                  <a:gd name="connsiteX5" fmla="*/ 9411 w 22809"/>
                  <a:gd name="connsiteY5" fmla="*/ 1774 h 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09" h="25635">
                    <a:moveTo>
                      <a:pt x="9411" y="1774"/>
                    </a:moveTo>
                    <a:cubicBezTo>
                      <a:pt x="4194" y="1683"/>
                      <a:pt x="1314" y="9717"/>
                      <a:pt x="6443" y="12154"/>
                    </a:cubicBezTo>
                    <a:cubicBezTo>
                      <a:pt x="10942" y="14591"/>
                      <a:pt x="13909" y="19555"/>
                      <a:pt x="16519" y="24610"/>
                    </a:cubicBezTo>
                    <a:cubicBezTo>
                      <a:pt x="17239" y="26324"/>
                      <a:pt x="18948" y="27408"/>
                      <a:pt x="20837" y="27408"/>
                    </a:cubicBezTo>
                    <a:cubicBezTo>
                      <a:pt x="35951" y="24971"/>
                      <a:pt x="17239" y="2676"/>
                      <a:pt x="9411" y="1774"/>
                    </a:cubicBezTo>
                    <a:lnTo>
                      <a:pt x="9411"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1" name="Freeform: Shape 420">
                <a:extLst>
                  <a:ext uri="{FF2B5EF4-FFF2-40B4-BE49-F238E27FC236}">
                    <a16:creationId xmlns:a16="http://schemas.microsoft.com/office/drawing/2014/main" id="{76F57BB4-A1CA-B24F-8CF0-98583DB7B012}"/>
                  </a:ext>
                </a:extLst>
              </p:cNvPr>
              <p:cNvSpPr/>
              <p:nvPr/>
            </p:nvSpPr>
            <p:spPr>
              <a:xfrm>
                <a:off x="3307092" y="4481577"/>
                <a:ext cx="27818" cy="13517"/>
              </a:xfrm>
              <a:custGeom>
                <a:avLst/>
                <a:gdLst>
                  <a:gd name="connsiteX0" fmla="*/ 29990 w 27818"/>
                  <a:gd name="connsiteY0" fmla="*/ 3308 h 13517"/>
                  <a:gd name="connsiteX1" fmla="*/ 26122 w 27818"/>
                  <a:gd name="connsiteY1" fmla="*/ 1773 h 13517"/>
                  <a:gd name="connsiteX2" fmla="*/ 4080 w 27818"/>
                  <a:gd name="connsiteY2" fmla="*/ 7911 h 13517"/>
                  <a:gd name="connsiteX3" fmla="*/ 12176 w 27818"/>
                  <a:gd name="connsiteY3" fmla="*/ 14590 h 13517"/>
                  <a:gd name="connsiteX4" fmla="*/ 30890 w 27818"/>
                  <a:gd name="connsiteY4" fmla="*/ 10077 h 13517"/>
                  <a:gd name="connsiteX5" fmla="*/ 31521 w 27818"/>
                  <a:gd name="connsiteY5" fmla="*/ 6738 h 13517"/>
                  <a:gd name="connsiteX6" fmla="*/ 29990 w 27818"/>
                  <a:gd name="connsiteY6" fmla="*/ 3308 h 1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8" h="13517">
                    <a:moveTo>
                      <a:pt x="29990" y="3308"/>
                    </a:moveTo>
                    <a:cubicBezTo>
                      <a:pt x="28911" y="2315"/>
                      <a:pt x="27560" y="1773"/>
                      <a:pt x="26122" y="1773"/>
                    </a:cubicBezTo>
                    <a:cubicBezTo>
                      <a:pt x="19374" y="2315"/>
                      <a:pt x="8308" y="961"/>
                      <a:pt x="4080" y="7911"/>
                    </a:cubicBezTo>
                    <a:cubicBezTo>
                      <a:pt x="2371" y="12695"/>
                      <a:pt x="7678" y="17028"/>
                      <a:pt x="12176" y="14590"/>
                    </a:cubicBezTo>
                    <a:cubicBezTo>
                      <a:pt x="17755" y="10980"/>
                      <a:pt x="27470" y="15854"/>
                      <a:pt x="30890" y="10077"/>
                    </a:cubicBezTo>
                    <a:cubicBezTo>
                      <a:pt x="30890" y="10077"/>
                      <a:pt x="31789" y="8633"/>
                      <a:pt x="31521" y="6738"/>
                    </a:cubicBezTo>
                    <a:cubicBezTo>
                      <a:pt x="31250" y="4843"/>
                      <a:pt x="29990" y="3308"/>
                      <a:pt x="29990" y="3308"/>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2" name="Freeform: Shape 421">
                <a:extLst>
                  <a:ext uri="{FF2B5EF4-FFF2-40B4-BE49-F238E27FC236}">
                    <a16:creationId xmlns:a16="http://schemas.microsoft.com/office/drawing/2014/main" id="{CAC852B7-68D9-C8C7-36BC-01A52F8999F7}"/>
                  </a:ext>
                </a:extLst>
              </p:cNvPr>
              <p:cNvSpPr/>
              <p:nvPr/>
            </p:nvSpPr>
            <p:spPr>
              <a:xfrm>
                <a:off x="3055066" y="3672490"/>
                <a:ext cx="29916" cy="20073"/>
              </a:xfrm>
              <a:custGeom>
                <a:avLst/>
                <a:gdLst>
                  <a:gd name="connsiteX0" fmla="*/ 24439 w 29916"/>
                  <a:gd name="connsiteY0" fmla="*/ 2221 h 20073"/>
                  <a:gd name="connsiteX1" fmla="*/ 3836 w 29916"/>
                  <a:gd name="connsiteY1" fmla="*/ 18017 h 20073"/>
                  <a:gd name="connsiteX2" fmla="*/ 13103 w 29916"/>
                  <a:gd name="connsiteY2" fmla="*/ 20364 h 20073"/>
                  <a:gd name="connsiteX3" fmla="*/ 28667 w 29916"/>
                  <a:gd name="connsiteY3" fmla="*/ 12511 h 20073"/>
                  <a:gd name="connsiteX4" fmla="*/ 33526 w 29916"/>
                  <a:gd name="connsiteY4" fmla="*/ 7908 h 20073"/>
                  <a:gd name="connsiteX5" fmla="*/ 30827 w 29916"/>
                  <a:gd name="connsiteY5" fmla="*/ 2673 h 20073"/>
                  <a:gd name="connsiteX6" fmla="*/ 24439 w 29916"/>
                  <a:gd name="connsiteY6" fmla="*/ 2221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16" h="20073">
                    <a:moveTo>
                      <a:pt x="24439" y="2221"/>
                    </a:moveTo>
                    <a:cubicBezTo>
                      <a:pt x="17692" y="5200"/>
                      <a:pt x="2488" y="8720"/>
                      <a:pt x="3836" y="18017"/>
                    </a:cubicBezTo>
                    <a:cubicBezTo>
                      <a:pt x="5275" y="21628"/>
                      <a:pt x="10314" y="23252"/>
                      <a:pt x="13103" y="20364"/>
                    </a:cubicBezTo>
                    <a:cubicBezTo>
                      <a:pt x="17421" y="16303"/>
                      <a:pt x="23178" y="14406"/>
                      <a:pt x="28667" y="12511"/>
                    </a:cubicBezTo>
                    <a:cubicBezTo>
                      <a:pt x="31007" y="11969"/>
                      <a:pt x="33256" y="10435"/>
                      <a:pt x="33526" y="7908"/>
                    </a:cubicBezTo>
                    <a:cubicBezTo>
                      <a:pt x="33526" y="7908"/>
                      <a:pt x="34605" y="4388"/>
                      <a:pt x="30827" y="2673"/>
                    </a:cubicBezTo>
                    <a:cubicBezTo>
                      <a:pt x="27139" y="958"/>
                      <a:pt x="24439" y="2221"/>
                      <a:pt x="24439" y="222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sp>
          <p:nvSpPr>
            <p:cNvPr id="298" name="Freeform: Shape 297">
              <a:extLst>
                <a:ext uri="{FF2B5EF4-FFF2-40B4-BE49-F238E27FC236}">
                  <a16:creationId xmlns:a16="http://schemas.microsoft.com/office/drawing/2014/main" id="{403234A7-F4CB-DBC3-5D2A-D8FA5937F06C}"/>
                </a:ext>
              </a:extLst>
            </p:cNvPr>
            <p:cNvSpPr/>
            <p:nvPr/>
          </p:nvSpPr>
          <p:spPr>
            <a:xfrm>
              <a:off x="2612593" y="2911896"/>
              <a:ext cx="483411" cy="589426"/>
            </a:xfrm>
            <a:custGeom>
              <a:avLst/>
              <a:gdLst>
                <a:gd name="connsiteX0" fmla="*/ 389441 w 483411"/>
                <a:gd name="connsiteY0" fmla="*/ 34142 h 589426"/>
                <a:gd name="connsiteX1" fmla="*/ 70955 w 483411"/>
                <a:gd name="connsiteY1" fmla="*/ 85409 h 589426"/>
                <a:gd name="connsiteX2" fmla="*/ 42884 w 483411"/>
                <a:gd name="connsiteY2" fmla="*/ 144439 h 589426"/>
                <a:gd name="connsiteX3" fmla="*/ 21025 w 483411"/>
                <a:gd name="connsiteY3" fmla="*/ 248328 h 589426"/>
                <a:gd name="connsiteX4" fmla="*/ 22641 w 483411"/>
                <a:gd name="connsiteY4" fmla="*/ 303658 h 589426"/>
                <a:gd name="connsiteX5" fmla="*/ 29029 w 483411"/>
                <a:gd name="connsiteY5" fmla="*/ 314940 h 589426"/>
                <a:gd name="connsiteX6" fmla="*/ 4920 w 483411"/>
                <a:gd name="connsiteY6" fmla="*/ 345358 h 589426"/>
                <a:gd name="connsiteX7" fmla="*/ 19852 w 483411"/>
                <a:gd name="connsiteY7" fmla="*/ 399874 h 589426"/>
                <a:gd name="connsiteX8" fmla="*/ 27772 w 483411"/>
                <a:gd name="connsiteY8" fmla="*/ 430112 h 589426"/>
                <a:gd name="connsiteX9" fmla="*/ 77790 w 483411"/>
                <a:gd name="connsiteY9" fmla="*/ 463056 h 589426"/>
                <a:gd name="connsiteX10" fmla="*/ 120978 w 483411"/>
                <a:gd name="connsiteY10" fmla="*/ 512610 h 589426"/>
                <a:gd name="connsiteX11" fmla="*/ 332222 w 483411"/>
                <a:gd name="connsiteY11" fmla="*/ 590233 h 589426"/>
                <a:gd name="connsiteX12" fmla="*/ 461055 w 483411"/>
                <a:gd name="connsiteY12" fmla="*/ 476595 h 589426"/>
                <a:gd name="connsiteX13" fmla="*/ 484537 w 483411"/>
                <a:gd name="connsiteY13" fmla="*/ 175307 h 589426"/>
                <a:gd name="connsiteX14" fmla="*/ 389441 w 483411"/>
                <a:gd name="connsiteY14" fmla="*/ 34142 h 58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3411" h="589426">
                  <a:moveTo>
                    <a:pt x="389441" y="34142"/>
                  </a:moveTo>
                  <a:cubicBezTo>
                    <a:pt x="289668" y="-17125"/>
                    <a:pt x="141128" y="-11621"/>
                    <a:pt x="70955" y="85409"/>
                  </a:cubicBezTo>
                  <a:cubicBezTo>
                    <a:pt x="59709" y="103822"/>
                    <a:pt x="48463" y="123950"/>
                    <a:pt x="42884" y="144439"/>
                  </a:cubicBezTo>
                  <a:cubicBezTo>
                    <a:pt x="36049" y="170975"/>
                    <a:pt x="23810" y="210239"/>
                    <a:pt x="21025" y="248328"/>
                  </a:cubicBezTo>
                  <a:cubicBezTo>
                    <a:pt x="19584" y="267643"/>
                    <a:pt x="21205" y="285605"/>
                    <a:pt x="22641" y="303658"/>
                  </a:cubicBezTo>
                  <a:cubicBezTo>
                    <a:pt x="23182" y="310066"/>
                    <a:pt x="29209" y="312593"/>
                    <a:pt x="29029" y="314940"/>
                  </a:cubicBezTo>
                  <a:cubicBezTo>
                    <a:pt x="27412" y="330013"/>
                    <a:pt x="11575" y="326403"/>
                    <a:pt x="4920" y="345358"/>
                  </a:cubicBezTo>
                  <a:cubicBezTo>
                    <a:pt x="2130" y="356640"/>
                    <a:pt x="7437" y="383357"/>
                    <a:pt x="19852" y="399874"/>
                  </a:cubicBezTo>
                  <a:cubicBezTo>
                    <a:pt x="25791" y="407817"/>
                    <a:pt x="20124" y="426682"/>
                    <a:pt x="27772" y="430112"/>
                  </a:cubicBezTo>
                  <a:cubicBezTo>
                    <a:pt x="45313" y="440040"/>
                    <a:pt x="58808" y="438235"/>
                    <a:pt x="77790" y="463056"/>
                  </a:cubicBezTo>
                  <a:cubicBezTo>
                    <a:pt x="91558" y="480115"/>
                    <a:pt x="103524" y="498980"/>
                    <a:pt x="120978" y="512610"/>
                  </a:cubicBezTo>
                  <a:cubicBezTo>
                    <a:pt x="157505" y="581026"/>
                    <a:pt x="261869" y="596551"/>
                    <a:pt x="332222" y="590233"/>
                  </a:cubicBezTo>
                  <a:cubicBezTo>
                    <a:pt x="397629" y="579763"/>
                    <a:pt x="437214" y="535084"/>
                    <a:pt x="461055" y="476595"/>
                  </a:cubicBezTo>
                  <a:cubicBezTo>
                    <a:pt x="498213" y="385342"/>
                    <a:pt x="485976" y="255821"/>
                    <a:pt x="484537" y="175307"/>
                  </a:cubicBezTo>
                  <a:cubicBezTo>
                    <a:pt x="485258" y="107703"/>
                    <a:pt x="446659" y="62302"/>
                    <a:pt x="389441" y="3414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299" name="Freeform: Shape 298">
              <a:extLst>
                <a:ext uri="{FF2B5EF4-FFF2-40B4-BE49-F238E27FC236}">
                  <a16:creationId xmlns:a16="http://schemas.microsoft.com/office/drawing/2014/main" id="{691D5B4F-DF80-CB8C-5E23-8B59399618C8}"/>
                </a:ext>
              </a:extLst>
            </p:cNvPr>
            <p:cNvSpPr/>
            <p:nvPr/>
          </p:nvSpPr>
          <p:spPr>
            <a:xfrm>
              <a:off x="2604469" y="2826605"/>
              <a:ext cx="570165" cy="690667"/>
            </a:xfrm>
            <a:custGeom>
              <a:avLst/>
              <a:gdLst>
                <a:gd name="connsiteX0" fmla="*/ 288435 w 570165"/>
                <a:gd name="connsiteY0" fmla="*/ 689333 h 690667"/>
                <a:gd name="connsiteX1" fmla="*/ 261532 w 570165"/>
                <a:gd name="connsiteY1" fmla="*/ 681571 h 690667"/>
                <a:gd name="connsiteX2" fmla="*/ 235082 w 570165"/>
                <a:gd name="connsiteY2" fmla="*/ 666227 h 690667"/>
                <a:gd name="connsiteX3" fmla="*/ 235535 w 570165"/>
                <a:gd name="connsiteY3" fmla="*/ 650702 h 690667"/>
                <a:gd name="connsiteX4" fmla="*/ 245608 w 570165"/>
                <a:gd name="connsiteY4" fmla="*/ 647994 h 690667"/>
                <a:gd name="connsiteX5" fmla="*/ 274579 w 570165"/>
                <a:gd name="connsiteY5" fmla="*/ 659367 h 690667"/>
                <a:gd name="connsiteX6" fmla="*/ 302830 w 570165"/>
                <a:gd name="connsiteY6" fmla="*/ 666227 h 690667"/>
                <a:gd name="connsiteX7" fmla="*/ 360317 w 570165"/>
                <a:gd name="connsiteY7" fmla="*/ 661172 h 690667"/>
                <a:gd name="connsiteX8" fmla="*/ 436341 w 570165"/>
                <a:gd name="connsiteY8" fmla="*/ 607377 h 690667"/>
                <a:gd name="connsiteX9" fmla="*/ 468999 w 570165"/>
                <a:gd name="connsiteY9" fmla="*/ 507099 h 690667"/>
                <a:gd name="connsiteX10" fmla="*/ 471520 w 570165"/>
                <a:gd name="connsiteY10" fmla="*/ 383803 h 690667"/>
                <a:gd name="connsiteX11" fmla="*/ 471698 w 570165"/>
                <a:gd name="connsiteY11" fmla="*/ 318996 h 690667"/>
                <a:gd name="connsiteX12" fmla="*/ 472599 w 570165"/>
                <a:gd name="connsiteY12" fmla="*/ 257260 h 690667"/>
                <a:gd name="connsiteX13" fmla="*/ 469719 w 570165"/>
                <a:gd name="connsiteY13" fmla="*/ 255995 h 690667"/>
                <a:gd name="connsiteX14" fmla="*/ 443181 w 570165"/>
                <a:gd name="connsiteY14" fmla="*/ 231173 h 690667"/>
                <a:gd name="connsiteX15" fmla="*/ 413041 w 570165"/>
                <a:gd name="connsiteY15" fmla="*/ 210413 h 690667"/>
                <a:gd name="connsiteX16" fmla="*/ 282407 w 570165"/>
                <a:gd name="connsiteY16" fmla="*/ 178912 h 690667"/>
                <a:gd name="connsiteX17" fmla="*/ 208632 w 570165"/>
                <a:gd name="connsiteY17" fmla="*/ 187760 h 690667"/>
                <a:gd name="connsiteX18" fmla="*/ 133148 w 570165"/>
                <a:gd name="connsiteY18" fmla="*/ 207978 h 690667"/>
                <a:gd name="connsiteX19" fmla="*/ 83037 w 570165"/>
                <a:gd name="connsiteY19" fmla="*/ 181621 h 690667"/>
                <a:gd name="connsiteX20" fmla="*/ 72960 w 570165"/>
                <a:gd name="connsiteY20" fmla="*/ 201658 h 690667"/>
                <a:gd name="connsiteX21" fmla="*/ 61534 w 570165"/>
                <a:gd name="connsiteY21" fmla="*/ 227112 h 690667"/>
                <a:gd name="connsiteX22" fmla="*/ 45073 w 570165"/>
                <a:gd name="connsiteY22" fmla="*/ 280726 h 690667"/>
                <a:gd name="connsiteX23" fmla="*/ 36164 w 570165"/>
                <a:gd name="connsiteY23" fmla="*/ 337319 h 690667"/>
                <a:gd name="connsiteX24" fmla="*/ 33195 w 570165"/>
                <a:gd name="connsiteY24" fmla="*/ 365391 h 690667"/>
                <a:gd name="connsiteX25" fmla="*/ 32927 w 570165"/>
                <a:gd name="connsiteY25" fmla="*/ 380644 h 690667"/>
                <a:gd name="connsiteX26" fmla="*/ 34723 w 570165"/>
                <a:gd name="connsiteY26" fmla="*/ 394635 h 690667"/>
                <a:gd name="connsiteX27" fmla="*/ 35536 w 570165"/>
                <a:gd name="connsiteY27" fmla="*/ 395266 h 690667"/>
                <a:gd name="connsiteX28" fmla="*/ 78091 w 570165"/>
                <a:gd name="connsiteY28" fmla="*/ 412506 h 690667"/>
                <a:gd name="connsiteX29" fmla="*/ 77638 w 570165"/>
                <a:gd name="connsiteY29" fmla="*/ 413951 h 690667"/>
                <a:gd name="connsiteX30" fmla="*/ 76470 w 570165"/>
                <a:gd name="connsiteY30" fmla="*/ 413770 h 690667"/>
                <a:gd name="connsiteX31" fmla="*/ 26539 w 570165"/>
                <a:gd name="connsiteY31" fmla="*/ 425594 h 690667"/>
                <a:gd name="connsiteX32" fmla="*/ 24110 w 570165"/>
                <a:gd name="connsiteY32" fmla="*/ 452131 h 690667"/>
                <a:gd name="connsiteX33" fmla="*/ 36705 w 570165"/>
                <a:gd name="connsiteY33" fmla="*/ 480382 h 690667"/>
                <a:gd name="connsiteX34" fmla="*/ 40843 w 570165"/>
                <a:gd name="connsiteY34" fmla="*/ 496809 h 690667"/>
                <a:gd name="connsiteX35" fmla="*/ 44173 w 570165"/>
                <a:gd name="connsiteY35" fmla="*/ 508091 h 690667"/>
                <a:gd name="connsiteX36" fmla="*/ 55867 w 570165"/>
                <a:gd name="connsiteY36" fmla="*/ 512243 h 690667"/>
                <a:gd name="connsiteX37" fmla="*/ 70530 w 570165"/>
                <a:gd name="connsiteY37" fmla="*/ 517208 h 690667"/>
                <a:gd name="connsiteX38" fmla="*/ 110748 w 570165"/>
                <a:gd name="connsiteY38" fmla="*/ 563963 h 690667"/>
                <a:gd name="connsiteX39" fmla="*/ 134861 w 570165"/>
                <a:gd name="connsiteY39" fmla="*/ 588152 h 690667"/>
                <a:gd name="connsiteX40" fmla="*/ 157353 w 570165"/>
                <a:gd name="connsiteY40" fmla="*/ 613064 h 690667"/>
                <a:gd name="connsiteX41" fmla="*/ 150693 w 570165"/>
                <a:gd name="connsiteY41" fmla="*/ 621819 h 690667"/>
                <a:gd name="connsiteX42" fmla="*/ 129190 w 570165"/>
                <a:gd name="connsiteY42" fmla="*/ 613064 h 690667"/>
                <a:gd name="connsiteX43" fmla="*/ 112009 w 570165"/>
                <a:gd name="connsiteY43" fmla="*/ 598171 h 690667"/>
                <a:gd name="connsiteX44" fmla="*/ 82677 w 570165"/>
                <a:gd name="connsiteY44" fmla="*/ 564053 h 690667"/>
                <a:gd name="connsiteX45" fmla="*/ 61986 w 570165"/>
                <a:gd name="connsiteY45" fmla="*/ 537426 h 690667"/>
                <a:gd name="connsiteX46" fmla="*/ 31126 w 570165"/>
                <a:gd name="connsiteY46" fmla="*/ 525060 h 690667"/>
                <a:gd name="connsiteX47" fmla="*/ 19159 w 570165"/>
                <a:gd name="connsiteY47" fmla="*/ 491213 h 690667"/>
                <a:gd name="connsiteX48" fmla="*/ 5484 w 570165"/>
                <a:gd name="connsiteY48" fmla="*/ 457275 h 690667"/>
                <a:gd name="connsiteX49" fmla="*/ 28969 w 570165"/>
                <a:gd name="connsiteY49" fmla="*/ 397884 h 690667"/>
                <a:gd name="connsiteX50" fmla="*/ 32927 w 570165"/>
                <a:gd name="connsiteY50" fmla="*/ 396169 h 690667"/>
                <a:gd name="connsiteX51" fmla="*/ 31758 w 570165"/>
                <a:gd name="connsiteY51" fmla="*/ 395176 h 690667"/>
                <a:gd name="connsiteX52" fmla="*/ 27616 w 570165"/>
                <a:gd name="connsiteY52" fmla="*/ 384796 h 690667"/>
                <a:gd name="connsiteX53" fmla="*/ 22401 w 570165"/>
                <a:gd name="connsiteY53" fmla="*/ 353024 h 690667"/>
                <a:gd name="connsiteX54" fmla="*/ 24470 w 570165"/>
                <a:gd name="connsiteY54" fmla="*/ 288399 h 690667"/>
                <a:gd name="connsiteX55" fmla="*/ 39674 w 570165"/>
                <a:gd name="connsiteY55" fmla="*/ 229459 h 690667"/>
                <a:gd name="connsiteX56" fmla="*/ 34275 w 570165"/>
                <a:gd name="connsiteY56" fmla="*/ 222238 h 690667"/>
                <a:gd name="connsiteX57" fmla="*/ 35356 w 570165"/>
                <a:gd name="connsiteY57" fmla="*/ 202110 h 690667"/>
                <a:gd name="connsiteX58" fmla="*/ 36705 w 570165"/>
                <a:gd name="connsiteY58" fmla="*/ 195973 h 690667"/>
                <a:gd name="connsiteX59" fmla="*/ 145206 w 570165"/>
                <a:gd name="connsiteY59" fmla="*/ 44787 h 690667"/>
                <a:gd name="connsiteX60" fmla="*/ 347902 w 570165"/>
                <a:gd name="connsiteY60" fmla="*/ 4080 h 690667"/>
                <a:gd name="connsiteX61" fmla="*/ 447499 w 570165"/>
                <a:gd name="connsiteY61" fmla="*/ 34137 h 690667"/>
                <a:gd name="connsiteX62" fmla="*/ 512904 w 570165"/>
                <a:gd name="connsiteY62" fmla="*/ 102101 h 690667"/>
                <a:gd name="connsiteX63" fmla="*/ 535036 w 570165"/>
                <a:gd name="connsiteY63" fmla="*/ 190647 h 690667"/>
                <a:gd name="connsiteX64" fmla="*/ 530988 w 570165"/>
                <a:gd name="connsiteY64" fmla="*/ 236590 h 690667"/>
                <a:gd name="connsiteX65" fmla="*/ 529099 w 570165"/>
                <a:gd name="connsiteY65" fmla="*/ 260237 h 690667"/>
                <a:gd name="connsiteX66" fmla="*/ 542954 w 570165"/>
                <a:gd name="connsiteY66" fmla="*/ 276755 h 690667"/>
                <a:gd name="connsiteX67" fmla="*/ 573452 w 570165"/>
                <a:gd name="connsiteY67" fmla="*/ 364668 h 690667"/>
                <a:gd name="connsiteX68" fmla="*/ 528649 w 570165"/>
                <a:gd name="connsiteY68" fmla="*/ 435522 h 690667"/>
                <a:gd name="connsiteX69" fmla="*/ 537105 w 570165"/>
                <a:gd name="connsiteY69" fmla="*/ 449874 h 690667"/>
                <a:gd name="connsiteX70" fmla="*/ 536297 w 570165"/>
                <a:gd name="connsiteY70" fmla="*/ 487242 h 690667"/>
                <a:gd name="connsiteX71" fmla="*/ 508406 w 570165"/>
                <a:gd name="connsiteY71" fmla="*/ 520818 h 690667"/>
                <a:gd name="connsiteX72" fmla="*/ 489064 w 570165"/>
                <a:gd name="connsiteY72" fmla="*/ 523075 h 690667"/>
                <a:gd name="connsiteX73" fmla="*/ 442368 w 570165"/>
                <a:gd name="connsiteY73" fmla="*/ 640774 h 690667"/>
                <a:gd name="connsiteX74" fmla="*/ 347634 w 570165"/>
                <a:gd name="connsiteY74" fmla="*/ 691139 h 690667"/>
                <a:gd name="connsiteX75" fmla="*/ 323881 w 570165"/>
                <a:gd name="connsiteY75" fmla="*/ 692763 h 690667"/>
                <a:gd name="connsiteX76" fmla="*/ 288435 w 570165"/>
                <a:gd name="connsiteY76" fmla="*/ 689333 h 690667"/>
                <a:gd name="connsiteX77" fmla="*/ 71163 w 570165"/>
                <a:gd name="connsiteY77" fmla="*/ 475146 h 690667"/>
                <a:gd name="connsiteX78" fmla="*/ 59557 w 570165"/>
                <a:gd name="connsiteY78" fmla="*/ 456914 h 690667"/>
                <a:gd name="connsiteX79" fmla="*/ 39674 w 570165"/>
                <a:gd name="connsiteY79" fmla="*/ 445090 h 690667"/>
                <a:gd name="connsiteX80" fmla="*/ 39134 w 570165"/>
                <a:gd name="connsiteY80" fmla="*/ 444007 h 690667"/>
                <a:gd name="connsiteX81" fmla="*/ 39854 w 570165"/>
                <a:gd name="connsiteY81" fmla="*/ 443465 h 690667"/>
                <a:gd name="connsiteX82" fmla="*/ 64863 w 570165"/>
                <a:gd name="connsiteY82" fmla="*/ 450055 h 690667"/>
                <a:gd name="connsiteX83" fmla="*/ 83217 w 570165"/>
                <a:gd name="connsiteY83" fmla="*/ 470092 h 690667"/>
                <a:gd name="connsiteX84" fmla="*/ 76470 w 570165"/>
                <a:gd name="connsiteY84" fmla="*/ 478306 h 690667"/>
                <a:gd name="connsiteX85" fmla="*/ 71163 w 570165"/>
                <a:gd name="connsiteY85" fmla="*/ 475146 h 69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70165" h="690667">
                  <a:moveTo>
                    <a:pt x="288435" y="689333"/>
                  </a:moveTo>
                  <a:cubicBezTo>
                    <a:pt x="279258" y="687528"/>
                    <a:pt x="270261" y="685001"/>
                    <a:pt x="261532" y="681571"/>
                  </a:cubicBezTo>
                  <a:cubicBezTo>
                    <a:pt x="251819" y="677871"/>
                    <a:pt x="242102" y="674080"/>
                    <a:pt x="235082" y="666227"/>
                  </a:cubicBezTo>
                  <a:cubicBezTo>
                    <a:pt x="230944" y="661804"/>
                    <a:pt x="231124" y="654854"/>
                    <a:pt x="235535" y="650702"/>
                  </a:cubicBezTo>
                  <a:cubicBezTo>
                    <a:pt x="238232" y="648085"/>
                    <a:pt x="242010" y="647092"/>
                    <a:pt x="245608" y="647994"/>
                  </a:cubicBezTo>
                  <a:cubicBezTo>
                    <a:pt x="255777" y="650251"/>
                    <a:pt x="264682" y="655937"/>
                    <a:pt x="274579" y="659367"/>
                  </a:cubicBezTo>
                  <a:cubicBezTo>
                    <a:pt x="283756" y="662526"/>
                    <a:pt x="293201" y="664873"/>
                    <a:pt x="302830" y="666227"/>
                  </a:cubicBezTo>
                  <a:cubicBezTo>
                    <a:pt x="322173" y="668574"/>
                    <a:pt x="341695" y="666858"/>
                    <a:pt x="360317" y="661172"/>
                  </a:cubicBezTo>
                  <a:cubicBezTo>
                    <a:pt x="390817" y="652146"/>
                    <a:pt x="417539" y="633191"/>
                    <a:pt x="436341" y="607377"/>
                  </a:cubicBezTo>
                  <a:cubicBezTo>
                    <a:pt x="457305" y="577952"/>
                    <a:pt x="465853" y="542660"/>
                    <a:pt x="468999" y="507099"/>
                  </a:cubicBezTo>
                  <a:cubicBezTo>
                    <a:pt x="472599" y="466120"/>
                    <a:pt x="471160" y="424872"/>
                    <a:pt x="471520" y="383803"/>
                  </a:cubicBezTo>
                  <a:cubicBezTo>
                    <a:pt x="471698" y="362231"/>
                    <a:pt x="471520" y="340569"/>
                    <a:pt x="471698" y="318996"/>
                  </a:cubicBezTo>
                  <a:cubicBezTo>
                    <a:pt x="471788" y="298417"/>
                    <a:pt x="471250" y="277839"/>
                    <a:pt x="472599" y="257260"/>
                  </a:cubicBezTo>
                  <a:cubicBezTo>
                    <a:pt x="471520" y="257079"/>
                    <a:pt x="470620" y="256627"/>
                    <a:pt x="469719" y="255995"/>
                  </a:cubicBezTo>
                  <a:cubicBezTo>
                    <a:pt x="460094" y="248954"/>
                    <a:pt x="452446" y="238937"/>
                    <a:pt x="443181" y="231173"/>
                  </a:cubicBezTo>
                  <a:cubicBezTo>
                    <a:pt x="433732" y="223412"/>
                    <a:pt x="423654" y="216462"/>
                    <a:pt x="413041" y="210413"/>
                  </a:cubicBezTo>
                  <a:cubicBezTo>
                    <a:pt x="373456" y="187848"/>
                    <a:pt x="327752" y="178102"/>
                    <a:pt x="282407" y="178912"/>
                  </a:cubicBezTo>
                  <a:cubicBezTo>
                    <a:pt x="257574" y="179455"/>
                    <a:pt x="232925" y="182434"/>
                    <a:pt x="208632" y="187760"/>
                  </a:cubicBezTo>
                  <a:lnTo>
                    <a:pt x="133148" y="207978"/>
                  </a:lnTo>
                  <a:cubicBezTo>
                    <a:pt x="117676" y="197235"/>
                    <a:pt x="100130" y="189565"/>
                    <a:pt x="83037" y="181621"/>
                  </a:cubicBezTo>
                  <a:cubicBezTo>
                    <a:pt x="81240" y="188661"/>
                    <a:pt x="76109" y="195431"/>
                    <a:pt x="72960" y="201658"/>
                  </a:cubicBezTo>
                  <a:cubicBezTo>
                    <a:pt x="68822" y="209964"/>
                    <a:pt x="64956" y="218447"/>
                    <a:pt x="61534" y="227112"/>
                  </a:cubicBezTo>
                  <a:cubicBezTo>
                    <a:pt x="54698" y="244532"/>
                    <a:pt x="49211" y="262493"/>
                    <a:pt x="45073" y="280726"/>
                  </a:cubicBezTo>
                  <a:cubicBezTo>
                    <a:pt x="40843" y="299410"/>
                    <a:pt x="38506" y="318366"/>
                    <a:pt x="36164" y="337319"/>
                  </a:cubicBezTo>
                  <a:cubicBezTo>
                    <a:pt x="34996" y="346706"/>
                    <a:pt x="33735" y="356094"/>
                    <a:pt x="33195" y="365391"/>
                  </a:cubicBezTo>
                  <a:cubicBezTo>
                    <a:pt x="32927" y="370446"/>
                    <a:pt x="33014" y="375589"/>
                    <a:pt x="32927" y="380644"/>
                  </a:cubicBezTo>
                  <a:cubicBezTo>
                    <a:pt x="32834" y="384074"/>
                    <a:pt x="31758" y="391386"/>
                    <a:pt x="34723" y="394635"/>
                  </a:cubicBezTo>
                  <a:cubicBezTo>
                    <a:pt x="34996" y="394905"/>
                    <a:pt x="35264" y="395086"/>
                    <a:pt x="35536" y="395266"/>
                  </a:cubicBezTo>
                  <a:cubicBezTo>
                    <a:pt x="51821" y="390303"/>
                    <a:pt x="70623" y="395808"/>
                    <a:pt x="78091" y="412506"/>
                  </a:cubicBezTo>
                  <a:cubicBezTo>
                    <a:pt x="78359" y="413047"/>
                    <a:pt x="78179" y="413680"/>
                    <a:pt x="77638" y="413951"/>
                  </a:cubicBezTo>
                  <a:cubicBezTo>
                    <a:pt x="77278" y="414130"/>
                    <a:pt x="76742" y="414040"/>
                    <a:pt x="76470" y="413770"/>
                  </a:cubicBezTo>
                  <a:cubicBezTo>
                    <a:pt x="61266" y="400953"/>
                    <a:pt x="34903" y="408264"/>
                    <a:pt x="26539" y="425594"/>
                  </a:cubicBezTo>
                  <a:cubicBezTo>
                    <a:pt x="22849" y="433988"/>
                    <a:pt x="21949" y="443285"/>
                    <a:pt x="24110" y="452131"/>
                  </a:cubicBezTo>
                  <a:cubicBezTo>
                    <a:pt x="26447" y="462330"/>
                    <a:pt x="32747" y="470814"/>
                    <a:pt x="36705" y="480382"/>
                  </a:cubicBezTo>
                  <a:cubicBezTo>
                    <a:pt x="38774" y="485707"/>
                    <a:pt x="40122" y="491213"/>
                    <a:pt x="40843" y="496809"/>
                  </a:cubicBezTo>
                  <a:cubicBezTo>
                    <a:pt x="41383" y="500329"/>
                    <a:pt x="41563" y="505384"/>
                    <a:pt x="44173" y="508091"/>
                  </a:cubicBezTo>
                  <a:cubicBezTo>
                    <a:pt x="46870" y="510980"/>
                    <a:pt x="52177" y="511431"/>
                    <a:pt x="55867" y="512243"/>
                  </a:cubicBezTo>
                  <a:cubicBezTo>
                    <a:pt x="60905" y="513237"/>
                    <a:pt x="65852" y="514861"/>
                    <a:pt x="70530" y="517208"/>
                  </a:cubicBezTo>
                  <a:cubicBezTo>
                    <a:pt x="88616" y="526685"/>
                    <a:pt x="97881" y="548889"/>
                    <a:pt x="110748" y="563963"/>
                  </a:cubicBezTo>
                  <a:cubicBezTo>
                    <a:pt x="118216" y="572627"/>
                    <a:pt x="126224" y="580751"/>
                    <a:pt x="134861" y="588152"/>
                  </a:cubicBezTo>
                  <a:cubicBezTo>
                    <a:pt x="143045" y="595373"/>
                    <a:pt x="156272" y="601240"/>
                    <a:pt x="157353" y="613064"/>
                  </a:cubicBezTo>
                  <a:cubicBezTo>
                    <a:pt x="157713" y="616945"/>
                    <a:pt x="154291" y="620826"/>
                    <a:pt x="150693" y="621819"/>
                  </a:cubicBezTo>
                  <a:cubicBezTo>
                    <a:pt x="141969" y="624256"/>
                    <a:pt x="135669" y="618209"/>
                    <a:pt x="129190" y="613064"/>
                  </a:cubicBezTo>
                  <a:cubicBezTo>
                    <a:pt x="123255" y="608370"/>
                    <a:pt x="117496" y="603406"/>
                    <a:pt x="112009" y="598171"/>
                  </a:cubicBezTo>
                  <a:cubicBezTo>
                    <a:pt x="101211" y="587701"/>
                    <a:pt x="91406" y="576328"/>
                    <a:pt x="82677" y="564053"/>
                  </a:cubicBezTo>
                  <a:cubicBezTo>
                    <a:pt x="76382" y="555207"/>
                    <a:pt x="71071" y="543834"/>
                    <a:pt x="61986" y="537426"/>
                  </a:cubicBezTo>
                  <a:cubicBezTo>
                    <a:pt x="52717" y="531018"/>
                    <a:pt x="40215" y="532642"/>
                    <a:pt x="31126" y="525060"/>
                  </a:cubicBezTo>
                  <a:cubicBezTo>
                    <a:pt x="20152" y="516034"/>
                    <a:pt x="22401" y="503578"/>
                    <a:pt x="19159" y="491213"/>
                  </a:cubicBezTo>
                  <a:cubicBezTo>
                    <a:pt x="16102" y="479389"/>
                    <a:pt x="8005" y="469550"/>
                    <a:pt x="5484" y="457275"/>
                  </a:cubicBezTo>
                  <a:cubicBezTo>
                    <a:pt x="1078" y="435433"/>
                    <a:pt x="7733" y="408715"/>
                    <a:pt x="28969" y="397884"/>
                  </a:cubicBezTo>
                  <a:cubicBezTo>
                    <a:pt x="30225" y="397252"/>
                    <a:pt x="31578" y="396711"/>
                    <a:pt x="32927" y="396169"/>
                  </a:cubicBezTo>
                  <a:cubicBezTo>
                    <a:pt x="32474" y="395899"/>
                    <a:pt x="32114" y="395537"/>
                    <a:pt x="31758" y="395176"/>
                  </a:cubicBezTo>
                  <a:cubicBezTo>
                    <a:pt x="29417" y="392559"/>
                    <a:pt x="28428" y="388135"/>
                    <a:pt x="27616" y="384796"/>
                  </a:cubicBezTo>
                  <a:cubicBezTo>
                    <a:pt x="25186" y="374417"/>
                    <a:pt x="23838" y="363586"/>
                    <a:pt x="22401" y="353024"/>
                  </a:cubicBezTo>
                  <a:cubicBezTo>
                    <a:pt x="19519" y="331543"/>
                    <a:pt x="21048" y="309699"/>
                    <a:pt x="24470" y="288399"/>
                  </a:cubicBezTo>
                  <a:cubicBezTo>
                    <a:pt x="27708" y="268271"/>
                    <a:pt x="32747" y="248595"/>
                    <a:pt x="39674" y="229459"/>
                  </a:cubicBezTo>
                  <a:cubicBezTo>
                    <a:pt x="37153" y="227744"/>
                    <a:pt x="35264" y="225127"/>
                    <a:pt x="34275" y="222238"/>
                  </a:cubicBezTo>
                  <a:cubicBezTo>
                    <a:pt x="32026" y="215559"/>
                    <a:pt x="34095" y="208789"/>
                    <a:pt x="35356" y="202110"/>
                  </a:cubicBezTo>
                  <a:cubicBezTo>
                    <a:pt x="35804" y="200034"/>
                    <a:pt x="36256" y="198049"/>
                    <a:pt x="36705" y="195973"/>
                  </a:cubicBezTo>
                  <a:cubicBezTo>
                    <a:pt x="35624" y="129902"/>
                    <a:pt x="90953" y="75113"/>
                    <a:pt x="145206" y="44787"/>
                  </a:cubicBezTo>
                  <a:cubicBezTo>
                    <a:pt x="206115" y="10759"/>
                    <a:pt x="278717" y="-3503"/>
                    <a:pt x="347902" y="4080"/>
                  </a:cubicBezTo>
                  <a:cubicBezTo>
                    <a:pt x="382633" y="7870"/>
                    <a:pt x="417179" y="16535"/>
                    <a:pt x="447499" y="34137"/>
                  </a:cubicBezTo>
                  <a:cubicBezTo>
                    <a:pt x="475298" y="50114"/>
                    <a:pt x="497880" y="73760"/>
                    <a:pt x="512904" y="102101"/>
                  </a:cubicBezTo>
                  <a:cubicBezTo>
                    <a:pt x="527030" y="129179"/>
                    <a:pt x="534228" y="160140"/>
                    <a:pt x="535036" y="190647"/>
                  </a:cubicBezTo>
                  <a:cubicBezTo>
                    <a:pt x="535396" y="206081"/>
                    <a:pt x="534047" y="221517"/>
                    <a:pt x="530988" y="236590"/>
                  </a:cubicBezTo>
                  <a:cubicBezTo>
                    <a:pt x="529549" y="244172"/>
                    <a:pt x="527300" y="252566"/>
                    <a:pt x="529099" y="260237"/>
                  </a:cubicBezTo>
                  <a:cubicBezTo>
                    <a:pt x="530808" y="267729"/>
                    <a:pt x="537735" y="271881"/>
                    <a:pt x="542954" y="276755"/>
                  </a:cubicBezTo>
                  <a:cubicBezTo>
                    <a:pt x="566525" y="299501"/>
                    <a:pt x="577771" y="332176"/>
                    <a:pt x="573452" y="364668"/>
                  </a:cubicBezTo>
                  <a:cubicBezTo>
                    <a:pt x="569584" y="392198"/>
                    <a:pt x="552939" y="420900"/>
                    <a:pt x="528649" y="435522"/>
                  </a:cubicBezTo>
                  <a:cubicBezTo>
                    <a:pt x="532249" y="439765"/>
                    <a:pt x="535126" y="444638"/>
                    <a:pt x="537105" y="449874"/>
                  </a:cubicBezTo>
                  <a:cubicBezTo>
                    <a:pt x="541874" y="461969"/>
                    <a:pt x="541513" y="475417"/>
                    <a:pt x="536297" y="487242"/>
                  </a:cubicBezTo>
                  <a:cubicBezTo>
                    <a:pt x="530988" y="499517"/>
                    <a:pt x="520462" y="514410"/>
                    <a:pt x="508406" y="520818"/>
                  </a:cubicBezTo>
                  <a:cubicBezTo>
                    <a:pt x="502559" y="524158"/>
                    <a:pt x="495541" y="524970"/>
                    <a:pt x="489064" y="523075"/>
                  </a:cubicBezTo>
                  <a:cubicBezTo>
                    <a:pt x="485103" y="566310"/>
                    <a:pt x="473229" y="607558"/>
                    <a:pt x="442368" y="640774"/>
                  </a:cubicBezTo>
                  <a:cubicBezTo>
                    <a:pt x="417627" y="667491"/>
                    <a:pt x="383801" y="685993"/>
                    <a:pt x="347634" y="691139"/>
                  </a:cubicBezTo>
                  <a:cubicBezTo>
                    <a:pt x="339806" y="692222"/>
                    <a:pt x="331798" y="692763"/>
                    <a:pt x="323881" y="692763"/>
                  </a:cubicBezTo>
                  <a:cubicBezTo>
                    <a:pt x="312007" y="692674"/>
                    <a:pt x="300041" y="691589"/>
                    <a:pt x="288435" y="689333"/>
                  </a:cubicBezTo>
                  <a:close/>
                  <a:moveTo>
                    <a:pt x="71163" y="475146"/>
                  </a:moveTo>
                  <a:cubicBezTo>
                    <a:pt x="67745" y="468467"/>
                    <a:pt x="65136" y="462330"/>
                    <a:pt x="59557" y="456914"/>
                  </a:cubicBezTo>
                  <a:cubicBezTo>
                    <a:pt x="53890" y="451589"/>
                    <a:pt x="47050" y="447527"/>
                    <a:pt x="39674" y="445090"/>
                  </a:cubicBezTo>
                  <a:cubicBezTo>
                    <a:pt x="39222" y="444909"/>
                    <a:pt x="38954" y="444459"/>
                    <a:pt x="39134" y="444007"/>
                  </a:cubicBezTo>
                  <a:cubicBezTo>
                    <a:pt x="39222" y="443646"/>
                    <a:pt x="39494" y="443465"/>
                    <a:pt x="39854" y="443465"/>
                  </a:cubicBezTo>
                  <a:cubicBezTo>
                    <a:pt x="48671" y="443014"/>
                    <a:pt x="57395" y="445361"/>
                    <a:pt x="64863" y="450055"/>
                  </a:cubicBezTo>
                  <a:cubicBezTo>
                    <a:pt x="72599" y="454747"/>
                    <a:pt x="79707" y="461607"/>
                    <a:pt x="83217" y="470092"/>
                  </a:cubicBezTo>
                  <a:cubicBezTo>
                    <a:pt x="85106" y="474696"/>
                    <a:pt x="80700" y="478306"/>
                    <a:pt x="76470" y="478306"/>
                  </a:cubicBezTo>
                  <a:cubicBezTo>
                    <a:pt x="74313" y="478395"/>
                    <a:pt x="72151" y="477133"/>
                    <a:pt x="71163" y="475146"/>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00" name="Freeform: Shape 299">
              <a:extLst>
                <a:ext uri="{FF2B5EF4-FFF2-40B4-BE49-F238E27FC236}">
                  <a16:creationId xmlns:a16="http://schemas.microsoft.com/office/drawing/2014/main" id="{C3A93201-D444-055B-38AF-F42ADC72CBF8}"/>
                </a:ext>
              </a:extLst>
            </p:cNvPr>
            <p:cNvSpPr/>
            <p:nvPr/>
          </p:nvSpPr>
          <p:spPr>
            <a:xfrm>
              <a:off x="2889291" y="3354076"/>
              <a:ext cx="93873" cy="46313"/>
            </a:xfrm>
            <a:custGeom>
              <a:avLst/>
              <a:gdLst>
                <a:gd name="connsiteX0" fmla="*/ 49122 w 93873"/>
                <a:gd name="connsiteY0" fmla="*/ 47549 h 46313"/>
                <a:gd name="connsiteX1" fmla="*/ 9734 w 93873"/>
                <a:gd name="connsiteY1" fmla="*/ 29317 h 46313"/>
                <a:gd name="connsiteX2" fmla="*/ 4489 w 93873"/>
                <a:gd name="connsiteY2" fmla="*/ 1246 h 46313"/>
                <a:gd name="connsiteX3" fmla="*/ 7979 w 93873"/>
                <a:gd name="connsiteY3" fmla="*/ 3322 h 46313"/>
                <a:gd name="connsiteX4" fmla="*/ 75932 w 93873"/>
                <a:gd name="connsiteY4" fmla="*/ 14244 h 46313"/>
                <a:gd name="connsiteX5" fmla="*/ 82914 w 93873"/>
                <a:gd name="connsiteY5" fmla="*/ 10724 h 46313"/>
                <a:gd name="connsiteX6" fmla="*/ 82977 w 93873"/>
                <a:gd name="connsiteY6" fmla="*/ 10724 h 46313"/>
                <a:gd name="connsiteX7" fmla="*/ 90399 w 93873"/>
                <a:gd name="connsiteY7" fmla="*/ 14063 h 46313"/>
                <a:gd name="connsiteX8" fmla="*/ 93872 w 93873"/>
                <a:gd name="connsiteY8" fmla="*/ 21645 h 46313"/>
                <a:gd name="connsiteX9" fmla="*/ 91002 w 93873"/>
                <a:gd name="connsiteY9" fmla="*/ 29045 h 46313"/>
                <a:gd name="connsiteX10" fmla="*/ 49122 w 93873"/>
                <a:gd name="connsiteY10" fmla="*/ 47549 h 4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73" h="46313">
                  <a:moveTo>
                    <a:pt x="49122" y="47549"/>
                  </a:moveTo>
                  <a:cubicBezTo>
                    <a:pt x="34097" y="47730"/>
                    <a:pt x="19513" y="40599"/>
                    <a:pt x="9734" y="29317"/>
                  </a:cubicBezTo>
                  <a:cubicBezTo>
                    <a:pt x="4354" y="23811"/>
                    <a:pt x="-5930" y="2871"/>
                    <a:pt x="4489" y="1246"/>
                  </a:cubicBezTo>
                  <a:cubicBezTo>
                    <a:pt x="5937" y="1155"/>
                    <a:pt x="7377" y="1968"/>
                    <a:pt x="7979" y="3322"/>
                  </a:cubicBezTo>
                  <a:cubicBezTo>
                    <a:pt x="24093" y="28685"/>
                    <a:pt x="54727" y="38975"/>
                    <a:pt x="75932" y="14244"/>
                  </a:cubicBezTo>
                  <a:cubicBezTo>
                    <a:pt x="77633" y="12077"/>
                    <a:pt x="80188" y="10814"/>
                    <a:pt x="82914" y="10724"/>
                  </a:cubicBezTo>
                  <a:lnTo>
                    <a:pt x="82977" y="10724"/>
                  </a:lnTo>
                  <a:cubicBezTo>
                    <a:pt x="85784" y="10814"/>
                    <a:pt x="88456" y="11987"/>
                    <a:pt x="90399" y="14063"/>
                  </a:cubicBezTo>
                  <a:cubicBezTo>
                    <a:pt x="92450" y="16049"/>
                    <a:pt x="93692" y="18757"/>
                    <a:pt x="93872" y="21645"/>
                  </a:cubicBezTo>
                  <a:cubicBezTo>
                    <a:pt x="93971" y="24443"/>
                    <a:pt x="92936" y="27060"/>
                    <a:pt x="91002" y="29045"/>
                  </a:cubicBezTo>
                  <a:cubicBezTo>
                    <a:pt x="80323" y="40599"/>
                    <a:pt x="64830" y="47549"/>
                    <a:pt x="49122" y="4754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1" name="Freeform: Shape 300">
              <a:extLst>
                <a:ext uri="{FF2B5EF4-FFF2-40B4-BE49-F238E27FC236}">
                  <a16:creationId xmlns:a16="http://schemas.microsoft.com/office/drawing/2014/main" id="{D4D01CCF-20EE-5B67-2309-FBC2E06CDE64}"/>
                </a:ext>
              </a:extLst>
            </p:cNvPr>
            <p:cNvSpPr/>
            <p:nvPr/>
          </p:nvSpPr>
          <p:spPr>
            <a:xfrm>
              <a:off x="2915566" y="3264094"/>
              <a:ext cx="69784" cy="62666"/>
            </a:xfrm>
            <a:custGeom>
              <a:avLst/>
              <a:gdLst>
                <a:gd name="connsiteX0" fmla="*/ 38563 w 69784"/>
                <a:gd name="connsiteY0" fmla="*/ 63879 h 62666"/>
                <a:gd name="connsiteX1" fmla="*/ 3755 w 69784"/>
                <a:gd name="connsiteY1" fmla="*/ 35718 h 62666"/>
                <a:gd name="connsiteX2" fmla="*/ 8820 w 69784"/>
                <a:gd name="connsiteY2" fmla="*/ 33732 h 62666"/>
                <a:gd name="connsiteX3" fmla="*/ 12743 w 69784"/>
                <a:gd name="connsiteY3" fmla="*/ 34996 h 62666"/>
                <a:gd name="connsiteX4" fmla="*/ 52481 w 69784"/>
                <a:gd name="connsiteY4" fmla="*/ 43751 h 62666"/>
                <a:gd name="connsiteX5" fmla="*/ 38051 w 69784"/>
                <a:gd name="connsiteY5" fmla="*/ 8459 h 62666"/>
                <a:gd name="connsiteX6" fmla="*/ 37151 w 69784"/>
                <a:gd name="connsiteY6" fmla="*/ 4669 h 62666"/>
                <a:gd name="connsiteX7" fmla="*/ 41955 w 69784"/>
                <a:gd name="connsiteY7" fmla="*/ 1239 h 62666"/>
                <a:gd name="connsiteX8" fmla="*/ 69575 w 69784"/>
                <a:gd name="connsiteY8" fmla="*/ 34544 h 62666"/>
                <a:gd name="connsiteX9" fmla="*/ 38563 w 69784"/>
                <a:gd name="connsiteY9" fmla="*/ 63879 h 6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4" h="62666">
                  <a:moveTo>
                    <a:pt x="38563" y="63879"/>
                  </a:moveTo>
                  <a:cubicBezTo>
                    <a:pt x="27524" y="64331"/>
                    <a:pt x="-12260" y="50611"/>
                    <a:pt x="3755" y="35718"/>
                  </a:cubicBezTo>
                  <a:cubicBezTo>
                    <a:pt x="5158" y="34454"/>
                    <a:pt x="6949" y="33823"/>
                    <a:pt x="8820" y="33732"/>
                  </a:cubicBezTo>
                  <a:cubicBezTo>
                    <a:pt x="10214" y="33732"/>
                    <a:pt x="11582" y="34184"/>
                    <a:pt x="12743" y="34996"/>
                  </a:cubicBezTo>
                  <a:cubicBezTo>
                    <a:pt x="22513" y="42849"/>
                    <a:pt x="40732" y="56659"/>
                    <a:pt x="52481" y="43751"/>
                  </a:cubicBezTo>
                  <a:cubicBezTo>
                    <a:pt x="63934" y="29851"/>
                    <a:pt x="46058" y="12431"/>
                    <a:pt x="38051" y="8459"/>
                  </a:cubicBezTo>
                  <a:cubicBezTo>
                    <a:pt x="36953" y="7557"/>
                    <a:pt x="36593" y="6023"/>
                    <a:pt x="37151" y="4669"/>
                  </a:cubicBezTo>
                  <a:cubicBezTo>
                    <a:pt x="37817" y="2593"/>
                    <a:pt x="39769" y="1239"/>
                    <a:pt x="41955" y="1239"/>
                  </a:cubicBezTo>
                  <a:cubicBezTo>
                    <a:pt x="58428" y="2503"/>
                    <a:pt x="71645" y="17937"/>
                    <a:pt x="69575" y="34544"/>
                  </a:cubicBezTo>
                  <a:cubicBezTo>
                    <a:pt x="68649" y="50521"/>
                    <a:pt x="54803" y="64602"/>
                    <a:pt x="38563" y="6387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2" name="Freeform: Shape 301">
              <a:extLst>
                <a:ext uri="{FF2B5EF4-FFF2-40B4-BE49-F238E27FC236}">
                  <a16:creationId xmlns:a16="http://schemas.microsoft.com/office/drawing/2014/main" id="{CDF10706-0CF5-2D3A-E6F8-0ABD47F099D7}"/>
                </a:ext>
              </a:extLst>
            </p:cNvPr>
            <p:cNvSpPr/>
            <p:nvPr/>
          </p:nvSpPr>
          <p:spPr>
            <a:xfrm>
              <a:off x="2821914" y="3225496"/>
              <a:ext cx="68524" cy="50331"/>
            </a:xfrm>
            <a:custGeom>
              <a:avLst/>
              <a:gdLst>
                <a:gd name="connsiteX0" fmla="*/ 5910 w 68524"/>
                <a:gd name="connsiteY0" fmla="*/ 51570 h 50331"/>
                <a:gd name="connsiteX1" fmla="*/ 4083 w 68524"/>
                <a:gd name="connsiteY1" fmla="*/ 51391 h 50331"/>
                <a:gd name="connsiteX2" fmla="*/ 1573 w 68524"/>
                <a:gd name="connsiteY2" fmla="*/ 49225 h 50331"/>
                <a:gd name="connsiteX3" fmla="*/ 3112 w 68524"/>
                <a:gd name="connsiteY3" fmla="*/ 26027 h 50331"/>
                <a:gd name="connsiteX4" fmla="*/ 63777 w 68524"/>
                <a:gd name="connsiteY4" fmla="*/ 21785 h 50331"/>
                <a:gd name="connsiteX5" fmla="*/ 66701 w 68524"/>
                <a:gd name="connsiteY5" fmla="*/ 26027 h 50331"/>
                <a:gd name="connsiteX6" fmla="*/ 68123 w 68524"/>
                <a:gd name="connsiteY6" fmla="*/ 33880 h 50331"/>
                <a:gd name="connsiteX7" fmla="*/ 62374 w 68524"/>
                <a:gd name="connsiteY7" fmla="*/ 39837 h 50331"/>
                <a:gd name="connsiteX8" fmla="*/ 48905 w 68524"/>
                <a:gd name="connsiteY8" fmla="*/ 34151 h 50331"/>
                <a:gd name="connsiteX9" fmla="*/ 38514 w 68524"/>
                <a:gd name="connsiteY9" fmla="*/ 20341 h 50331"/>
                <a:gd name="connsiteX10" fmla="*/ 27367 w 68524"/>
                <a:gd name="connsiteY10" fmla="*/ 19438 h 50331"/>
                <a:gd name="connsiteX11" fmla="*/ 14403 w 68524"/>
                <a:gd name="connsiteY11" fmla="*/ 32435 h 50331"/>
                <a:gd name="connsiteX12" fmla="*/ 10147 w 68524"/>
                <a:gd name="connsiteY12" fmla="*/ 47599 h 50331"/>
                <a:gd name="connsiteX13" fmla="*/ 6630 w 68524"/>
                <a:gd name="connsiteY13" fmla="*/ 51570 h 50331"/>
                <a:gd name="connsiteX14" fmla="*/ 5910 w 68524"/>
                <a:gd name="connsiteY14" fmla="*/ 51570 h 5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24" h="50331">
                  <a:moveTo>
                    <a:pt x="5910" y="51570"/>
                  </a:moveTo>
                  <a:cubicBezTo>
                    <a:pt x="5289" y="51570"/>
                    <a:pt x="4677" y="51481"/>
                    <a:pt x="4083" y="51391"/>
                  </a:cubicBezTo>
                  <a:cubicBezTo>
                    <a:pt x="2959" y="51029"/>
                    <a:pt x="2032" y="50308"/>
                    <a:pt x="1573" y="49225"/>
                  </a:cubicBezTo>
                  <a:cubicBezTo>
                    <a:pt x="-1612" y="40649"/>
                    <a:pt x="647" y="31894"/>
                    <a:pt x="3112" y="26027"/>
                  </a:cubicBezTo>
                  <a:cubicBezTo>
                    <a:pt x="16310" y="-6466"/>
                    <a:pt x="48204" y="-6105"/>
                    <a:pt x="63777" y="21785"/>
                  </a:cubicBezTo>
                  <a:cubicBezTo>
                    <a:pt x="64722" y="23230"/>
                    <a:pt x="65702" y="24583"/>
                    <a:pt x="66701" y="26027"/>
                  </a:cubicBezTo>
                  <a:cubicBezTo>
                    <a:pt x="68456" y="28193"/>
                    <a:pt x="68986" y="31173"/>
                    <a:pt x="68123" y="33880"/>
                  </a:cubicBezTo>
                  <a:cubicBezTo>
                    <a:pt x="67133" y="36588"/>
                    <a:pt x="65046" y="38754"/>
                    <a:pt x="62374" y="39837"/>
                  </a:cubicBezTo>
                  <a:cubicBezTo>
                    <a:pt x="57245" y="42184"/>
                    <a:pt x="50759" y="39566"/>
                    <a:pt x="48905" y="34151"/>
                  </a:cubicBezTo>
                  <a:cubicBezTo>
                    <a:pt x="46332" y="27922"/>
                    <a:pt x="42545" y="22959"/>
                    <a:pt x="38514" y="20341"/>
                  </a:cubicBezTo>
                  <a:cubicBezTo>
                    <a:pt x="35221" y="18084"/>
                    <a:pt x="30966" y="17723"/>
                    <a:pt x="27367" y="19438"/>
                  </a:cubicBezTo>
                  <a:cubicBezTo>
                    <a:pt x="23975" y="21062"/>
                    <a:pt x="18280" y="26117"/>
                    <a:pt x="14403" y="32435"/>
                  </a:cubicBezTo>
                  <a:cubicBezTo>
                    <a:pt x="11425" y="36948"/>
                    <a:pt x="9931" y="42184"/>
                    <a:pt x="10147" y="47599"/>
                  </a:cubicBezTo>
                  <a:cubicBezTo>
                    <a:pt x="10399" y="49675"/>
                    <a:pt x="8600" y="51391"/>
                    <a:pt x="6630" y="51570"/>
                  </a:cubicBezTo>
                  <a:cubicBezTo>
                    <a:pt x="6378" y="51570"/>
                    <a:pt x="6144" y="51570"/>
                    <a:pt x="5910" y="51570"/>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3" name="Freeform: Shape 302">
              <a:extLst>
                <a:ext uri="{FF2B5EF4-FFF2-40B4-BE49-F238E27FC236}">
                  <a16:creationId xmlns:a16="http://schemas.microsoft.com/office/drawing/2014/main" id="{65E46624-C1EE-02E0-75CA-481D6F03130B}"/>
                </a:ext>
              </a:extLst>
            </p:cNvPr>
            <p:cNvSpPr/>
            <p:nvPr/>
          </p:nvSpPr>
          <p:spPr>
            <a:xfrm>
              <a:off x="2974402" y="3223698"/>
              <a:ext cx="52795" cy="33536"/>
            </a:xfrm>
            <a:custGeom>
              <a:avLst/>
              <a:gdLst>
                <a:gd name="connsiteX0" fmla="*/ 44693 w 52795"/>
                <a:gd name="connsiteY0" fmla="*/ 34776 h 33536"/>
                <a:gd name="connsiteX1" fmla="*/ 36533 w 52795"/>
                <a:gd name="connsiteY1" fmla="*/ 28368 h 33536"/>
                <a:gd name="connsiteX2" fmla="*/ 22579 w 52795"/>
                <a:gd name="connsiteY2" fmla="*/ 17176 h 33536"/>
                <a:gd name="connsiteX3" fmla="*/ 11414 w 52795"/>
                <a:gd name="connsiteY3" fmla="*/ 25479 h 33536"/>
                <a:gd name="connsiteX4" fmla="*/ 11360 w 52795"/>
                <a:gd name="connsiteY4" fmla="*/ 25569 h 33536"/>
                <a:gd name="connsiteX5" fmla="*/ 7537 w 52795"/>
                <a:gd name="connsiteY5" fmla="*/ 30624 h 33536"/>
                <a:gd name="connsiteX6" fmla="*/ 4109 w 52795"/>
                <a:gd name="connsiteY6" fmla="*/ 31436 h 33536"/>
                <a:gd name="connsiteX7" fmla="*/ 15 w 52795"/>
                <a:gd name="connsiteY7" fmla="*/ 22501 h 33536"/>
                <a:gd name="connsiteX8" fmla="*/ 3011 w 52795"/>
                <a:gd name="connsiteY8" fmla="*/ 14196 h 33536"/>
                <a:gd name="connsiteX9" fmla="*/ 40816 w 52795"/>
                <a:gd name="connsiteY9" fmla="*/ 6163 h 33536"/>
                <a:gd name="connsiteX10" fmla="*/ 48652 w 52795"/>
                <a:gd name="connsiteY10" fmla="*/ 33602 h 33536"/>
                <a:gd name="connsiteX11" fmla="*/ 44693 w 52795"/>
                <a:gd name="connsiteY11" fmla="*/ 34776 h 3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95" h="33536">
                  <a:moveTo>
                    <a:pt x="44693" y="34776"/>
                  </a:moveTo>
                  <a:cubicBezTo>
                    <a:pt x="41014" y="34685"/>
                    <a:pt x="37307" y="32068"/>
                    <a:pt x="36533" y="28368"/>
                  </a:cubicBezTo>
                  <a:cubicBezTo>
                    <a:pt x="35364" y="21958"/>
                    <a:pt x="29453" y="15821"/>
                    <a:pt x="22579" y="17176"/>
                  </a:cubicBezTo>
                  <a:cubicBezTo>
                    <a:pt x="17829" y="18078"/>
                    <a:pt x="13736" y="21237"/>
                    <a:pt x="11414" y="25479"/>
                  </a:cubicBezTo>
                  <a:lnTo>
                    <a:pt x="11360" y="25569"/>
                  </a:lnTo>
                  <a:cubicBezTo>
                    <a:pt x="10353" y="27464"/>
                    <a:pt x="9057" y="29180"/>
                    <a:pt x="7537" y="30624"/>
                  </a:cubicBezTo>
                  <a:cubicBezTo>
                    <a:pt x="6610" y="31436"/>
                    <a:pt x="5279" y="31798"/>
                    <a:pt x="4109" y="31436"/>
                  </a:cubicBezTo>
                  <a:cubicBezTo>
                    <a:pt x="348" y="27555"/>
                    <a:pt x="-75" y="24847"/>
                    <a:pt x="15" y="22501"/>
                  </a:cubicBezTo>
                  <a:cubicBezTo>
                    <a:pt x="240" y="19521"/>
                    <a:pt x="1275" y="16633"/>
                    <a:pt x="3011" y="14196"/>
                  </a:cubicBezTo>
                  <a:cubicBezTo>
                    <a:pt x="12449" y="928"/>
                    <a:pt x="28247" y="-2863"/>
                    <a:pt x="40816" y="6163"/>
                  </a:cubicBezTo>
                  <a:cubicBezTo>
                    <a:pt x="48310" y="11489"/>
                    <a:pt x="58684" y="26381"/>
                    <a:pt x="48652" y="33602"/>
                  </a:cubicBezTo>
                  <a:cubicBezTo>
                    <a:pt x="47456" y="34324"/>
                    <a:pt x="46088" y="34685"/>
                    <a:pt x="44693" y="34776"/>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4" name="Freeform: Shape 303">
              <a:extLst>
                <a:ext uri="{FF2B5EF4-FFF2-40B4-BE49-F238E27FC236}">
                  <a16:creationId xmlns:a16="http://schemas.microsoft.com/office/drawing/2014/main" id="{CF6C54FF-28B4-22FA-6F44-5F41664E75E5}"/>
                </a:ext>
              </a:extLst>
            </p:cNvPr>
            <p:cNvSpPr/>
            <p:nvPr/>
          </p:nvSpPr>
          <p:spPr>
            <a:xfrm>
              <a:off x="2799466" y="3157050"/>
              <a:ext cx="80400" cy="64802"/>
            </a:xfrm>
            <a:custGeom>
              <a:avLst/>
              <a:gdLst>
                <a:gd name="connsiteX0" fmla="*/ 4552 w 80400"/>
                <a:gd name="connsiteY0" fmla="*/ 66042 h 64802"/>
                <a:gd name="connsiteX1" fmla="*/ 4264 w 80400"/>
                <a:gd name="connsiteY1" fmla="*/ 66042 h 64802"/>
                <a:gd name="connsiteX2" fmla="*/ 2870 w 80400"/>
                <a:gd name="connsiteY2" fmla="*/ 65410 h 64802"/>
                <a:gd name="connsiteX3" fmla="*/ 9 w 80400"/>
                <a:gd name="connsiteY3" fmla="*/ 57016 h 64802"/>
                <a:gd name="connsiteX4" fmla="*/ 45173 w 80400"/>
                <a:gd name="connsiteY4" fmla="*/ 5207 h 64802"/>
                <a:gd name="connsiteX5" fmla="*/ 77084 w 80400"/>
                <a:gd name="connsiteY5" fmla="*/ 6199 h 64802"/>
                <a:gd name="connsiteX6" fmla="*/ 80404 w 80400"/>
                <a:gd name="connsiteY6" fmla="*/ 14413 h 64802"/>
                <a:gd name="connsiteX7" fmla="*/ 77066 w 80400"/>
                <a:gd name="connsiteY7" fmla="*/ 22718 h 64802"/>
                <a:gd name="connsiteX8" fmla="*/ 54691 w 80400"/>
                <a:gd name="connsiteY8" fmla="*/ 29397 h 64802"/>
                <a:gd name="connsiteX9" fmla="*/ 10148 w 80400"/>
                <a:gd name="connsiteY9" fmla="*/ 58912 h 64802"/>
                <a:gd name="connsiteX10" fmla="*/ 7332 w 80400"/>
                <a:gd name="connsiteY10" fmla="*/ 63966 h 64802"/>
                <a:gd name="connsiteX11" fmla="*/ 5875 w 80400"/>
                <a:gd name="connsiteY11" fmla="*/ 65772 h 64802"/>
                <a:gd name="connsiteX12" fmla="*/ 4552 w 80400"/>
                <a:gd name="connsiteY12" fmla="*/ 66042 h 64802"/>
                <a:gd name="connsiteX13" fmla="*/ 4552 w 80400"/>
                <a:gd name="connsiteY13" fmla="*/ 66042 h 6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00" h="64802">
                  <a:moveTo>
                    <a:pt x="4552" y="66042"/>
                  </a:moveTo>
                  <a:cubicBezTo>
                    <a:pt x="4453" y="66042"/>
                    <a:pt x="4363" y="66042"/>
                    <a:pt x="4264" y="66042"/>
                  </a:cubicBezTo>
                  <a:cubicBezTo>
                    <a:pt x="3742" y="65951"/>
                    <a:pt x="3257" y="65681"/>
                    <a:pt x="2870" y="65410"/>
                  </a:cubicBezTo>
                  <a:cubicBezTo>
                    <a:pt x="899" y="63695"/>
                    <a:pt x="-63" y="60897"/>
                    <a:pt x="9" y="57016"/>
                  </a:cubicBezTo>
                  <a:cubicBezTo>
                    <a:pt x="2168" y="34000"/>
                    <a:pt x="23167" y="13240"/>
                    <a:pt x="45173" y="5207"/>
                  </a:cubicBezTo>
                  <a:cubicBezTo>
                    <a:pt x="53729" y="1777"/>
                    <a:pt x="68924" y="-2104"/>
                    <a:pt x="77084" y="6199"/>
                  </a:cubicBezTo>
                  <a:cubicBezTo>
                    <a:pt x="79252" y="8365"/>
                    <a:pt x="80458" y="11345"/>
                    <a:pt x="80404" y="14413"/>
                  </a:cubicBezTo>
                  <a:cubicBezTo>
                    <a:pt x="80449" y="17482"/>
                    <a:pt x="79243" y="20461"/>
                    <a:pt x="77066" y="22718"/>
                  </a:cubicBezTo>
                  <a:cubicBezTo>
                    <a:pt x="71182" y="28674"/>
                    <a:pt x="62267" y="27681"/>
                    <a:pt x="54691" y="29397"/>
                  </a:cubicBezTo>
                  <a:cubicBezTo>
                    <a:pt x="36653" y="33097"/>
                    <a:pt x="21088" y="44109"/>
                    <a:pt x="10148" y="58912"/>
                  </a:cubicBezTo>
                  <a:cubicBezTo>
                    <a:pt x="9149" y="60536"/>
                    <a:pt x="8340" y="62521"/>
                    <a:pt x="7332" y="63966"/>
                  </a:cubicBezTo>
                  <a:cubicBezTo>
                    <a:pt x="6576" y="65320"/>
                    <a:pt x="6181" y="65591"/>
                    <a:pt x="5875" y="65772"/>
                  </a:cubicBezTo>
                  <a:cubicBezTo>
                    <a:pt x="5461" y="65951"/>
                    <a:pt x="5011" y="66042"/>
                    <a:pt x="4552" y="66042"/>
                  </a:cubicBezTo>
                  <a:lnTo>
                    <a:pt x="4552" y="66042"/>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5" name="Freeform: Shape 304">
              <a:extLst>
                <a:ext uri="{FF2B5EF4-FFF2-40B4-BE49-F238E27FC236}">
                  <a16:creationId xmlns:a16="http://schemas.microsoft.com/office/drawing/2014/main" id="{15C7E79E-EAE0-979E-BE18-FC28419023F2}"/>
                </a:ext>
              </a:extLst>
            </p:cNvPr>
            <p:cNvSpPr/>
            <p:nvPr/>
          </p:nvSpPr>
          <p:spPr>
            <a:xfrm>
              <a:off x="2961965" y="3153214"/>
              <a:ext cx="73522" cy="65750"/>
            </a:xfrm>
            <a:custGeom>
              <a:avLst/>
              <a:gdLst>
                <a:gd name="connsiteX0" fmla="*/ 67917 w 73522"/>
                <a:gd name="connsiteY0" fmla="*/ 66989 h 65750"/>
                <a:gd name="connsiteX1" fmla="*/ 65461 w 73522"/>
                <a:gd name="connsiteY1" fmla="*/ 65094 h 65750"/>
                <a:gd name="connsiteX2" fmla="*/ 44822 w 73522"/>
                <a:gd name="connsiteY2" fmla="*/ 36481 h 65750"/>
                <a:gd name="connsiteX3" fmla="*/ 25587 w 73522"/>
                <a:gd name="connsiteY3" fmla="*/ 30073 h 65750"/>
                <a:gd name="connsiteX4" fmla="*/ 153 w 73522"/>
                <a:gd name="connsiteY4" fmla="*/ 11389 h 65750"/>
                <a:gd name="connsiteX5" fmla="*/ 35574 w 73522"/>
                <a:gd name="connsiteY5" fmla="*/ 7056 h 65750"/>
                <a:gd name="connsiteX6" fmla="*/ 35592 w 73522"/>
                <a:gd name="connsiteY6" fmla="*/ 7056 h 65750"/>
                <a:gd name="connsiteX7" fmla="*/ 37085 w 73522"/>
                <a:gd name="connsiteY7" fmla="*/ 7688 h 65750"/>
                <a:gd name="connsiteX8" fmla="*/ 60441 w 73522"/>
                <a:gd name="connsiteY8" fmla="*/ 23304 h 65750"/>
                <a:gd name="connsiteX9" fmla="*/ 67917 w 73522"/>
                <a:gd name="connsiteY9" fmla="*/ 66989 h 65750"/>
                <a:gd name="connsiteX10" fmla="*/ 67917 w 73522"/>
                <a:gd name="connsiteY10" fmla="*/ 66989 h 6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22" h="65750">
                  <a:moveTo>
                    <a:pt x="67917" y="66989"/>
                  </a:moveTo>
                  <a:cubicBezTo>
                    <a:pt x="66784" y="66989"/>
                    <a:pt x="65695" y="66177"/>
                    <a:pt x="65461" y="65094"/>
                  </a:cubicBezTo>
                  <a:cubicBezTo>
                    <a:pt x="62258" y="50923"/>
                    <a:pt x="55897" y="42168"/>
                    <a:pt x="44822" y="36481"/>
                  </a:cubicBezTo>
                  <a:cubicBezTo>
                    <a:pt x="38678" y="33592"/>
                    <a:pt x="32227" y="31426"/>
                    <a:pt x="25587" y="30073"/>
                  </a:cubicBezTo>
                  <a:cubicBezTo>
                    <a:pt x="14854" y="28538"/>
                    <a:pt x="-1736" y="26282"/>
                    <a:pt x="153" y="11389"/>
                  </a:cubicBezTo>
                  <a:cubicBezTo>
                    <a:pt x="3959" y="-4857"/>
                    <a:pt x="25677" y="2092"/>
                    <a:pt x="35574" y="7056"/>
                  </a:cubicBezTo>
                  <a:lnTo>
                    <a:pt x="35592" y="7056"/>
                  </a:lnTo>
                  <a:cubicBezTo>
                    <a:pt x="36096" y="7237"/>
                    <a:pt x="36590" y="7508"/>
                    <a:pt x="37085" y="7688"/>
                  </a:cubicBezTo>
                  <a:cubicBezTo>
                    <a:pt x="45884" y="11208"/>
                    <a:pt x="53846" y="16534"/>
                    <a:pt x="60441" y="23304"/>
                  </a:cubicBezTo>
                  <a:cubicBezTo>
                    <a:pt x="69842" y="32509"/>
                    <a:pt x="80198" y="58054"/>
                    <a:pt x="67917" y="66989"/>
                  </a:cubicBezTo>
                  <a:lnTo>
                    <a:pt x="67917" y="66989"/>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6" name="Rounded Rectangle 16">
              <a:extLst>
                <a:ext uri="{FF2B5EF4-FFF2-40B4-BE49-F238E27FC236}">
                  <a16:creationId xmlns:a16="http://schemas.microsoft.com/office/drawing/2014/main" id="{BA2EEBA1-7FC5-66F4-3012-271C98AC4929}"/>
                </a:ext>
              </a:extLst>
            </p:cNvPr>
            <p:cNvSpPr/>
            <p:nvPr/>
          </p:nvSpPr>
          <p:spPr>
            <a:xfrm>
              <a:off x="871256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07" name="TextBox 306">
              <a:extLst>
                <a:ext uri="{FF2B5EF4-FFF2-40B4-BE49-F238E27FC236}">
                  <a16:creationId xmlns:a16="http://schemas.microsoft.com/office/drawing/2014/main" id="{EC4DC982-C10F-4486-63E8-A2D95BD42019}"/>
                </a:ext>
              </a:extLst>
            </p:cNvPr>
            <p:cNvSpPr txBox="1"/>
            <p:nvPr/>
          </p:nvSpPr>
          <p:spPr>
            <a:xfrm>
              <a:off x="8742952" y="4901285"/>
              <a:ext cx="1305924" cy="338554"/>
            </a:xfrm>
            <a:prstGeom prst="rect">
              <a:avLst/>
            </a:prstGeom>
            <a:noFill/>
          </p:spPr>
          <p:txBody>
            <a:bodyPr wrap="square" rtlCol="0">
              <a:spAutoFit/>
            </a:bodyPr>
            <a:lstStyle/>
            <a:p>
              <a:pPr algn="ctr"/>
              <a:r>
                <a:rPr lang="en-US" sz="1600">
                  <a:solidFill>
                    <a:schemeClr val="bg1"/>
                  </a:solidFill>
                  <a:latin typeface="Darker Grotesque" pitchFamily="2" charset="0"/>
                </a:rPr>
                <a:t>PPT</a:t>
              </a:r>
            </a:p>
          </p:txBody>
        </p:sp>
        <p:sp>
          <p:nvSpPr>
            <p:cNvPr id="308" name="TextBox 307">
              <a:extLst>
                <a:ext uri="{FF2B5EF4-FFF2-40B4-BE49-F238E27FC236}">
                  <a16:creationId xmlns:a16="http://schemas.microsoft.com/office/drawing/2014/main" id="{30DEE616-E45F-2955-20FC-C9CBC3076EE7}"/>
                </a:ext>
              </a:extLst>
            </p:cNvPr>
            <p:cNvSpPr txBox="1"/>
            <p:nvPr/>
          </p:nvSpPr>
          <p:spPr>
            <a:xfrm>
              <a:off x="8968555" y="4671889"/>
              <a:ext cx="854721" cy="275332"/>
            </a:xfrm>
            <a:prstGeom prst="rect">
              <a:avLst/>
            </a:prstGeom>
            <a:noFill/>
          </p:spPr>
          <p:txBody>
            <a:bodyPr wrap="none" rtlCol="0">
              <a:spAutoFit/>
            </a:bodyPr>
            <a:lstStyle/>
            <a:p>
              <a:pPr algn="ctr">
                <a:lnSpc>
                  <a:spcPct val="70000"/>
                </a:lnSpc>
              </a:pPr>
              <a:r>
                <a:rPr lang="en-US" sz="1600">
                  <a:solidFill>
                    <a:schemeClr val="bg1"/>
                  </a:solidFill>
                  <a:latin typeface="+mj-lt"/>
                </a:rPr>
                <a:t>One Skill</a:t>
              </a:r>
              <a:endParaRPr lang="en-GB" sz="1600">
                <a:solidFill>
                  <a:schemeClr val="bg1"/>
                </a:solidFill>
                <a:latin typeface="+mj-lt"/>
              </a:endParaRPr>
            </a:p>
          </p:txBody>
        </p:sp>
        <p:sp>
          <p:nvSpPr>
            <p:cNvPr id="309" name="Freeform: Shape 308">
              <a:extLst>
                <a:ext uri="{FF2B5EF4-FFF2-40B4-BE49-F238E27FC236}">
                  <a16:creationId xmlns:a16="http://schemas.microsoft.com/office/drawing/2014/main" id="{2624A6EF-D1AC-0124-39EF-496B41A4F438}"/>
                </a:ext>
              </a:extLst>
            </p:cNvPr>
            <p:cNvSpPr/>
            <p:nvPr/>
          </p:nvSpPr>
          <p:spPr>
            <a:xfrm>
              <a:off x="8834881" y="3391403"/>
              <a:ext cx="1087969" cy="1058488"/>
            </a:xfrm>
            <a:custGeom>
              <a:avLst/>
              <a:gdLst>
                <a:gd name="connsiteX0" fmla="*/ 1071140 w 1087969"/>
                <a:gd name="connsiteY0" fmla="*/ 1036331 h 1058488"/>
                <a:gd name="connsiteX1" fmla="*/ 1085169 w 1087969"/>
                <a:gd name="connsiteY1" fmla="*/ 971399 h 1058488"/>
                <a:gd name="connsiteX2" fmla="*/ 1052101 w 1087969"/>
                <a:gd name="connsiteY2" fmla="*/ 767232 h 1058488"/>
                <a:gd name="connsiteX3" fmla="*/ 1043305 w 1087969"/>
                <a:gd name="connsiteY3" fmla="*/ 592055 h 1058488"/>
                <a:gd name="connsiteX4" fmla="*/ 972176 w 1087969"/>
                <a:gd name="connsiteY4" fmla="*/ 299853 h 1058488"/>
                <a:gd name="connsiteX5" fmla="*/ 852959 w 1087969"/>
                <a:gd name="connsiteY5" fmla="*/ 171679 h 1058488"/>
                <a:gd name="connsiteX6" fmla="*/ 748699 w 1087969"/>
                <a:gd name="connsiteY6" fmla="*/ 80880 h 1058488"/>
                <a:gd name="connsiteX7" fmla="*/ 744439 w 1087969"/>
                <a:gd name="connsiteY7" fmla="*/ 76956 h 1058488"/>
                <a:gd name="connsiteX8" fmla="*/ 594725 w 1087969"/>
                <a:gd name="connsiteY8" fmla="*/ 4350 h 1058488"/>
                <a:gd name="connsiteX9" fmla="*/ 519266 w 1087969"/>
                <a:gd name="connsiteY9" fmla="*/ 38066 h 1058488"/>
                <a:gd name="connsiteX10" fmla="*/ 360309 w 1087969"/>
                <a:gd name="connsiteY10" fmla="*/ 49840 h 1058488"/>
                <a:gd name="connsiteX11" fmla="*/ 328759 w 1087969"/>
                <a:gd name="connsiteY11" fmla="*/ 104784 h 1058488"/>
                <a:gd name="connsiteX12" fmla="*/ 260595 w 1087969"/>
                <a:gd name="connsiteY12" fmla="*/ 122087 h 1058488"/>
                <a:gd name="connsiteX13" fmla="*/ 213863 w 1087969"/>
                <a:gd name="connsiteY13" fmla="*/ 256771 h 1058488"/>
                <a:gd name="connsiteX14" fmla="*/ 227857 w 1087969"/>
                <a:gd name="connsiteY14" fmla="*/ 268635 h 1058488"/>
                <a:gd name="connsiteX15" fmla="*/ 67114 w 1087969"/>
                <a:gd name="connsiteY15" fmla="*/ 540678 h 1058488"/>
                <a:gd name="connsiteX16" fmla="*/ 34966 w 1087969"/>
                <a:gd name="connsiteY16" fmla="*/ 787747 h 1058488"/>
                <a:gd name="connsiteX17" fmla="*/ 7282 w 1087969"/>
                <a:gd name="connsiteY17" fmla="*/ 888537 h 1058488"/>
                <a:gd name="connsiteX18" fmla="*/ 1031 w 1087969"/>
                <a:gd name="connsiteY18" fmla="*/ 1009840 h 1058488"/>
                <a:gd name="connsiteX19" fmla="*/ 15560 w 1087969"/>
                <a:gd name="connsiteY19" fmla="*/ 1041684 h 1058488"/>
                <a:gd name="connsiteX20" fmla="*/ 839313 w 1087969"/>
                <a:gd name="connsiteY20" fmla="*/ 1036510 h 1058488"/>
                <a:gd name="connsiteX21" fmla="*/ 1071140 w 1087969"/>
                <a:gd name="connsiteY21" fmla="*/ 1036331 h 105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969" h="1058488">
                  <a:moveTo>
                    <a:pt x="1071140" y="1036331"/>
                  </a:moveTo>
                  <a:cubicBezTo>
                    <a:pt x="1097805" y="1035083"/>
                    <a:pt x="1087080" y="988524"/>
                    <a:pt x="1085169" y="971399"/>
                  </a:cubicBezTo>
                  <a:cubicBezTo>
                    <a:pt x="1076212" y="898347"/>
                    <a:pt x="1060415" y="832701"/>
                    <a:pt x="1052101" y="767232"/>
                  </a:cubicBezTo>
                  <a:cubicBezTo>
                    <a:pt x="1046930" y="706133"/>
                    <a:pt x="1048895" y="653152"/>
                    <a:pt x="1043305" y="592055"/>
                  </a:cubicBezTo>
                  <a:cubicBezTo>
                    <a:pt x="1036937" y="520163"/>
                    <a:pt x="1021845" y="389760"/>
                    <a:pt x="972176" y="299853"/>
                  </a:cubicBezTo>
                  <a:cubicBezTo>
                    <a:pt x="944716" y="250171"/>
                    <a:pt x="890768" y="188717"/>
                    <a:pt x="852959" y="171679"/>
                  </a:cubicBezTo>
                  <a:cubicBezTo>
                    <a:pt x="841787" y="122712"/>
                    <a:pt x="806700" y="82217"/>
                    <a:pt x="748699" y="80880"/>
                  </a:cubicBezTo>
                  <a:cubicBezTo>
                    <a:pt x="747056" y="80880"/>
                    <a:pt x="745511" y="78204"/>
                    <a:pt x="744439" y="76956"/>
                  </a:cubicBezTo>
                  <a:cubicBezTo>
                    <a:pt x="704370" y="30218"/>
                    <a:pt x="656236" y="-2339"/>
                    <a:pt x="594725" y="4350"/>
                  </a:cubicBezTo>
                  <a:cubicBezTo>
                    <a:pt x="568953" y="5511"/>
                    <a:pt x="543948" y="32803"/>
                    <a:pt x="519266" y="38066"/>
                  </a:cubicBezTo>
                  <a:cubicBezTo>
                    <a:pt x="505442" y="39939"/>
                    <a:pt x="449610" y="9346"/>
                    <a:pt x="360309" y="49840"/>
                  </a:cubicBezTo>
                  <a:cubicBezTo>
                    <a:pt x="343190" y="58581"/>
                    <a:pt x="341913" y="88817"/>
                    <a:pt x="328759" y="104784"/>
                  </a:cubicBezTo>
                  <a:cubicBezTo>
                    <a:pt x="315604" y="120839"/>
                    <a:pt x="280241" y="109868"/>
                    <a:pt x="260595" y="122087"/>
                  </a:cubicBezTo>
                  <a:cubicBezTo>
                    <a:pt x="187546" y="165436"/>
                    <a:pt x="198262" y="228855"/>
                    <a:pt x="213863" y="256771"/>
                  </a:cubicBezTo>
                  <a:cubicBezTo>
                    <a:pt x="219445" y="266673"/>
                    <a:pt x="227116" y="267921"/>
                    <a:pt x="227857" y="268635"/>
                  </a:cubicBezTo>
                  <a:cubicBezTo>
                    <a:pt x="161595" y="360682"/>
                    <a:pt x="93913" y="428114"/>
                    <a:pt x="67114" y="540678"/>
                  </a:cubicBezTo>
                  <a:cubicBezTo>
                    <a:pt x="49745" y="624253"/>
                    <a:pt x="49513" y="703726"/>
                    <a:pt x="34966" y="787747"/>
                  </a:cubicBezTo>
                  <a:cubicBezTo>
                    <a:pt x="29831" y="816824"/>
                    <a:pt x="15801" y="860261"/>
                    <a:pt x="7282" y="888537"/>
                  </a:cubicBezTo>
                  <a:cubicBezTo>
                    <a:pt x="-1960" y="925552"/>
                    <a:pt x="2817" y="990218"/>
                    <a:pt x="1031" y="1009840"/>
                  </a:cubicBezTo>
                  <a:cubicBezTo>
                    <a:pt x="138" y="1023220"/>
                    <a:pt x="5728" y="1041684"/>
                    <a:pt x="15560" y="1041684"/>
                  </a:cubicBezTo>
                  <a:cubicBezTo>
                    <a:pt x="288225" y="1086817"/>
                    <a:pt x="565184" y="1043556"/>
                    <a:pt x="839313" y="1036510"/>
                  </a:cubicBezTo>
                  <a:cubicBezTo>
                    <a:pt x="916550" y="1033746"/>
                    <a:pt x="993885" y="1033211"/>
                    <a:pt x="1071140" y="1036331"/>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310" name="Freeform: Shape 309">
              <a:extLst>
                <a:ext uri="{FF2B5EF4-FFF2-40B4-BE49-F238E27FC236}">
                  <a16:creationId xmlns:a16="http://schemas.microsoft.com/office/drawing/2014/main" id="{5D179D5C-B0FB-7B7C-299C-968557AE50E0}"/>
                </a:ext>
              </a:extLst>
            </p:cNvPr>
            <p:cNvSpPr/>
            <p:nvPr/>
          </p:nvSpPr>
          <p:spPr>
            <a:xfrm>
              <a:off x="8827170" y="3417047"/>
              <a:ext cx="1099134" cy="1033597"/>
            </a:xfrm>
            <a:custGeom>
              <a:avLst/>
              <a:gdLst>
                <a:gd name="connsiteX0" fmla="*/ 520877 w 1099134"/>
                <a:gd name="connsiteY0" fmla="*/ 94749 h 1033597"/>
                <a:gd name="connsiteX1" fmla="*/ 542131 w 1099134"/>
                <a:gd name="connsiteY1" fmla="*/ 125166 h 1033597"/>
                <a:gd name="connsiteX2" fmla="*/ 665394 w 1099134"/>
                <a:gd name="connsiteY2" fmla="*/ 222030 h 1033597"/>
                <a:gd name="connsiteX3" fmla="*/ 761991 w 1099134"/>
                <a:gd name="connsiteY3" fmla="*/ 126771 h 1033597"/>
                <a:gd name="connsiteX4" fmla="*/ 766010 w 1099134"/>
                <a:gd name="connsiteY4" fmla="*/ 94481 h 1033597"/>
                <a:gd name="connsiteX5" fmla="*/ 754883 w 1099134"/>
                <a:gd name="connsiteY5" fmla="*/ 55862 h 1033597"/>
                <a:gd name="connsiteX6" fmla="*/ 756794 w 1099134"/>
                <a:gd name="connsiteY6" fmla="*/ 53364 h 1033597"/>
                <a:gd name="connsiteX7" fmla="*/ 842095 w 1099134"/>
                <a:gd name="connsiteY7" fmla="*/ 95821 h 1033597"/>
                <a:gd name="connsiteX8" fmla="*/ 867367 w 1099134"/>
                <a:gd name="connsiteY8" fmla="*/ 150049 h 1033597"/>
                <a:gd name="connsiteX9" fmla="*/ 989934 w 1099134"/>
                <a:gd name="connsiteY9" fmla="*/ 295169 h 1033597"/>
                <a:gd name="connsiteX10" fmla="*/ 1048649 w 1099134"/>
                <a:gd name="connsiteY10" fmla="*/ 563199 h 1033597"/>
                <a:gd name="connsiteX11" fmla="*/ 1061151 w 1099134"/>
                <a:gd name="connsiteY11" fmla="*/ 752291 h 1033597"/>
                <a:gd name="connsiteX12" fmla="*/ 1098212 w 1099134"/>
                <a:gd name="connsiteY12" fmla="*/ 948519 h 1033597"/>
                <a:gd name="connsiteX13" fmla="*/ 1079190 w 1099134"/>
                <a:gd name="connsiteY13" fmla="*/ 1011491 h 1033597"/>
                <a:gd name="connsiteX14" fmla="*/ 847346 w 1099134"/>
                <a:gd name="connsiteY14" fmla="*/ 1011581 h 1033597"/>
                <a:gd name="connsiteX15" fmla="*/ 23593 w 1099134"/>
                <a:gd name="connsiteY15" fmla="*/ 1016755 h 1033597"/>
                <a:gd name="connsiteX16" fmla="*/ 40882 w 1099134"/>
                <a:gd name="connsiteY16" fmla="*/ 777266 h 1033597"/>
                <a:gd name="connsiteX17" fmla="*/ 73629 w 1099134"/>
                <a:gd name="connsiteY17" fmla="*/ 512091 h 1033597"/>
                <a:gd name="connsiteX18" fmla="*/ 230201 w 1099134"/>
                <a:gd name="connsiteY18" fmla="*/ 251643 h 1033597"/>
                <a:gd name="connsiteX19" fmla="*/ 226031 w 1099134"/>
                <a:gd name="connsiteY19" fmla="*/ 237907 h 1033597"/>
                <a:gd name="connsiteX20" fmla="*/ 269655 w 1099134"/>
                <a:gd name="connsiteY20" fmla="*/ 95106 h 1033597"/>
                <a:gd name="connsiteX21" fmla="*/ 335577 w 1099134"/>
                <a:gd name="connsiteY21" fmla="*/ 79765 h 1033597"/>
                <a:gd name="connsiteX22" fmla="*/ 371896 w 1099134"/>
                <a:gd name="connsiteY22" fmla="*/ 20896 h 1033597"/>
                <a:gd name="connsiteX23" fmla="*/ 527352 w 1099134"/>
                <a:gd name="connsiteY23" fmla="*/ 10372 h 1033597"/>
                <a:gd name="connsiteX24" fmla="*/ 546775 w 1099134"/>
                <a:gd name="connsiteY24" fmla="*/ 3503 h 1033597"/>
                <a:gd name="connsiteX25" fmla="*/ 545534 w 1099134"/>
                <a:gd name="connsiteY25" fmla="*/ 9213 h 1033597"/>
                <a:gd name="connsiteX26" fmla="*/ 529852 w 1099134"/>
                <a:gd name="connsiteY26" fmla="*/ 72361 h 1033597"/>
                <a:gd name="connsiteX27" fmla="*/ 520877 w 1099134"/>
                <a:gd name="connsiteY27" fmla="*/ 94749 h 103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9134" h="1033597">
                  <a:moveTo>
                    <a:pt x="520877" y="94749"/>
                  </a:moveTo>
                  <a:cubicBezTo>
                    <a:pt x="520877" y="101528"/>
                    <a:pt x="533201" y="112231"/>
                    <a:pt x="542131" y="125166"/>
                  </a:cubicBezTo>
                  <a:cubicBezTo>
                    <a:pt x="571288" y="167444"/>
                    <a:pt x="638773" y="227472"/>
                    <a:pt x="665394" y="222030"/>
                  </a:cubicBezTo>
                  <a:cubicBezTo>
                    <a:pt x="688577" y="217303"/>
                    <a:pt x="715117" y="183855"/>
                    <a:pt x="761991" y="126771"/>
                  </a:cubicBezTo>
                  <a:cubicBezTo>
                    <a:pt x="761991" y="126771"/>
                    <a:pt x="768269" y="110358"/>
                    <a:pt x="766010" y="94481"/>
                  </a:cubicBezTo>
                  <a:cubicBezTo>
                    <a:pt x="763751" y="78605"/>
                    <a:pt x="754883" y="55862"/>
                    <a:pt x="754883" y="55862"/>
                  </a:cubicBezTo>
                  <a:cubicBezTo>
                    <a:pt x="754446" y="54612"/>
                    <a:pt x="755454" y="53275"/>
                    <a:pt x="756794" y="53364"/>
                  </a:cubicBezTo>
                  <a:cubicBezTo>
                    <a:pt x="790193" y="55415"/>
                    <a:pt x="820627" y="72361"/>
                    <a:pt x="842095" y="95821"/>
                  </a:cubicBezTo>
                  <a:cubicBezTo>
                    <a:pt x="856696" y="111787"/>
                    <a:pt x="862956" y="130695"/>
                    <a:pt x="867367" y="150049"/>
                  </a:cubicBezTo>
                  <a:cubicBezTo>
                    <a:pt x="907142" y="167978"/>
                    <a:pt x="958482" y="223814"/>
                    <a:pt x="989934" y="295169"/>
                  </a:cubicBezTo>
                  <a:cubicBezTo>
                    <a:pt x="1028914" y="383652"/>
                    <a:pt x="1041889" y="493895"/>
                    <a:pt x="1048649" y="563199"/>
                  </a:cubicBezTo>
                  <a:cubicBezTo>
                    <a:pt x="1048649" y="563199"/>
                    <a:pt x="1055981" y="691105"/>
                    <a:pt x="1061151" y="752291"/>
                  </a:cubicBezTo>
                  <a:cubicBezTo>
                    <a:pt x="1069456" y="817761"/>
                    <a:pt x="1098212" y="948519"/>
                    <a:pt x="1098212" y="948519"/>
                  </a:cubicBezTo>
                  <a:cubicBezTo>
                    <a:pt x="1100417" y="966448"/>
                    <a:pt x="1105320" y="1010244"/>
                    <a:pt x="1079190" y="1011491"/>
                  </a:cubicBezTo>
                  <a:cubicBezTo>
                    <a:pt x="1001944" y="1008279"/>
                    <a:pt x="924601" y="1008904"/>
                    <a:pt x="847346" y="1011581"/>
                  </a:cubicBezTo>
                  <a:cubicBezTo>
                    <a:pt x="573217" y="1018627"/>
                    <a:pt x="296258" y="1061975"/>
                    <a:pt x="23593" y="1016755"/>
                  </a:cubicBezTo>
                  <a:cubicBezTo>
                    <a:pt x="-34131" y="1006228"/>
                    <a:pt x="36096" y="804382"/>
                    <a:pt x="40882" y="777266"/>
                  </a:cubicBezTo>
                  <a:cubicBezTo>
                    <a:pt x="55438" y="693246"/>
                    <a:pt x="56260" y="595578"/>
                    <a:pt x="73629" y="512091"/>
                  </a:cubicBezTo>
                  <a:cubicBezTo>
                    <a:pt x="99392" y="403810"/>
                    <a:pt x="166145" y="338251"/>
                    <a:pt x="230201" y="251643"/>
                  </a:cubicBezTo>
                  <a:cubicBezTo>
                    <a:pt x="234497" y="245844"/>
                    <a:pt x="229701" y="244150"/>
                    <a:pt x="226031" y="237907"/>
                  </a:cubicBezTo>
                  <a:cubicBezTo>
                    <a:pt x="212385" y="214805"/>
                    <a:pt x="188283" y="147018"/>
                    <a:pt x="269655" y="95106"/>
                  </a:cubicBezTo>
                  <a:cubicBezTo>
                    <a:pt x="287354" y="80390"/>
                    <a:pt x="322967" y="108128"/>
                    <a:pt x="335577" y="79765"/>
                  </a:cubicBezTo>
                  <a:cubicBezTo>
                    <a:pt x="347374" y="56395"/>
                    <a:pt x="354768" y="29726"/>
                    <a:pt x="371896" y="20896"/>
                  </a:cubicBezTo>
                  <a:cubicBezTo>
                    <a:pt x="442149" y="-11838"/>
                    <a:pt x="513528" y="12334"/>
                    <a:pt x="527352" y="10372"/>
                  </a:cubicBezTo>
                  <a:cubicBezTo>
                    <a:pt x="535362" y="8856"/>
                    <a:pt x="546087" y="3057"/>
                    <a:pt x="546775" y="3503"/>
                  </a:cubicBezTo>
                  <a:cubicBezTo>
                    <a:pt x="547463" y="3950"/>
                    <a:pt x="545534" y="9213"/>
                    <a:pt x="545534" y="9213"/>
                  </a:cubicBezTo>
                  <a:cubicBezTo>
                    <a:pt x="537791" y="35079"/>
                    <a:pt x="532558" y="56127"/>
                    <a:pt x="529852" y="72361"/>
                  </a:cubicBezTo>
                  <a:cubicBezTo>
                    <a:pt x="528388" y="81102"/>
                    <a:pt x="520877" y="88774"/>
                    <a:pt x="520877" y="9474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11" name="Freeform: Shape 310">
              <a:extLst>
                <a:ext uri="{FF2B5EF4-FFF2-40B4-BE49-F238E27FC236}">
                  <a16:creationId xmlns:a16="http://schemas.microsoft.com/office/drawing/2014/main" id="{E5F9BA9D-C36D-DDBD-FE96-D6F966C2F4C6}"/>
                </a:ext>
              </a:extLst>
            </p:cNvPr>
            <p:cNvSpPr/>
            <p:nvPr/>
          </p:nvSpPr>
          <p:spPr>
            <a:xfrm>
              <a:off x="8816610" y="3408873"/>
              <a:ext cx="1122575" cy="1042858"/>
            </a:xfrm>
            <a:custGeom>
              <a:avLst/>
              <a:gdLst>
                <a:gd name="connsiteX0" fmla="*/ 677116 w 1122575"/>
                <a:gd name="connsiteY0" fmla="*/ 1046334 h 1042858"/>
                <a:gd name="connsiteX1" fmla="*/ 673883 w 1122575"/>
                <a:gd name="connsiteY1" fmla="*/ 1043211 h 1042858"/>
                <a:gd name="connsiteX2" fmla="*/ 661264 w 1122575"/>
                <a:gd name="connsiteY2" fmla="*/ 746728 h 1042858"/>
                <a:gd name="connsiteX3" fmla="*/ 494048 w 1122575"/>
                <a:gd name="connsiteY3" fmla="*/ 746728 h 1042858"/>
                <a:gd name="connsiteX4" fmla="*/ 433331 w 1122575"/>
                <a:gd name="connsiteY4" fmla="*/ 915129 h 1042858"/>
                <a:gd name="connsiteX5" fmla="*/ 408264 w 1122575"/>
                <a:gd name="connsiteY5" fmla="*/ 961331 h 1042858"/>
                <a:gd name="connsiteX6" fmla="*/ 399013 w 1122575"/>
                <a:gd name="connsiteY6" fmla="*/ 1004591 h 1042858"/>
                <a:gd name="connsiteX7" fmla="*/ 386716 w 1122575"/>
                <a:gd name="connsiteY7" fmla="*/ 1041070 h 1042858"/>
                <a:gd name="connsiteX8" fmla="*/ 363926 w 1122575"/>
                <a:gd name="connsiteY8" fmla="*/ 1014312 h 1042858"/>
                <a:gd name="connsiteX9" fmla="*/ 363926 w 1122575"/>
                <a:gd name="connsiteY9" fmla="*/ 1014312 h 1042858"/>
                <a:gd name="connsiteX10" fmla="*/ 389395 w 1122575"/>
                <a:gd name="connsiteY10" fmla="*/ 921193 h 1042858"/>
                <a:gd name="connsiteX11" fmla="*/ 450352 w 1122575"/>
                <a:gd name="connsiteY11" fmla="*/ 855369 h 1042858"/>
                <a:gd name="connsiteX12" fmla="*/ 492101 w 1122575"/>
                <a:gd name="connsiteY12" fmla="*/ 746284 h 1042858"/>
                <a:gd name="connsiteX13" fmla="*/ 661086 w 1122575"/>
                <a:gd name="connsiteY13" fmla="*/ 733885 h 1042858"/>
                <a:gd name="connsiteX14" fmla="*/ 662792 w 1122575"/>
                <a:gd name="connsiteY14" fmla="*/ 510097 h 1042858"/>
                <a:gd name="connsiteX15" fmla="*/ 676454 w 1122575"/>
                <a:gd name="connsiteY15" fmla="*/ 270520 h 1042858"/>
                <a:gd name="connsiteX16" fmla="*/ 679035 w 1122575"/>
                <a:gd name="connsiteY16" fmla="*/ 270609 h 1042858"/>
                <a:gd name="connsiteX17" fmla="*/ 693216 w 1122575"/>
                <a:gd name="connsiteY17" fmla="*/ 731566 h 1042858"/>
                <a:gd name="connsiteX18" fmla="*/ 784089 w 1122575"/>
                <a:gd name="connsiteY18" fmla="*/ 725769 h 1042858"/>
                <a:gd name="connsiteX19" fmla="*/ 811996 w 1122575"/>
                <a:gd name="connsiteY19" fmla="*/ 728889 h 1042858"/>
                <a:gd name="connsiteX20" fmla="*/ 796404 w 1122575"/>
                <a:gd name="connsiteY20" fmla="*/ 743161 h 1042858"/>
                <a:gd name="connsiteX21" fmla="*/ 693198 w 1122575"/>
                <a:gd name="connsiteY21" fmla="*/ 746284 h 1042858"/>
                <a:gd name="connsiteX22" fmla="*/ 688591 w 1122575"/>
                <a:gd name="connsiteY22" fmla="*/ 890600 h 1042858"/>
                <a:gd name="connsiteX23" fmla="*/ 680321 w 1122575"/>
                <a:gd name="connsiteY23" fmla="*/ 1043211 h 1042858"/>
                <a:gd name="connsiteX24" fmla="*/ 677116 w 1122575"/>
                <a:gd name="connsiteY24" fmla="*/ 1046334 h 1042858"/>
                <a:gd name="connsiteX25" fmla="*/ 264310 w 1122575"/>
                <a:gd name="connsiteY25" fmla="*/ 1040894 h 1042858"/>
                <a:gd name="connsiteX26" fmla="*/ 256684 w 1122575"/>
                <a:gd name="connsiteY26" fmla="*/ 1036611 h 1042858"/>
                <a:gd name="connsiteX27" fmla="*/ 257943 w 1122575"/>
                <a:gd name="connsiteY27" fmla="*/ 1037414 h 1042858"/>
                <a:gd name="connsiteX28" fmla="*/ 254808 w 1122575"/>
                <a:gd name="connsiteY28" fmla="*/ 1035095 h 1042858"/>
                <a:gd name="connsiteX29" fmla="*/ 249799 w 1122575"/>
                <a:gd name="connsiteY29" fmla="*/ 1009497 h 1042858"/>
                <a:gd name="connsiteX30" fmla="*/ 263266 w 1122575"/>
                <a:gd name="connsiteY30" fmla="*/ 554871 h 1042858"/>
                <a:gd name="connsiteX31" fmla="*/ 267382 w 1122575"/>
                <a:gd name="connsiteY31" fmla="*/ 555228 h 1042858"/>
                <a:gd name="connsiteX32" fmla="*/ 298986 w 1122575"/>
                <a:gd name="connsiteY32" fmla="*/ 651380 h 1042858"/>
                <a:gd name="connsiteX33" fmla="*/ 290458 w 1122575"/>
                <a:gd name="connsiteY33" fmla="*/ 891047 h 1042858"/>
                <a:gd name="connsiteX34" fmla="*/ 282314 w 1122575"/>
                <a:gd name="connsiteY34" fmla="*/ 1016366 h 1042858"/>
                <a:gd name="connsiteX35" fmla="*/ 271972 w 1122575"/>
                <a:gd name="connsiteY35" fmla="*/ 1037593 h 1042858"/>
                <a:gd name="connsiteX36" fmla="*/ 264310 w 1122575"/>
                <a:gd name="connsiteY36" fmla="*/ 1040894 h 1042858"/>
                <a:gd name="connsiteX37" fmla="*/ 22241 w 1122575"/>
                <a:gd name="connsiteY37" fmla="*/ 1038930 h 1042858"/>
                <a:gd name="connsiteX38" fmla="*/ 9033 w 1122575"/>
                <a:gd name="connsiteY38" fmla="*/ 1028763 h 1042858"/>
                <a:gd name="connsiteX39" fmla="*/ 27679 w 1122575"/>
                <a:gd name="connsiteY39" fmla="*/ 814964 h 1042858"/>
                <a:gd name="connsiteX40" fmla="*/ 27679 w 1122575"/>
                <a:gd name="connsiteY40" fmla="*/ 814964 h 1042858"/>
                <a:gd name="connsiteX41" fmla="*/ 66365 w 1122575"/>
                <a:gd name="connsiteY41" fmla="*/ 549253 h 1042858"/>
                <a:gd name="connsiteX42" fmla="*/ 234618 w 1122575"/>
                <a:gd name="connsiteY42" fmla="*/ 251788 h 1042858"/>
                <a:gd name="connsiteX43" fmla="*/ 217525 w 1122575"/>
                <a:gd name="connsiteY43" fmla="*/ 165984 h 1042858"/>
                <a:gd name="connsiteX44" fmla="*/ 303853 w 1122575"/>
                <a:gd name="connsiteY44" fmla="*/ 90793 h 1042858"/>
                <a:gd name="connsiteX45" fmla="*/ 328598 w 1122575"/>
                <a:gd name="connsiteY45" fmla="*/ 89097 h 1042858"/>
                <a:gd name="connsiteX46" fmla="*/ 361703 w 1122575"/>
                <a:gd name="connsiteY46" fmla="*/ 39239 h 1042858"/>
                <a:gd name="connsiteX47" fmla="*/ 532260 w 1122575"/>
                <a:gd name="connsiteY47" fmla="*/ 17297 h 1042858"/>
                <a:gd name="connsiteX48" fmla="*/ 531590 w 1122575"/>
                <a:gd name="connsiteY48" fmla="*/ 20150 h 1042858"/>
                <a:gd name="connsiteX49" fmla="*/ 457041 w 1122575"/>
                <a:gd name="connsiteY49" fmla="*/ 20685 h 1042858"/>
                <a:gd name="connsiteX50" fmla="*/ 373866 w 1122575"/>
                <a:gd name="connsiteY50" fmla="*/ 55381 h 1042858"/>
                <a:gd name="connsiteX51" fmla="*/ 345092 w 1122575"/>
                <a:gd name="connsiteY51" fmla="*/ 101853 h 1042858"/>
                <a:gd name="connsiteX52" fmla="*/ 301540 w 1122575"/>
                <a:gd name="connsiteY52" fmla="*/ 110773 h 1042858"/>
                <a:gd name="connsiteX53" fmla="*/ 243146 w 1122575"/>
                <a:gd name="connsiteY53" fmla="*/ 155102 h 1042858"/>
                <a:gd name="connsiteX54" fmla="*/ 239029 w 1122575"/>
                <a:gd name="connsiteY54" fmla="*/ 235467 h 1042858"/>
                <a:gd name="connsiteX55" fmla="*/ 246861 w 1122575"/>
                <a:gd name="connsiteY55" fmla="*/ 239569 h 1042858"/>
                <a:gd name="connsiteX56" fmla="*/ 397485 w 1122575"/>
                <a:gd name="connsiteY56" fmla="*/ 136728 h 1042858"/>
                <a:gd name="connsiteX57" fmla="*/ 403013 w 1122575"/>
                <a:gd name="connsiteY57" fmla="*/ 132447 h 1042858"/>
                <a:gd name="connsiteX58" fmla="*/ 426312 w 1122575"/>
                <a:gd name="connsiteY58" fmla="*/ 125400 h 1042858"/>
                <a:gd name="connsiteX59" fmla="*/ 430563 w 1122575"/>
                <a:gd name="connsiteY59" fmla="*/ 126650 h 1042858"/>
                <a:gd name="connsiteX60" fmla="*/ 563256 w 1122575"/>
                <a:gd name="connsiteY60" fmla="*/ 227527 h 1042858"/>
                <a:gd name="connsiteX61" fmla="*/ 599378 w 1122575"/>
                <a:gd name="connsiteY61" fmla="*/ 245098 h 1042858"/>
                <a:gd name="connsiteX62" fmla="*/ 620043 w 1122575"/>
                <a:gd name="connsiteY62" fmla="*/ 257855 h 1042858"/>
                <a:gd name="connsiteX63" fmla="*/ 617881 w 1122575"/>
                <a:gd name="connsiteY63" fmla="*/ 270966 h 1042858"/>
                <a:gd name="connsiteX64" fmla="*/ 587448 w 1122575"/>
                <a:gd name="connsiteY64" fmla="*/ 270520 h 1042858"/>
                <a:gd name="connsiteX65" fmla="*/ 419150 w 1122575"/>
                <a:gd name="connsiteY65" fmla="*/ 135746 h 1042858"/>
                <a:gd name="connsiteX66" fmla="*/ 415462 w 1122575"/>
                <a:gd name="connsiteY66" fmla="*/ 135391 h 1042858"/>
                <a:gd name="connsiteX67" fmla="*/ 156613 w 1122575"/>
                <a:gd name="connsiteY67" fmla="*/ 386562 h 1042858"/>
                <a:gd name="connsiteX68" fmla="*/ 82394 w 1122575"/>
                <a:gd name="connsiteY68" fmla="*/ 636485 h 1042858"/>
                <a:gd name="connsiteX69" fmla="*/ 56836 w 1122575"/>
                <a:gd name="connsiteY69" fmla="*/ 807738 h 1042858"/>
                <a:gd name="connsiteX70" fmla="*/ 35020 w 1122575"/>
                <a:gd name="connsiteY70" fmla="*/ 1015205 h 1042858"/>
                <a:gd name="connsiteX71" fmla="*/ 35020 w 1122575"/>
                <a:gd name="connsiteY71" fmla="*/ 1015205 h 1042858"/>
                <a:gd name="connsiteX72" fmla="*/ 22241 w 1122575"/>
                <a:gd name="connsiteY72" fmla="*/ 1038930 h 1042858"/>
                <a:gd name="connsiteX73" fmla="*/ 1107807 w 1122575"/>
                <a:gd name="connsiteY73" fmla="*/ 1020468 h 1042858"/>
                <a:gd name="connsiteX74" fmla="*/ 1092519 w 1122575"/>
                <a:gd name="connsiteY74" fmla="*/ 1005839 h 1042858"/>
                <a:gd name="connsiteX75" fmla="*/ 1071569 w 1122575"/>
                <a:gd name="connsiteY75" fmla="*/ 851978 h 1042858"/>
                <a:gd name="connsiteX76" fmla="*/ 879330 w 1122575"/>
                <a:gd name="connsiteY76" fmla="*/ 161613 h 1042858"/>
                <a:gd name="connsiteX77" fmla="*/ 860621 w 1122575"/>
                <a:gd name="connsiteY77" fmla="*/ 156439 h 1042858"/>
                <a:gd name="connsiteX78" fmla="*/ 858049 w 1122575"/>
                <a:gd name="connsiteY78" fmla="*/ 139315 h 1042858"/>
                <a:gd name="connsiteX79" fmla="*/ 790582 w 1122575"/>
                <a:gd name="connsiteY79" fmla="*/ 67959 h 1042858"/>
                <a:gd name="connsiteX80" fmla="*/ 789859 w 1122575"/>
                <a:gd name="connsiteY80" fmla="*/ 61448 h 1042858"/>
                <a:gd name="connsiteX81" fmla="*/ 881758 w 1122575"/>
                <a:gd name="connsiteY81" fmla="*/ 157511 h 1042858"/>
                <a:gd name="connsiteX82" fmla="*/ 1102816 w 1122575"/>
                <a:gd name="connsiteY82" fmla="*/ 853139 h 1042858"/>
                <a:gd name="connsiteX83" fmla="*/ 1102816 w 1122575"/>
                <a:gd name="connsiteY83" fmla="*/ 853139 h 1042858"/>
                <a:gd name="connsiteX84" fmla="*/ 1107807 w 1122575"/>
                <a:gd name="connsiteY84" fmla="*/ 1020468 h 1042858"/>
                <a:gd name="connsiteX85" fmla="*/ 1107807 w 1122575"/>
                <a:gd name="connsiteY85" fmla="*/ 1020468 h 1042858"/>
                <a:gd name="connsiteX86" fmla="*/ 937322 w 1122575"/>
                <a:gd name="connsiteY86" fmla="*/ 1008962 h 1042858"/>
                <a:gd name="connsiteX87" fmla="*/ 919515 w 1122575"/>
                <a:gd name="connsiteY87" fmla="*/ 961777 h 1042858"/>
                <a:gd name="connsiteX88" fmla="*/ 914434 w 1122575"/>
                <a:gd name="connsiteY88" fmla="*/ 915754 h 1042858"/>
                <a:gd name="connsiteX89" fmla="*/ 893573 w 1122575"/>
                <a:gd name="connsiteY89" fmla="*/ 855369 h 1042858"/>
                <a:gd name="connsiteX90" fmla="*/ 832464 w 1122575"/>
                <a:gd name="connsiteY90" fmla="*/ 770991 h 1042858"/>
                <a:gd name="connsiteX91" fmla="*/ 830098 w 1122575"/>
                <a:gd name="connsiteY91" fmla="*/ 747800 h 1042858"/>
                <a:gd name="connsiteX92" fmla="*/ 918845 w 1122575"/>
                <a:gd name="connsiteY92" fmla="*/ 843327 h 1042858"/>
                <a:gd name="connsiteX93" fmla="*/ 942743 w 1122575"/>
                <a:gd name="connsiteY93" fmla="*/ 912810 h 1042858"/>
                <a:gd name="connsiteX94" fmla="*/ 951682 w 1122575"/>
                <a:gd name="connsiteY94" fmla="*/ 980420 h 1042858"/>
                <a:gd name="connsiteX95" fmla="*/ 937322 w 1122575"/>
                <a:gd name="connsiteY95" fmla="*/ 1008962 h 1042858"/>
                <a:gd name="connsiteX96" fmla="*/ 937322 w 1122575"/>
                <a:gd name="connsiteY96" fmla="*/ 1008962 h 1042858"/>
                <a:gd name="connsiteX97" fmla="*/ 1021739 w 1122575"/>
                <a:gd name="connsiteY97" fmla="*/ 1004056 h 1042858"/>
                <a:gd name="connsiteX98" fmla="*/ 1003950 w 1122575"/>
                <a:gd name="connsiteY98" fmla="*/ 962224 h 1042858"/>
                <a:gd name="connsiteX99" fmla="*/ 990796 w 1122575"/>
                <a:gd name="connsiteY99" fmla="*/ 867766 h 1042858"/>
                <a:gd name="connsiteX100" fmla="*/ 950655 w 1122575"/>
                <a:gd name="connsiteY100" fmla="*/ 605535 h 1042858"/>
                <a:gd name="connsiteX101" fmla="*/ 965890 w 1122575"/>
                <a:gd name="connsiteY101" fmla="*/ 332241 h 1042858"/>
                <a:gd name="connsiteX102" fmla="*/ 967961 w 1122575"/>
                <a:gd name="connsiteY102" fmla="*/ 332152 h 1042858"/>
                <a:gd name="connsiteX103" fmla="*/ 968685 w 1122575"/>
                <a:gd name="connsiteY103" fmla="*/ 366314 h 1042858"/>
                <a:gd name="connsiteX104" fmla="*/ 1000164 w 1122575"/>
                <a:gd name="connsiteY104" fmla="*/ 768226 h 1042858"/>
                <a:gd name="connsiteX105" fmla="*/ 1021739 w 1122575"/>
                <a:gd name="connsiteY105" fmla="*/ 1004056 h 1042858"/>
                <a:gd name="connsiteX106" fmla="*/ 1021739 w 1122575"/>
                <a:gd name="connsiteY106" fmla="*/ 1004056 h 1042858"/>
                <a:gd name="connsiteX107" fmla="*/ 672588 w 1122575"/>
                <a:gd name="connsiteY107" fmla="*/ 241263 h 1042858"/>
                <a:gd name="connsiteX108" fmla="*/ 640520 w 1122575"/>
                <a:gd name="connsiteY108" fmla="*/ 227259 h 1042858"/>
                <a:gd name="connsiteX109" fmla="*/ 555987 w 1122575"/>
                <a:gd name="connsiteY109" fmla="*/ 148323 h 1042858"/>
                <a:gd name="connsiteX110" fmla="*/ 530384 w 1122575"/>
                <a:gd name="connsiteY110" fmla="*/ 96679 h 1042858"/>
                <a:gd name="connsiteX111" fmla="*/ 533108 w 1122575"/>
                <a:gd name="connsiteY111" fmla="*/ 47622 h 1042858"/>
                <a:gd name="connsiteX112" fmla="*/ 562943 w 1122575"/>
                <a:gd name="connsiteY112" fmla="*/ 45125 h 1042858"/>
                <a:gd name="connsiteX113" fmla="*/ 553968 w 1122575"/>
                <a:gd name="connsiteY113" fmla="*/ 73934 h 1042858"/>
                <a:gd name="connsiteX114" fmla="*/ 553968 w 1122575"/>
                <a:gd name="connsiteY114" fmla="*/ 73934 h 1042858"/>
                <a:gd name="connsiteX115" fmla="*/ 534215 w 1122575"/>
                <a:gd name="connsiteY115" fmla="*/ 100782 h 1042858"/>
                <a:gd name="connsiteX116" fmla="*/ 660460 w 1122575"/>
                <a:gd name="connsiteY116" fmla="*/ 214059 h 1042858"/>
                <a:gd name="connsiteX117" fmla="*/ 701861 w 1122575"/>
                <a:gd name="connsiteY117" fmla="*/ 198450 h 1042858"/>
                <a:gd name="connsiteX118" fmla="*/ 763970 w 1122575"/>
                <a:gd name="connsiteY118" fmla="*/ 124864 h 1042858"/>
                <a:gd name="connsiteX119" fmla="*/ 757567 w 1122575"/>
                <a:gd name="connsiteY119" fmla="*/ 66798 h 1042858"/>
                <a:gd name="connsiteX120" fmla="*/ 780696 w 1122575"/>
                <a:gd name="connsiteY120" fmla="*/ 91416 h 1042858"/>
                <a:gd name="connsiteX121" fmla="*/ 780696 w 1122575"/>
                <a:gd name="connsiteY121" fmla="*/ 91416 h 1042858"/>
                <a:gd name="connsiteX122" fmla="*/ 786036 w 1122575"/>
                <a:gd name="connsiteY122" fmla="*/ 105777 h 1042858"/>
                <a:gd name="connsiteX123" fmla="*/ 788162 w 1122575"/>
                <a:gd name="connsiteY123" fmla="*/ 108007 h 1042858"/>
                <a:gd name="connsiteX124" fmla="*/ 787688 w 1122575"/>
                <a:gd name="connsiteY124" fmla="*/ 132536 h 1042858"/>
                <a:gd name="connsiteX125" fmla="*/ 672588 w 1122575"/>
                <a:gd name="connsiteY125" fmla="*/ 241263 h 104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22575" h="1042858">
                  <a:moveTo>
                    <a:pt x="677116" y="1046334"/>
                  </a:moveTo>
                  <a:cubicBezTo>
                    <a:pt x="675365" y="1046423"/>
                    <a:pt x="673918" y="1044997"/>
                    <a:pt x="673883" y="1043211"/>
                  </a:cubicBezTo>
                  <a:cubicBezTo>
                    <a:pt x="667417" y="940727"/>
                    <a:pt x="662720" y="849838"/>
                    <a:pt x="661264" y="746728"/>
                  </a:cubicBezTo>
                  <a:cubicBezTo>
                    <a:pt x="607773" y="746996"/>
                    <a:pt x="546030" y="747175"/>
                    <a:pt x="494048" y="746728"/>
                  </a:cubicBezTo>
                  <a:cubicBezTo>
                    <a:pt x="509782" y="810236"/>
                    <a:pt x="480036" y="863038"/>
                    <a:pt x="433331" y="915129"/>
                  </a:cubicBezTo>
                  <a:cubicBezTo>
                    <a:pt x="419507" y="927437"/>
                    <a:pt x="410229" y="942691"/>
                    <a:pt x="408264" y="961331"/>
                  </a:cubicBezTo>
                  <a:cubicBezTo>
                    <a:pt x="407434" y="966148"/>
                    <a:pt x="400138" y="999149"/>
                    <a:pt x="399013" y="1004591"/>
                  </a:cubicBezTo>
                  <a:cubicBezTo>
                    <a:pt x="396432" y="1016631"/>
                    <a:pt x="395762" y="1032776"/>
                    <a:pt x="386716" y="1041070"/>
                  </a:cubicBezTo>
                  <a:cubicBezTo>
                    <a:pt x="368427" y="1054896"/>
                    <a:pt x="356443" y="1030814"/>
                    <a:pt x="363926" y="1014312"/>
                  </a:cubicBezTo>
                  <a:lnTo>
                    <a:pt x="363926" y="1014312"/>
                  </a:lnTo>
                  <a:cubicBezTo>
                    <a:pt x="370624" y="991658"/>
                    <a:pt x="378268" y="941441"/>
                    <a:pt x="389395" y="921193"/>
                  </a:cubicBezTo>
                  <a:cubicBezTo>
                    <a:pt x="406809" y="897022"/>
                    <a:pt x="434117" y="881056"/>
                    <a:pt x="450352" y="855369"/>
                  </a:cubicBezTo>
                  <a:cubicBezTo>
                    <a:pt x="475607" y="823972"/>
                    <a:pt x="485876" y="784192"/>
                    <a:pt x="492101" y="746284"/>
                  </a:cubicBezTo>
                  <a:cubicBezTo>
                    <a:pt x="545583" y="740039"/>
                    <a:pt x="605005" y="739059"/>
                    <a:pt x="661086" y="733885"/>
                  </a:cubicBezTo>
                  <a:cubicBezTo>
                    <a:pt x="660193" y="668328"/>
                    <a:pt x="661827" y="583593"/>
                    <a:pt x="662792" y="510097"/>
                  </a:cubicBezTo>
                  <a:cubicBezTo>
                    <a:pt x="664685" y="432764"/>
                    <a:pt x="663283" y="342679"/>
                    <a:pt x="676454" y="270520"/>
                  </a:cubicBezTo>
                  <a:cubicBezTo>
                    <a:pt x="676713" y="269093"/>
                    <a:pt x="678874" y="269183"/>
                    <a:pt x="679035" y="270609"/>
                  </a:cubicBezTo>
                  <a:cubicBezTo>
                    <a:pt x="695860" y="419295"/>
                    <a:pt x="691805" y="590816"/>
                    <a:pt x="693216" y="731566"/>
                  </a:cubicBezTo>
                  <a:cubicBezTo>
                    <a:pt x="722498" y="729514"/>
                    <a:pt x="753664" y="727552"/>
                    <a:pt x="784089" y="725769"/>
                  </a:cubicBezTo>
                  <a:cubicBezTo>
                    <a:pt x="793332" y="726394"/>
                    <a:pt x="804468" y="720863"/>
                    <a:pt x="811996" y="728889"/>
                  </a:cubicBezTo>
                  <a:cubicBezTo>
                    <a:pt x="818971" y="739148"/>
                    <a:pt x="804530" y="744054"/>
                    <a:pt x="796404" y="743161"/>
                  </a:cubicBezTo>
                  <a:cubicBezTo>
                    <a:pt x="763309" y="744588"/>
                    <a:pt x="727214" y="745748"/>
                    <a:pt x="693198" y="746284"/>
                  </a:cubicBezTo>
                  <a:cubicBezTo>
                    <a:pt x="693038" y="794091"/>
                    <a:pt x="690770" y="842347"/>
                    <a:pt x="688591" y="890600"/>
                  </a:cubicBezTo>
                  <a:cubicBezTo>
                    <a:pt x="686028" y="947416"/>
                    <a:pt x="683643" y="995136"/>
                    <a:pt x="680321" y="1043211"/>
                  </a:cubicBezTo>
                  <a:cubicBezTo>
                    <a:pt x="680304" y="1044997"/>
                    <a:pt x="678866" y="1046423"/>
                    <a:pt x="677116" y="1046334"/>
                  </a:cubicBezTo>
                  <a:close/>
                  <a:moveTo>
                    <a:pt x="264310" y="1040894"/>
                  </a:moveTo>
                  <a:cubicBezTo>
                    <a:pt x="261176" y="1040981"/>
                    <a:pt x="258247" y="1039376"/>
                    <a:pt x="256684" y="1036611"/>
                  </a:cubicBezTo>
                  <a:cubicBezTo>
                    <a:pt x="256907" y="1036789"/>
                    <a:pt x="257711" y="1037325"/>
                    <a:pt x="257943" y="1037414"/>
                  </a:cubicBezTo>
                  <a:cubicBezTo>
                    <a:pt x="257961" y="1037414"/>
                    <a:pt x="256961" y="1036611"/>
                    <a:pt x="254808" y="1035095"/>
                  </a:cubicBezTo>
                  <a:cubicBezTo>
                    <a:pt x="247915" y="1028138"/>
                    <a:pt x="248701" y="1018417"/>
                    <a:pt x="249799" y="1009497"/>
                  </a:cubicBezTo>
                  <a:cubicBezTo>
                    <a:pt x="256336" y="859561"/>
                    <a:pt x="280867" y="704629"/>
                    <a:pt x="263266" y="554871"/>
                  </a:cubicBezTo>
                  <a:cubicBezTo>
                    <a:pt x="264310" y="553623"/>
                    <a:pt x="266570" y="553623"/>
                    <a:pt x="267382" y="555228"/>
                  </a:cubicBezTo>
                  <a:cubicBezTo>
                    <a:pt x="285796" y="583948"/>
                    <a:pt x="295450" y="617575"/>
                    <a:pt x="298986" y="651380"/>
                  </a:cubicBezTo>
                  <a:cubicBezTo>
                    <a:pt x="305576" y="731387"/>
                    <a:pt x="293941" y="811218"/>
                    <a:pt x="290458" y="891047"/>
                  </a:cubicBezTo>
                  <a:cubicBezTo>
                    <a:pt x="290458" y="891047"/>
                    <a:pt x="282314" y="1016366"/>
                    <a:pt x="282314" y="1016366"/>
                  </a:cubicBezTo>
                  <a:cubicBezTo>
                    <a:pt x="281965" y="1024392"/>
                    <a:pt x="279706" y="1033669"/>
                    <a:pt x="271972" y="1037593"/>
                  </a:cubicBezTo>
                  <a:cubicBezTo>
                    <a:pt x="269820" y="1039466"/>
                    <a:pt x="267213" y="1040981"/>
                    <a:pt x="264310" y="1040894"/>
                  </a:cubicBezTo>
                  <a:close/>
                  <a:moveTo>
                    <a:pt x="22241" y="1038930"/>
                  </a:moveTo>
                  <a:cubicBezTo>
                    <a:pt x="16168" y="1039019"/>
                    <a:pt x="10810" y="1034470"/>
                    <a:pt x="9033" y="1028763"/>
                  </a:cubicBezTo>
                  <a:cubicBezTo>
                    <a:pt x="-11140" y="956871"/>
                    <a:pt x="10703" y="885783"/>
                    <a:pt x="27679" y="814964"/>
                  </a:cubicBezTo>
                  <a:lnTo>
                    <a:pt x="27679" y="814964"/>
                  </a:lnTo>
                  <a:cubicBezTo>
                    <a:pt x="54220" y="728445"/>
                    <a:pt x="55095" y="638447"/>
                    <a:pt x="66365" y="549253"/>
                  </a:cubicBezTo>
                  <a:cubicBezTo>
                    <a:pt x="84341" y="432853"/>
                    <a:pt x="158863" y="333759"/>
                    <a:pt x="234618" y="251788"/>
                  </a:cubicBezTo>
                  <a:cubicBezTo>
                    <a:pt x="202853" y="244920"/>
                    <a:pt x="213096" y="189530"/>
                    <a:pt x="217525" y="165984"/>
                  </a:cubicBezTo>
                  <a:cubicBezTo>
                    <a:pt x="227339" y="126826"/>
                    <a:pt x="261444" y="90526"/>
                    <a:pt x="303853" y="90793"/>
                  </a:cubicBezTo>
                  <a:cubicBezTo>
                    <a:pt x="312096" y="90615"/>
                    <a:pt x="320588" y="91595"/>
                    <a:pt x="328598" y="89097"/>
                  </a:cubicBezTo>
                  <a:cubicBezTo>
                    <a:pt x="348548" y="81070"/>
                    <a:pt x="349308" y="54580"/>
                    <a:pt x="361703" y="39239"/>
                  </a:cubicBezTo>
                  <a:cubicBezTo>
                    <a:pt x="394923" y="-3932"/>
                    <a:pt x="486019" y="-3754"/>
                    <a:pt x="532260" y="17297"/>
                  </a:cubicBezTo>
                  <a:cubicBezTo>
                    <a:pt x="534153" y="18188"/>
                    <a:pt x="533653" y="20061"/>
                    <a:pt x="531590" y="20150"/>
                  </a:cubicBezTo>
                  <a:cubicBezTo>
                    <a:pt x="507532" y="20328"/>
                    <a:pt x="479911" y="17920"/>
                    <a:pt x="457041" y="20685"/>
                  </a:cubicBezTo>
                  <a:cubicBezTo>
                    <a:pt x="428036" y="25056"/>
                    <a:pt x="389842" y="26839"/>
                    <a:pt x="373866" y="55381"/>
                  </a:cubicBezTo>
                  <a:cubicBezTo>
                    <a:pt x="365301" y="71347"/>
                    <a:pt x="361247" y="91238"/>
                    <a:pt x="345092" y="101853"/>
                  </a:cubicBezTo>
                  <a:cubicBezTo>
                    <a:pt x="332322" y="110505"/>
                    <a:pt x="316301" y="109612"/>
                    <a:pt x="301540" y="110773"/>
                  </a:cubicBezTo>
                  <a:cubicBezTo>
                    <a:pt x="277188" y="112646"/>
                    <a:pt x="254818" y="129681"/>
                    <a:pt x="243146" y="155102"/>
                  </a:cubicBezTo>
                  <a:cubicBezTo>
                    <a:pt x="234618" y="176062"/>
                    <a:pt x="226607" y="213436"/>
                    <a:pt x="239029" y="235467"/>
                  </a:cubicBezTo>
                  <a:cubicBezTo>
                    <a:pt x="242262" y="234931"/>
                    <a:pt x="245557" y="236536"/>
                    <a:pt x="246861" y="239569"/>
                  </a:cubicBezTo>
                  <a:cubicBezTo>
                    <a:pt x="292003" y="196309"/>
                    <a:pt x="340270" y="162772"/>
                    <a:pt x="397485" y="136728"/>
                  </a:cubicBezTo>
                  <a:cubicBezTo>
                    <a:pt x="401299" y="135034"/>
                    <a:pt x="401852" y="134319"/>
                    <a:pt x="403013" y="132447"/>
                  </a:cubicBezTo>
                  <a:cubicBezTo>
                    <a:pt x="407478" y="125132"/>
                    <a:pt x="418337" y="123349"/>
                    <a:pt x="426312" y="125400"/>
                  </a:cubicBezTo>
                  <a:cubicBezTo>
                    <a:pt x="427625" y="125757"/>
                    <a:pt x="430429" y="126650"/>
                    <a:pt x="430563" y="126650"/>
                  </a:cubicBezTo>
                  <a:cubicBezTo>
                    <a:pt x="482769" y="150107"/>
                    <a:pt x="514738" y="197738"/>
                    <a:pt x="563256" y="227527"/>
                  </a:cubicBezTo>
                  <a:cubicBezTo>
                    <a:pt x="574651" y="234752"/>
                    <a:pt x="586394" y="241085"/>
                    <a:pt x="599378" y="245098"/>
                  </a:cubicBezTo>
                  <a:cubicBezTo>
                    <a:pt x="607567" y="247685"/>
                    <a:pt x="616846" y="250629"/>
                    <a:pt x="620043" y="257855"/>
                  </a:cubicBezTo>
                  <a:cubicBezTo>
                    <a:pt x="623624" y="261779"/>
                    <a:pt x="622213" y="268290"/>
                    <a:pt x="617881" y="270966"/>
                  </a:cubicBezTo>
                  <a:cubicBezTo>
                    <a:pt x="610139" y="278903"/>
                    <a:pt x="597057" y="274086"/>
                    <a:pt x="587448" y="270520"/>
                  </a:cubicBezTo>
                  <a:cubicBezTo>
                    <a:pt x="520230" y="245634"/>
                    <a:pt x="473821" y="180879"/>
                    <a:pt x="419150" y="135746"/>
                  </a:cubicBezTo>
                  <a:cubicBezTo>
                    <a:pt x="418114" y="134944"/>
                    <a:pt x="416641" y="134766"/>
                    <a:pt x="415462" y="135391"/>
                  </a:cubicBezTo>
                  <a:cubicBezTo>
                    <a:pt x="309273" y="193633"/>
                    <a:pt x="219481" y="282740"/>
                    <a:pt x="156613" y="386562"/>
                  </a:cubicBezTo>
                  <a:cubicBezTo>
                    <a:pt x="107345" y="456402"/>
                    <a:pt x="84029" y="545329"/>
                    <a:pt x="82394" y="636485"/>
                  </a:cubicBezTo>
                  <a:cubicBezTo>
                    <a:pt x="79420" y="695709"/>
                    <a:pt x="72089" y="747710"/>
                    <a:pt x="56836" y="807738"/>
                  </a:cubicBezTo>
                  <a:cubicBezTo>
                    <a:pt x="39798" y="874813"/>
                    <a:pt x="22785" y="945722"/>
                    <a:pt x="35020" y="1015205"/>
                  </a:cubicBezTo>
                  <a:lnTo>
                    <a:pt x="35020" y="1015205"/>
                  </a:lnTo>
                  <a:cubicBezTo>
                    <a:pt x="38101" y="1026086"/>
                    <a:pt x="35708" y="1038486"/>
                    <a:pt x="22241" y="1038930"/>
                  </a:cubicBezTo>
                  <a:close/>
                  <a:moveTo>
                    <a:pt x="1107807" y="1020468"/>
                  </a:moveTo>
                  <a:cubicBezTo>
                    <a:pt x="1100753" y="1020468"/>
                    <a:pt x="1092957" y="1015830"/>
                    <a:pt x="1092519" y="1005839"/>
                  </a:cubicBezTo>
                  <a:cubicBezTo>
                    <a:pt x="1090295" y="954195"/>
                    <a:pt x="1080901" y="902464"/>
                    <a:pt x="1071569" y="851978"/>
                  </a:cubicBezTo>
                  <a:cubicBezTo>
                    <a:pt x="1021462" y="620697"/>
                    <a:pt x="1084884" y="330726"/>
                    <a:pt x="879330" y="161613"/>
                  </a:cubicBezTo>
                  <a:cubicBezTo>
                    <a:pt x="873614" y="167232"/>
                    <a:pt x="863077" y="163754"/>
                    <a:pt x="860621" y="156439"/>
                  </a:cubicBezTo>
                  <a:cubicBezTo>
                    <a:pt x="858746" y="150910"/>
                    <a:pt x="859228" y="145022"/>
                    <a:pt x="858049" y="139315"/>
                  </a:cubicBezTo>
                  <a:cubicBezTo>
                    <a:pt x="850602" y="106135"/>
                    <a:pt x="823248" y="77236"/>
                    <a:pt x="790582" y="67959"/>
                  </a:cubicBezTo>
                  <a:cubicBezTo>
                    <a:pt x="779116" y="64479"/>
                    <a:pt x="772114" y="62517"/>
                    <a:pt x="789859" y="61448"/>
                  </a:cubicBezTo>
                  <a:cubicBezTo>
                    <a:pt x="837769" y="62964"/>
                    <a:pt x="885706" y="109166"/>
                    <a:pt x="881758" y="157511"/>
                  </a:cubicBezTo>
                  <a:cubicBezTo>
                    <a:pt x="1124891" y="295673"/>
                    <a:pt x="1042394" y="623731"/>
                    <a:pt x="1102816" y="853139"/>
                  </a:cubicBezTo>
                  <a:lnTo>
                    <a:pt x="1102816" y="853139"/>
                  </a:lnTo>
                  <a:cubicBezTo>
                    <a:pt x="1106048" y="876418"/>
                    <a:pt x="1144385" y="1024303"/>
                    <a:pt x="1107807" y="1020468"/>
                  </a:cubicBezTo>
                  <a:lnTo>
                    <a:pt x="1107807" y="1020468"/>
                  </a:lnTo>
                  <a:close/>
                  <a:moveTo>
                    <a:pt x="937322" y="1008962"/>
                  </a:moveTo>
                  <a:cubicBezTo>
                    <a:pt x="917434" y="1005660"/>
                    <a:pt x="921435" y="977386"/>
                    <a:pt x="919515" y="961777"/>
                  </a:cubicBezTo>
                  <a:cubicBezTo>
                    <a:pt x="918104" y="946436"/>
                    <a:pt x="916318" y="931006"/>
                    <a:pt x="914434" y="915754"/>
                  </a:cubicBezTo>
                  <a:cubicBezTo>
                    <a:pt x="911728" y="894614"/>
                    <a:pt x="910469" y="870621"/>
                    <a:pt x="893573" y="855369"/>
                  </a:cubicBezTo>
                  <a:cubicBezTo>
                    <a:pt x="867729" y="831820"/>
                    <a:pt x="845118" y="803903"/>
                    <a:pt x="832464" y="770991"/>
                  </a:cubicBezTo>
                  <a:cubicBezTo>
                    <a:pt x="827597" y="763052"/>
                    <a:pt x="813479" y="720684"/>
                    <a:pt x="830098" y="747800"/>
                  </a:cubicBezTo>
                  <a:cubicBezTo>
                    <a:pt x="852878" y="785797"/>
                    <a:pt x="886482" y="814160"/>
                    <a:pt x="918845" y="843327"/>
                  </a:cubicBezTo>
                  <a:cubicBezTo>
                    <a:pt x="936268" y="862326"/>
                    <a:pt x="939054" y="888192"/>
                    <a:pt x="942743" y="912810"/>
                  </a:cubicBezTo>
                  <a:cubicBezTo>
                    <a:pt x="946136" y="934840"/>
                    <a:pt x="949226" y="957407"/>
                    <a:pt x="951682" y="980420"/>
                  </a:cubicBezTo>
                  <a:cubicBezTo>
                    <a:pt x="953629" y="991569"/>
                    <a:pt x="951673" y="1008605"/>
                    <a:pt x="937322" y="1008962"/>
                  </a:cubicBezTo>
                  <a:lnTo>
                    <a:pt x="937322" y="1008962"/>
                  </a:lnTo>
                  <a:close/>
                  <a:moveTo>
                    <a:pt x="1021739" y="1004056"/>
                  </a:moveTo>
                  <a:cubicBezTo>
                    <a:pt x="1002057" y="1002183"/>
                    <a:pt x="1005397" y="977119"/>
                    <a:pt x="1003950" y="962224"/>
                  </a:cubicBezTo>
                  <a:cubicBezTo>
                    <a:pt x="1000645" y="928687"/>
                    <a:pt x="996296" y="899163"/>
                    <a:pt x="990796" y="867766"/>
                  </a:cubicBezTo>
                  <a:cubicBezTo>
                    <a:pt x="975248" y="784993"/>
                    <a:pt x="949351" y="684292"/>
                    <a:pt x="950655" y="605535"/>
                  </a:cubicBezTo>
                  <a:cubicBezTo>
                    <a:pt x="952959" y="510809"/>
                    <a:pt x="960665" y="430713"/>
                    <a:pt x="965890" y="332241"/>
                  </a:cubicBezTo>
                  <a:cubicBezTo>
                    <a:pt x="965881" y="330994"/>
                    <a:pt x="967943" y="330815"/>
                    <a:pt x="967961" y="332152"/>
                  </a:cubicBezTo>
                  <a:cubicBezTo>
                    <a:pt x="968193" y="342768"/>
                    <a:pt x="968417" y="353471"/>
                    <a:pt x="968685" y="366314"/>
                  </a:cubicBezTo>
                  <a:cubicBezTo>
                    <a:pt x="971560" y="507153"/>
                    <a:pt x="967301" y="628101"/>
                    <a:pt x="1000164" y="768226"/>
                  </a:cubicBezTo>
                  <a:cubicBezTo>
                    <a:pt x="1004012" y="797926"/>
                    <a:pt x="1064568" y="1007890"/>
                    <a:pt x="1021739" y="1004056"/>
                  </a:cubicBezTo>
                  <a:lnTo>
                    <a:pt x="1021739" y="1004056"/>
                  </a:lnTo>
                  <a:close/>
                  <a:moveTo>
                    <a:pt x="672588" y="241263"/>
                  </a:moveTo>
                  <a:cubicBezTo>
                    <a:pt x="660443" y="241263"/>
                    <a:pt x="649843" y="234395"/>
                    <a:pt x="640520" y="227259"/>
                  </a:cubicBezTo>
                  <a:cubicBezTo>
                    <a:pt x="608898" y="203356"/>
                    <a:pt x="581259" y="178381"/>
                    <a:pt x="555987" y="148323"/>
                  </a:cubicBezTo>
                  <a:cubicBezTo>
                    <a:pt x="545012" y="139136"/>
                    <a:pt x="486966" y="49138"/>
                    <a:pt x="530384" y="96679"/>
                  </a:cubicBezTo>
                  <a:cubicBezTo>
                    <a:pt x="529652" y="80445"/>
                    <a:pt x="529321" y="63410"/>
                    <a:pt x="533108" y="47622"/>
                  </a:cubicBezTo>
                  <a:cubicBezTo>
                    <a:pt x="536751" y="33708"/>
                    <a:pt x="557067" y="31924"/>
                    <a:pt x="562943" y="45125"/>
                  </a:cubicBezTo>
                  <a:cubicBezTo>
                    <a:pt x="568284" y="55294"/>
                    <a:pt x="558773" y="65461"/>
                    <a:pt x="553968" y="73934"/>
                  </a:cubicBezTo>
                  <a:lnTo>
                    <a:pt x="553968" y="73934"/>
                  </a:lnTo>
                  <a:cubicBezTo>
                    <a:pt x="548513" y="83657"/>
                    <a:pt x="540591" y="91595"/>
                    <a:pt x="534215" y="100782"/>
                  </a:cubicBezTo>
                  <a:cubicBezTo>
                    <a:pt x="572981" y="142170"/>
                    <a:pt x="614328" y="183466"/>
                    <a:pt x="660460" y="214059"/>
                  </a:cubicBezTo>
                  <a:cubicBezTo>
                    <a:pt x="675552" y="226637"/>
                    <a:pt x="691073" y="209331"/>
                    <a:pt x="701861" y="198450"/>
                  </a:cubicBezTo>
                  <a:cubicBezTo>
                    <a:pt x="725329" y="176240"/>
                    <a:pt x="746074" y="151890"/>
                    <a:pt x="763970" y="124864"/>
                  </a:cubicBezTo>
                  <a:cubicBezTo>
                    <a:pt x="753736" y="109255"/>
                    <a:pt x="759317" y="85084"/>
                    <a:pt x="757567" y="66798"/>
                  </a:cubicBezTo>
                  <a:cubicBezTo>
                    <a:pt x="757773" y="26572"/>
                    <a:pt x="776463" y="81338"/>
                    <a:pt x="780696" y="91416"/>
                  </a:cubicBezTo>
                  <a:lnTo>
                    <a:pt x="780696" y="91416"/>
                  </a:lnTo>
                  <a:cubicBezTo>
                    <a:pt x="782509" y="95965"/>
                    <a:pt x="784259" y="100871"/>
                    <a:pt x="786036" y="105777"/>
                  </a:cubicBezTo>
                  <a:cubicBezTo>
                    <a:pt x="786813" y="106492"/>
                    <a:pt x="787537" y="107204"/>
                    <a:pt x="788162" y="108007"/>
                  </a:cubicBezTo>
                  <a:cubicBezTo>
                    <a:pt x="797851" y="113536"/>
                    <a:pt x="793055" y="125668"/>
                    <a:pt x="787688" y="132536"/>
                  </a:cubicBezTo>
                  <a:cubicBezTo>
                    <a:pt x="764434" y="165805"/>
                    <a:pt x="714256" y="236714"/>
                    <a:pt x="672588" y="241263"/>
                  </a:cubicBezTo>
                  <a:close/>
                </a:path>
              </a:pathLst>
            </a:custGeom>
            <a:solidFill>
              <a:schemeClr val="bg1"/>
            </a:solidFill>
            <a:ln w="8890" cap="flat">
              <a:noFill/>
              <a:prstDash val="solid"/>
              <a:miter/>
            </a:ln>
          </p:spPr>
          <p:txBody>
            <a:bodyPr rtlCol="0" anchor="ctr"/>
            <a:lstStyle/>
            <a:p>
              <a:endParaRPr lang="en-GB">
                <a:solidFill>
                  <a:schemeClr val="bg1"/>
                </a:solidFill>
              </a:endParaRPr>
            </a:p>
          </p:txBody>
        </p:sp>
        <p:sp>
          <p:nvSpPr>
            <p:cNvPr id="312" name="Freeform: Shape 311">
              <a:extLst>
                <a:ext uri="{FF2B5EF4-FFF2-40B4-BE49-F238E27FC236}">
                  <a16:creationId xmlns:a16="http://schemas.microsoft.com/office/drawing/2014/main" id="{FD82F061-4C05-CB97-2718-DEE70E118330}"/>
                </a:ext>
              </a:extLst>
            </p:cNvPr>
            <p:cNvSpPr/>
            <p:nvPr/>
          </p:nvSpPr>
          <p:spPr>
            <a:xfrm>
              <a:off x="9215861" y="2952724"/>
              <a:ext cx="483710" cy="567188"/>
            </a:xfrm>
            <a:custGeom>
              <a:avLst/>
              <a:gdLst>
                <a:gd name="connsiteX0" fmla="*/ 249846 w 483710"/>
                <a:gd name="connsiteY0" fmla="*/ 2095 h 567188"/>
                <a:gd name="connsiteX1" fmla="*/ 419071 w 483710"/>
                <a:gd name="connsiteY1" fmla="*/ 58467 h 567188"/>
                <a:gd name="connsiteX2" fmla="*/ 429787 w 483710"/>
                <a:gd name="connsiteY2" fmla="*/ 99586 h 567188"/>
                <a:gd name="connsiteX3" fmla="*/ 483280 w 483710"/>
                <a:gd name="connsiteY3" fmla="*/ 447533 h 567188"/>
                <a:gd name="connsiteX4" fmla="*/ 304141 w 483710"/>
                <a:gd name="connsiteY4" fmla="*/ 569284 h 567188"/>
                <a:gd name="connsiteX5" fmla="*/ 106874 w 483710"/>
                <a:gd name="connsiteY5" fmla="*/ 494003 h 567188"/>
                <a:gd name="connsiteX6" fmla="*/ 54186 w 483710"/>
                <a:gd name="connsiteY6" fmla="*/ 405077 h 567188"/>
                <a:gd name="connsiteX7" fmla="*/ 29896 w 483710"/>
                <a:gd name="connsiteY7" fmla="*/ 408377 h 567188"/>
                <a:gd name="connsiteX8" fmla="*/ 1229 w 483710"/>
                <a:gd name="connsiteY8" fmla="*/ 353879 h 567188"/>
                <a:gd name="connsiteX9" fmla="*/ 37039 w 483710"/>
                <a:gd name="connsiteY9" fmla="*/ 292781 h 567188"/>
                <a:gd name="connsiteX10" fmla="*/ 56597 w 483710"/>
                <a:gd name="connsiteY10" fmla="*/ 69705 h 567188"/>
                <a:gd name="connsiteX11" fmla="*/ 249846 w 483710"/>
                <a:gd name="connsiteY11" fmla="*/ 2095 h 56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10" h="567188">
                  <a:moveTo>
                    <a:pt x="249846" y="2095"/>
                  </a:moveTo>
                  <a:cubicBezTo>
                    <a:pt x="311196" y="2095"/>
                    <a:pt x="387637" y="20916"/>
                    <a:pt x="419071" y="58467"/>
                  </a:cubicBezTo>
                  <a:cubicBezTo>
                    <a:pt x="426662" y="67475"/>
                    <a:pt x="428180" y="90131"/>
                    <a:pt x="429787" y="99586"/>
                  </a:cubicBezTo>
                  <a:cubicBezTo>
                    <a:pt x="439701" y="157116"/>
                    <a:pt x="495157" y="376803"/>
                    <a:pt x="483280" y="447533"/>
                  </a:cubicBezTo>
                  <a:cubicBezTo>
                    <a:pt x="471313" y="518354"/>
                    <a:pt x="407016" y="569284"/>
                    <a:pt x="304141" y="569284"/>
                  </a:cubicBezTo>
                  <a:cubicBezTo>
                    <a:pt x="201265" y="569284"/>
                    <a:pt x="124466" y="513270"/>
                    <a:pt x="106874" y="494003"/>
                  </a:cubicBezTo>
                  <a:cubicBezTo>
                    <a:pt x="89281" y="474738"/>
                    <a:pt x="54186" y="405077"/>
                    <a:pt x="54186" y="405077"/>
                  </a:cubicBezTo>
                  <a:cubicBezTo>
                    <a:pt x="54186" y="405077"/>
                    <a:pt x="40612" y="412926"/>
                    <a:pt x="29896" y="408377"/>
                  </a:cubicBezTo>
                  <a:cubicBezTo>
                    <a:pt x="14982" y="402044"/>
                    <a:pt x="1408" y="380013"/>
                    <a:pt x="1229" y="353879"/>
                  </a:cubicBezTo>
                  <a:cubicBezTo>
                    <a:pt x="962" y="309015"/>
                    <a:pt x="37039" y="292781"/>
                    <a:pt x="37039" y="292781"/>
                  </a:cubicBezTo>
                  <a:cubicBezTo>
                    <a:pt x="37039" y="292781"/>
                    <a:pt x="24181" y="115729"/>
                    <a:pt x="56597" y="69705"/>
                  </a:cubicBezTo>
                  <a:cubicBezTo>
                    <a:pt x="88924" y="23592"/>
                    <a:pt x="173850" y="2095"/>
                    <a:pt x="249846" y="2095"/>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313" name="Freeform: Shape 312">
              <a:extLst>
                <a:ext uri="{FF2B5EF4-FFF2-40B4-BE49-F238E27FC236}">
                  <a16:creationId xmlns:a16="http://schemas.microsoft.com/office/drawing/2014/main" id="{B75456F8-46F7-471C-FF95-52D4B32E0DFF}"/>
                </a:ext>
              </a:extLst>
            </p:cNvPr>
            <p:cNvSpPr/>
            <p:nvPr/>
          </p:nvSpPr>
          <p:spPr>
            <a:xfrm>
              <a:off x="9210799" y="2912180"/>
              <a:ext cx="501882" cy="616919"/>
            </a:xfrm>
            <a:custGeom>
              <a:avLst/>
              <a:gdLst>
                <a:gd name="connsiteX0" fmla="*/ 313578 w 501882"/>
                <a:gd name="connsiteY0" fmla="*/ 619015 h 616919"/>
                <a:gd name="connsiteX1" fmla="*/ 266516 w 501882"/>
                <a:gd name="connsiteY1" fmla="*/ 613930 h 616919"/>
                <a:gd name="connsiteX2" fmla="*/ 259194 w 501882"/>
                <a:gd name="connsiteY2" fmla="*/ 589046 h 616919"/>
                <a:gd name="connsiteX3" fmla="*/ 462087 w 501882"/>
                <a:gd name="connsiteY3" fmla="*/ 524201 h 616919"/>
                <a:gd name="connsiteX4" fmla="*/ 470035 w 501882"/>
                <a:gd name="connsiteY4" fmla="*/ 401201 h 616919"/>
                <a:gd name="connsiteX5" fmla="*/ 444226 w 501882"/>
                <a:gd name="connsiteY5" fmla="*/ 232177 h 616919"/>
                <a:gd name="connsiteX6" fmla="*/ 444226 w 501882"/>
                <a:gd name="connsiteY6" fmla="*/ 232177 h 616919"/>
                <a:gd name="connsiteX7" fmla="*/ 434046 w 501882"/>
                <a:gd name="connsiteY7" fmla="*/ 151634 h 616919"/>
                <a:gd name="connsiteX8" fmla="*/ 433421 w 501882"/>
                <a:gd name="connsiteY8" fmla="*/ 130764 h 616919"/>
                <a:gd name="connsiteX9" fmla="*/ 442262 w 501882"/>
                <a:gd name="connsiteY9" fmla="*/ 156808 h 616919"/>
                <a:gd name="connsiteX10" fmla="*/ 471820 w 501882"/>
                <a:gd name="connsiteY10" fmla="*/ 282841 h 616919"/>
                <a:gd name="connsiteX11" fmla="*/ 498968 w 501882"/>
                <a:gd name="connsiteY11" fmla="*/ 430100 h 616919"/>
                <a:gd name="connsiteX12" fmla="*/ 489235 w 501882"/>
                <a:gd name="connsiteY12" fmla="*/ 531157 h 616919"/>
                <a:gd name="connsiteX13" fmla="*/ 313578 w 501882"/>
                <a:gd name="connsiteY13" fmla="*/ 619015 h 616919"/>
                <a:gd name="connsiteX14" fmla="*/ 142655 w 501882"/>
                <a:gd name="connsiteY14" fmla="*/ 559879 h 616919"/>
                <a:gd name="connsiteX15" fmla="*/ 60409 w 501882"/>
                <a:gd name="connsiteY15" fmla="*/ 450794 h 616919"/>
                <a:gd name="connsiteX16" fmla="*/ 38529 w 501882"/>
                <a:gd name="connsiteY16" fmla="*/ 459535 h 616919"/>
                <a:gd name="connsiteX17" fmla="*/ 23438 w 501882"/>
                <a:gd name="connsiteY17" fmla="*/ 341262 h 616919"/>
                <a:gd name="connsiteX18" fmla="*/ 22366 w 501882"/>
                <a:gd name="connsiteY18" fmla="*/ 193021 h 616919"/>
                <a:gd name="connsiteX19" fmla="*/ 32726 w 501882"/>
                <a:gd name="connsiteY19" fmla="*/ 115512 h 616919"/>
                <a:gd name="connsiteX20" fmla="*/ 105863 w 501882"/>
                <a:gd name="connsiteY20" fmla="*/ 4999 h 616919"/>
                <a:gd name="connsiteX21" fmla="*/ 140154 w 501882"/>
                <a:gd name="connsiteY21" fmla="*/ 2144 h 616919"/>
                <a:gd name="connsiteX22" fmla="*/ 353229 w 501882"/>
                <a:gd name="connsiteY22" fmla="*/ 6871 h 616919"/>
                <a:gd name="connsiteX23" fmla="*/ 410560 w 501882"/>
                <a:gd name="connsiteY23" fmla="*/ 7675 h 616919"/>
                <a:gd name="connsiteX24" fmla="*/ 449495 w 501882"/>
                <a:gd name="connsiteY24" fmla="*/ 20876 h 616919"/>
                <a:gd name="connsiteX25" fmla="*/ 460033 w 501882"/>
                <a:gd name="connsiteY25" fmla="*/ 21768 h 616919"/>
                <a:gd name="connsiteX26" fmla="*/ 468160 w 501882"/>
                <a:gd name="connsiteY26" fmla="*/ 35326 h 616919"/>
                <a:gd name="connsiteX27" fmla="*/ 459319 w 501882"/>
                <a:gd name="connsiteY27" fmla="*/ 73323 h 616919"/>
                <a:gd name="connsiteX28" fmla="*/ 449852 w 501882"/>
                <a:gd name="connsiteY28" fmla="*/ 121844 h 616919"/>
                <a:gd name="connsiteX29" fmla="*/ 427348 w 501882"/>
                <a:gd name="connsiteY29" fmla="*/ 116760 h 616919"/>
                <a:gd name="connsiteX30" fmla="*/ 121312 w 501882"/>
                <a:gd name="connsiteY30" fmla="*/ 146998 h 616919"/>
                <a:gd name="connsiteX31" fmla="*/ 114525 w 501882"/>
                <a:gd name="connsiteY31" fmla="*/ 168225 h 616919"/>
                <a:gd name="connsiteX32" fmla="*/ 119079 w 501882"/>
                <a:gd name="connsiteY32" fmla="*/ 180089 h 616919"/>
                <a:gd name="connsiteX33" fmla="*/ 129170 w 501882"/>
                <a:gd name="connsiteY33" fmla="*/ 208184 h 616919"/>
                <a:gd name="connsiteX34" fmla="*/ 111310 w 501882"/>
                <a:gd name="connsiteY34" fmla="*/ 233784 h 616919"/>
                <a:gd name="connsiteX35" fmla="*/ 86574 w 501882"/>
                <a:gd name="connsiteY35" fmla="*/ 286408 h 616919"/>
                <a:gd name="connsiteX36" fmla="*/ 88271 w 501882"/>
                <a:gd name="connsiteY36" fmla="*/ 338141 h 616919"/>
                <a:gd name="connsiteX37" fmla="*/ 74162 w 501882"/>
                <a:gd name="connsiteY37" fmla="*/ 351342 h 616919"/>
                <a:gd name="connsiteX38" fmla="*/ 71661 w 501882"/>
                <a:gd name="connsiteY38" fmla="*/ 350449 h 616919"/>
                <a:gd name="connsiteX39" fmla="*/ 37905 w 501882"/>
                <a:gd name="connsiteY39" fmla="*/ 349201 h 616919"/>
                <a:gd name="connsiteX40" fmla="*/ 40227 w 501882"/>
                <a:gd name="connsiteY40" fmla="*/ 436344 h 616919"/>
                <a:gd name="connsiteX41" fmla="*/ 62105 w 501882"/>
                <a:gd name="connsiteY41" fmla="*/ 446601 h 616919"/>
                <a:gd name="connsiteX42" fmla="*/ 149978 w 501882"/>
                <a:gd name="connsiteY42" fmla="*/ 540434 h 616919"/>
                <a:gd name="connsiteX43" fmla="*/ 142655 w 501882"/>
                <a:gd name="connsiteY43" fmla="*/ 559879 h 616919"/>
                <a:gd name="connsiteX44" fmla="*/ 68713 w 501882"/>
                <a:gd name="connsiteY44" fmla="*/ 414491 h 616919"/>
                <a:gd name="connsiteX45" fmla="*/ 59158 w 501882"/>
                <a:gd name="connsiteY45" fmla="*/ 406731 h 616919"/>
                <a:gd name="connsiteX46" fmla="*/ 34690 w 501882"/>
                <a:gd name="connsiteY46" fmla="*/ 384879 h 616919"/>
                <a:gd name="connsiteX47" fmla="*/ 34154 w 501882"/>
                <a:gd name="connsiteY47" fmla="*/ 382828 h 616919"/>
                <a:gd name="connsiteX48" fmla="*/ 66035 w 501882"/>
                <a:gd name="connsiteY48" fmla="*/ 384522 h 616919"/>
                <a:gd name="connsiteX49" fmla="*/ 68713 w 501882"/>
                <a:gd name="connsiteY49" fmla="*/ 414491 h 61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01882" h="616919">
                  <a:moveTo>
                    <a:pt x="313578" y="619015"/>
                  </a:moveTo>
                  <a:cubicBezTo>
                    <a:pt x="297772" y="619015"/>
                    <a:pt x="282055" y="617230"/>
                    <a:pt x="266516" y="613930"/>
                  </a:cubicBezTo>
                  <a:cubicBezTo>
                    <a:pt x="246067" y="612236"/>
                    <a:pt x="225527" y="587886"/>
                    <a:pt x="259194" y="589046"/>
                  </a:cubicBezTo>
                  <a:cubicBezTo>
                    <a:pt x="330725" y="605278"/>
                    <a:pt x="410381" y="593237"/>
                    <a:pt x="462087" y="524201"/>
                  </a:cubicBezTo>
                  <a:cubicBezTo>
                    <a:pt x="486376" y="487274"/>
                    <a:pt x="476464" y="442856"/>
                    <a:pt x="470035" y="401201"/>
                  </a:cubicBezTo>
                  <a:cubicBezTo>
                    <a:pt x="459407" y="333681"/>
                    <a:pt x="453067" y="290153"/>
                    <a:pt x="444226" y="232177"/>
                  </a:cubicBezTo>
                  <a:lnTo>
                    <a:pt x="444226" y="232177"/>
                  </a:lnTo>
                  <a:cubicBezTo>
                    <a:pt x="440208" y="204796"/>
                    <a:pt x="435921" y="180089"/>
                    <a:pt x="434046" y="151634"/>
                  </a:cubicBezTo>
                  <a:cubicBezTo>
                    <a:pt x="433600" y="144855"/>
                    <a:pt x="431724" y="130942"/>
                    <a:pt x="433421" y="130764"/>
                  </a:cubicBezTo>
                  <a:cubicBezTo>
                    <a:pt x="435028" y="130675"/>
                    <a:pt x="439493" y="148246"/>
                    <a:pt x="442262" y="156808"/>
                  </a:cubicBezTo>
                  <a:cubicBezTo>
                    <a:pt x="455300" y="197749"/>
                    <a:pt x="461640" y="236014"/>
                    <a:pt x="471820" y="282841"/>
                  </a:cubicBezTo>
                  <a:cubicBezTo>
                    <a:pt x="481108" y="331452"/>
                    <a:pt x="490842" y="380687"/>
                    <a:pt x="498968" y="430100"/>
                  </a:cubicBezTo>
                  <a:cubicBezTo>
                    <a:pt x="504684" y="463727"/>
                    <a:pt x="506916" y="500653"/>
                    <a:pt x="489235" y="531157"/>
                  </a:cubicBezTo>
                  <a:cubicBezTo>
                    <a:pt x="453871" y="590650"/>
                    <a:pt x="380376" y="618122"/>
                    <a:pt x="313578" y="619015"/>
                  </a:cubicBezTo>
                  <a:close/>
                  <a:moveTo>
                    <a:pt x="142655" y="559879"/>
                  </a:moveTo>
                  <a:cubicBezTo>
                    <a:pt x="99880" y="546500"/>
                    <a:pt x="68267" y="493250"/>
                    <a:pt x="60409" y="450794"/>
                  </a:cubicBezTo>
                  <a:cubicBezTo>
                    <a:pt x="57015" y="459356"/>
                    <a:pt x="46745" y="461229"/>
                    <a:pt x="38529" y="459535"/>
                  </a:cubicBezTo>
                  <a:cubicBezTo>
                    <a:pt x="-6746" y="451864"/>
                    <a:pt x="-9603" y="362848"/>
                    <a:pt x="23438" y="341262"/>
                  </a:cubicBezTo>
                  <a:cubicBezTo>
                    <a:pt x="3434" y="294256"/>
                    <a:pt x="16561" y="241721"/>
                    <a:pt x="22366" y="193021"/>
                  </a:cubicBezTo>
                  <a:cubicBezTo>
                    <a:pt x="22366" y="193021"/>
                    <a:pt x="32726" y="115512"/>
                    <a:pt x="32726" y="115512"/>
                  </a:cubicBezTo>
                  <a:cubicBezTo>
                    <a:pt x="36922" y="70557"/>
                    <a:pt x="54246" y="13740"/>
                    <a:pt x="105863" y="4999"/>
                  </a:cubicBezTo>
                  <a:cubicBezTo>
                    <a:pt x="117115" y="2679"/>
                    <a:pt x="128635" y="1878"/>
                    <a:pt x="140154" y="2144"/>
                  </a:cubicBezTo>
                  <a:cubicBezTo>
                    <a:pt x="171499" y="2769"/>
                    <a:pt x="302952" y="5802"/>
                    <a:pt x="353229" y="6871"/>
                  </a:cubicBezTo>
                  <a:cubicBezTo>
                    <a:pt x="367873" y="7228"/>
                    <a:pt x="395647" y="7407"/>
                    <a:pt x="410560" y="7675"/>
                  </a:cubicBezTo>
                  <a:cubicBezTo>
                    <a:pt x="422704" y="9280"/>
                    <a:pt x="449228" y="2858"/>
                    <a:pt x="449495" y="20876"/>
                  </a:cubicBezTo>
                  <a:lnTo>
                    <a:pt x="460033" y="21768"/>
                  </a:lnTo>
                  <a:cubicBezTo>
                    <a:pt x="466731" y="21947"/>
                    <a:pt x="471196" y="29438"/>
                    <a:pt x="468160" y="35326"/>
                  </a:cubicBezTo>
                  <a:cubicBezTo>
                    <a:pt x="464587" y="42817"/>
                    <a:pt x="461729" y="59587"/>
                    <a:pt x="459319" y="73323"/>
                  </a:cubicBezTo>
                  <a:cubicBezTo>
                    <a:pt x="455210" y="90091"/>
                    <a:pt x="454854" y="108108"/>
                    <a:pt x="449852" y="121844"/>
                  </a:cubicBezTo>
                  <a:cubicBezTo>
                    <a:pt x="444226" y="131833"/>
                    <a:pt x="425831" y="129960"/>
                    <a:pt x="427348" y="116760"/>
                  </a:cubicBezTo>
                  <a:cubicBezTo>
                    <a:pt x="324562" y="113371"/>
                    <a:pt x="218830" y="115512"/>
                    <a:pt x="121312" y="146998"/>
                  </a:cubicBezTo>
                  <a:cubicBezTo>
                    <a:pt x="113543" y="151723"/>
                    <a:pt x="113722" y="160464"/>
                    <a:pt x="114525" y="168225"/>
                  </a:cubicBezTo>
                  <a:cubicBezTo>
                    <a:pt x="115151" y="175808"/>
                    <a:pt x="118008" y="174379"/>
                    <a:pt x="119079" y="180089"/>
                  </a:cubicBezTo>
                  <a:cubicBezTo>
                    <a:pt x="121580" y="189720"/>
                    <a:pt x="124705" y="199265"/>
                    <a:pt x="129170" y="208184"/>
                  </a:cubicBezTo>
                  <a:cubicBezTo>
                    <a:pt x="138369" y="221028"/>
                    <a:pt x="123813" y="233070"/>
                    <a:pt x="111310" y="233784"/>
                  </a:cubicBezTo>
                  <a:cubicBezTo>
                    <a:pt x="86128" y="235746"/>
                    <a:pt x="87913" y="267143"/>
                    <a:pt x="86574" y="286408"/>
                  </a:cubicBezTo>
                  <a:cubicBezTo>
                    <a:pt x="85413" y="303711"/>
                    <a:pt x="86752" y="321014"/>
                    <a:pt x="88271" y="338141"/>
                  </a:cubicBezTo>
                  <a:cubicBezTo>
                    <a:pt x="89432" y="348398"/>
                    <a:pt x="81573" y="358389"/>
                    <a:pt x="74162" y="351342"/>
                  </a:cubicBezTo>
                  <a:cubicBezTo>
                    <a:pt x="73178" y="350449"/>
                    <a:pt x="72643" y="351610"/>
                    <a:pt x="71661" y="350449"/>
                  </a:cubicBezTo>
                  <a:cubicBezTo>
                    <a:pt x="63087" y="340550"/>
                    <a:pt x="47906" y="341887"/>
                    <a:pt x="37905" y="349201"/>
                  </a:cubicBezTo>
                  <a:cubicBezTo>
                    <a:pt x="14955" y="363560"/>
                    <a:pt x="17812" y="425819"/>
                    <a:pt x="40227" y="436344"/>
                  </a:cubicBezTo>
                  <a:cubicBezTo>
                    <a:pt x="46567" y="438930"/>
                    <a:pt x="65053" y="435452"/>
                    <a:pt x="62105" y="446601"/>
                  </a:cubicBezTo>
                  <a:cubicBezTo>
                    <a:pt x="79788" y="479246"/>
                    <a:pt x="111489" y="524557"/>
                    <a:pt x="149978" y="540434"/>
                  </a:cubicBezTo>
                  <a:cubicBezTo>
                    <a:pt x="162391" y="544091"/>
                    <a:pt x="153550" y="561305"/>
                    <a:pt x="142655" y="559879"/>
                  </a:cubicBezTo>
                  <a:close/>
                  <a:moveTo>
                    <a:pt x="68713" y="414491"/>
                  </a:moveTo>
                  <a:cubicBezTo>
                    <a:pt x="64160" y="414670"/>
                    <a:pt x="60051" y="411191"/>
                    <a:pt x="59158" y="406731"/>
                  </a:cubicBezTo>
                  <a:cubicBezTo>
                    <a:pt x="56568" y="395939"/>
                    <a:pt x="45853" y="386305"/>
                    <a:pt x="34690" y="384879"/>
                  </a:cubicBezTo>
                  <a:cubicBezTo>
                    <a:pt x="33797" y="384790"/>
                    <a:pt x="33171" y="383274"/>
                    <a:pt x="34154" y="382828"/>
                  </a:cubicBezTo>
                  <a:cubicBezTo>
                    <a:pt x="44334" y="377832"/>
                    <a:pt x="56390" y="378457"/>
                    <a:pt x="66035" y="384522"/>
                  </a:cubicBezTo>
                  <a:cubicBezTo>
                    <a:pt x="78448" y="391569"/>
                    <a:pt x="89878" y="411993"/>
                    <a:pt x="68713" y="41449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14" name="Freeform: Shape 313">
              <a:extLst>
                <a:ext uri="{FF2B5EF4-FFF2-40B4-BE49-F238E27FC236}">
                  <a16:creationId xmlns:a16="http://schemas.microsoft.com/office/drawing/2014/main" id="{DE19B782-23E1-FD02-E086-A6189F45E333}"/>
                </a:ext>
              </a:extLst>
            </p:cNvPr>
            <p:cNvSpPr/>
            <p:nvPr/>
          </p:nvSpPr>
          <p:spPr>
            <a:xfrm>
              <a:off x="9496529" y="3381750"/>
              <a:ext cx="95290" cy="46830"/>
            </a:xfrm>
            <a:custGeom>
              <a:avLst/>
              <a:gdLst>
                <a:gd name="connsiteX0" fmla="*/ 49861 w 95290"/>
                <a:gd name="connsiteY0" fmla="*/ 48066 h 46830"/>
                <a:gd name="connsiteX1" fmla="*/ 9881 w 95290"/>
                <a:gd name="connsiteY1" fmla="*/ 29602 h 46830"/>
                <a:gd name="connsiteX2" fmla="*/ 4559 w 95290"/>
                <a:gd name="connsiteY2" fmla="*/ 1239 h 46830"/>
                <a:gd name="connsiteX3" fmla="*/ 8104 w 95290"/>
                <a:gd name="connsiteY3" fmla="*/ 3380 h 46830"/>
                <a:gd name="connsiteX4" fmla="*/ 77080 w 95290"/>
                <a:gd name="connsiteY4" fmla="*/ 14350 h 46830"/>
                <a:gd name="connsiteX5" fmla="*/ 84171 w 95290"/>
                <a:gd name="connsiteY5" fmla="*/ 10872 h 46830"/>
                <a:gd name="connsiteX6" fmla="*/ 84234 w 95290"/>
                <a:gd name="connsiteY6" fmla="*/ 10872 h 46830"/>
                <a:gd name="connsiteX7" fmla="*/ 91771 w 95290"/>
                <a:gd name="connsiteY7" fmla="*/ 14261 h 46830"/>
                <a:gd name="connsiteX8" fmla="*/ 95289 w 95290"/>
                <a:gd name="connsiteY8" fmla="*/ 21842 h 46830"/>
                <a:gd name="connsiteX9" fmla="*/ 92369 w 95290"/>
                <a:gd name="connsiteY9" fmla="*/ 29425 h 46830"/>
                <a:gd name="connsiteX10" fmla="*/ 49861 w 95290"/>
                <a:gd name="connsiteY10" fmla="*/ 48066 h 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90" h="46830">
                  <a:moveTo>
                    <a:pt x="49861" y="48066"/>
                  </a:moveTo>
                  <a:cubicBezTo>
                    <a:pt x="34609" y="48245"/>
                    <a:pt x="19811" y="41109"/>
                    <a:pt x="9881" y="29602"/>
                  </a:cubicBezTo>
                  <a:cubicBezTo>
                    <a:pt x="4425" y="24072"/>
                    <a:pt x="-6023" y="2844"/>
                    <a:pt x="4559" y="1239"/>
                  </a:cubicBezTo>
                  <a:cubicBezTo>
                    <a:pt x="6032" y="1239"/>
                    <a:pt x="7488" y="2041"/>
                    <a:pt x="8104" y="3380"/>
                  </a:cubicBezTo>
                  <a:cubicBezTo>
                    <a:pt x="24464" y="28978"/>
                    <a:pt x="55559" y="39325"/>
                    <a:pt x="77080" y="14350"/>
                  </a:cubicBezTo>
                  <a:cubicBezTo>
                    <a:pt x="78804" y="12210"/>
                    <a:pt x="81403" y="10961"/>
                    <a:pt x="84171" y="10872"/>
                  </a:cubicBezTo>
                  <a:lnTo>
                    <a:pt x="84234" y="10872"/>
                  </a:lnTo>
                  <a:cubicBezTo>
                    <a:pt x="87082" y="10961"/>
                    <a:pt x="89797" y="12120"/>
                    <a:pt x="91771" y="14261"/>
                  </a:cubicBezTo>
                  <a:cubicBezTo>
                    <a:pt x="93851" y="16223"/>
                    <a:pt x="95110" y="18989"/>
                    <a:pt x="95289" y="21842"/>
                  </a:cubicBezTo>
                  <a:cubicBezTo>
                    <a:pt x="95387" y="24697"/>
                    <a:pt x="94334" y="27372"/>
                    <a:pt x="92369" y="29425"/>
                  </a:cubicBezTo>
                  <a:cubicBezTo>
                    <a:pt x="81537" y="41019"/>
                    <a:pt x="65811" y="48066"/>
                    <a:pt x="49861" y="4806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5" name="Freeform: Shape 314">
              <a:extLst>
                <a:ext uri="{FF2B5EF4-FFF2-40B4-BE49-F238E27FC236}">
                  <a16:creationId xmlns:a16="http://schemas.microsoft.com/office/drawing/2014/main" id="{B59D6902-D05E-80FF-5757-029B4B483DBC}"/>
                </a:ext>
              </a:extLst>
            </p:cNvPr>
            <p:cNvSpPr/>
            <p:nvPr/>
          </p:nvSpPr>
          <p:spPr>
            <a:xfrm>
              <a:off x="9523202" y="3290857"/>
              <a:ext cx="70846" cy="63352"/>
            </a:xfrm>
            <a:custGeom>
              <a:avLst/>
              <a:gdLst>
                <a:gd name="connsiteX0" fmla="*/ 39147 w 70846"/>
                <a:gd name="connsiteY0" fmla="*/ 64572 h 63352"/>
                <a:gd name="connsiteX1" fmla="*/ 3810 w 70846"/>
                <a:gd name="connsiteY1" fmla="*/ 36118 h 63352"/>
                <a:gd name="connsiteX2" fmla="*/ 8954 w 70846"/>
                <a:gd name="connsiteY2" fmla="*/ 34067 h 63352"/>
                <a:gd name="connsiteX3" fmla="*/ 12937 w 70846"/>
                <a:gd name="connsiteY3" fmla="*/ 35316 h 63352"/>
                <a:gd name="connsiteX4" fmla="*/ 53274 w 70846"/>
                <a:gd name="connsiteY4" fmla="*/ 44235 h 63352"/>
                <a:gd name="connsiteX5" fmla="*/ 38629 w 70846"/>
                <a:gd name="connsiteY5" fmla="*/ 8558 h 63352"/>
                <a:gd name="connsiteX6" fmla="*/ 37718 w 70846"/>
                <a:gd name="connsiteY6" fmla="*/ 4632 h 63352"/>
                <a:gd name="connsiteX7" fmla="*/ 42594 w 70846"/>
                <a:gd name="connsiteY7" fmla="*/ 1243 h 63352"/>
                <a:gd name="connsiteX8" fmla="*/ 70634 w 70846"/>
                <a:gd name="connsiteY8" fmla="*/ 34869 h 63352"/>
                <a:gd name="connsiteX9" fmla="*/ 39147 w 70846"/>
                <a:gd name="connsiteY9" fmla="*/ 64572 h 6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46" h="63352">
                  <a:moveTo>
                    <a:pt x="39147" y="64572"/>
                  </a:moveTo>
                  <a:cubicBezTo>
                    <a:pt x="27939" y="64928"/>
                    <a:pt x="-12443" y="51193"/>
                    <a:pt x="3810" y="36118"/>
                  </a:cubicBezTo>
                  <a:cubicBezTo>
                    <a:pt x="5230" y="34780"/>
                    <a:pt x="7061" y="34156"/>
                    <a:pt x="8954" y="34067"/>
                  </a:cubicBezTo>
                  <a:cubicBezTo>
                    <a:pt x="10374" y="34067"/>
                    <a:pt x="11758" y="34513"/>
                    <a:pt x="12937" y="35316"/>
                  </a:cubicBezTo>
                  <a:cubicBezTo>
                    <a:pt x="22849" y="43254"/>
                    <a:pt x="41353" y="57168"/>
                    <a:pt x="53274" y="44235"/>
                  </a:cubicBezTo>
                  <a:cubicBezTo>
                    <a:pt x="64901" y="30142"/>
                    <a:pt x="46746" y="12571"/>
                    <a:pt x="38629" y="8558"/>
                  </a:cubicBezTo>
                  <a:cubicBezTo>
                    <a:pt x="37513" y="7577"/>
                    <a:pt x="37146" y="6060"/>
                    <a:pt x="37718" y="4632"/>
                  </a:cubicBezTo>
                  <a:cubicBezTo>
                    <a:pt x="38397" y="2581"/>
                    <a:pt x="40379" y="1154"/>
                    <a:pt x="42594" y="1243"/>
                  </a:cubicBezTo>
                  <a:cubicBezTo>
                    <a:pt x="59320" y="2492"/>
                    <a:pt x="72733" y="18101"/>
                    <a:pt x="70634" y="34869"/>
                  </a:cubicBezTo>
                  <a:cubicBezTo>
                    <a:pt x="69688" y="51014"/>
                    <a:pt x="55632" y="65196"/>
                    <a:pt x="39147" y="64572"/>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6" name="Freeform: Shape 315">
              <a:extLst>
                <a:ext uri="{FF2B5EF4-FFF2-40B4-BE49-F238E27FC236}">
                  <a16:creationId xmlns:a16="http://schemas.microsoft.com/office/drawing/2014/main" id="{01F88240-E84D-8EEF-E0C6-C9E0CB193D7A}"/>
                </a:ext>
              </a:extLst>
            </p:cNvPr>
            <p:cNvSpPr/>
            <p:nvPr/>
          </p:nvSpPr>
          <p:spPr>
            <a:xfrm>
              <a:off x="9428118" y="3251827"/>
              <a:ext cx="69559" cy="50897"/>
            </a:xfrm>
            <a:custGeom>
              <a:avLst/>
              <a:gdLst>
                <a:gd name="connsiteX0" fmla="*/ 6003 w 69559"/>
                <a:gd name="connsiteY0" fmla="*/ 52136 h 50897"/>
                <a:gd name="connsiteX1" fmla="*/ 4145 w 69559"/>
                <a:gd name="connsiteY1" fmla="*/ 51869 h 50897"/>
                <a:gd name="connsiteX2" fmla="*/ 1600 w 69559"/>
                <a:gd name="connsiteY2" fmla="*/ 49728 h 50897"/>
                <a:gd name="connsiteX3" fmla="*/ 3163 w 69559"/>
                <a:gd name="connsiteY3" fmla="*/ 26270 h 50897"/>
                <a:gd name="connsiteX4" fmla="*/ 64745 w 69559"/>
                <a:gd name="connsiteY4" fmla="*/ 22078 h 50897"/>
                <a:gd name="connsiteX5" fmla="*/ 67710 w 69559"/>
                <a:gd name="connsiteY5" fmla="*/ 26270 h 50897"/>
                <a:gd name="connsiteX6" fmla="*/ 69148 w 69559"/>
                <a:gd name="connsiteY6" fmla="*/ 34208 h 50897"/>
                <a:gd name="connsiteX7" fmla="*/ 63307 w 69559"/>
                <a:gd name="connsiteY7" fmla="*/ 40273 h 50897"/>
                <a:gd name="connsiteX8" fmla="*/ 49635 w 69559"/>
                <a:gd name="connsiteY8" fmla="*/ 34564 h 50897"/>
                <a:gd name="connsiteX9" fmla="*/ 39080 w 69559"/>
                <a:gd name="connsiteY9" fmla="*/ 20561 h 50897"/>
                <a:gd name="connsiteX10" fmla="*/ 27765 w 69559"/>
                <a:gd name="connsiteY10" fmla="*/ 19669 h 50897"/>
                <a:gd name="connsiteX11" fmla="*/ 14602 w 69559"/>
                <a:gd name="connsiteY11" fmla="*/ 32781 h 50897"/>
                <a:gd name="connsiteX12" fmla="*/ 10280 w 69559"/>
                <a:gd name="connsiteY12" fmla="*/ 48122 h 50897"/>
                <a:gd name="connsiteX13" fmla="*/ 6708 w 69559"/>
                <a:gd name="connsiteY13" fmla="*/ 52136 h 50897"/>
                <a:gd name="connsiteX14" fmla="*/ 6003 w 69559"/>
                <a:gd name="connsiteY14" fmla="*/ 52136 h 5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59" h="50897">
                  <a:moveTo>
                    <a:pt x="6003" y="52136"/>
                  </a:moveTo>
                  <a:cubicBezTo>
                    <a:pt x="5378" y="52136"/>
                    <a:pt x="4743" y="52047"/>
                    <a:pt x="4145" y="51869"/>
                  </a:cubicBezTo>
                  <a:cubicBezTo>
                    <a:pt x="3002" y="51601"/>
                    <a:pt x="2056" y="50798"/>
                    <a:pt x="1600" y="49728"/>
                  </a:cubicBezTo>
                  <a:cubicBezTo>
                    <a:pt x="-1642" y="41076"/>
                    <a:pt x="662" y="32246"/>
                    <a:pt x="3163" y="26270"/>
                  </a:cubicBezTo>
                  <a:cubicBezTo>
                    <a:pt x="16558" y="-6554"/>
                    <a:pt x="48939" y="-6197"/>
                    <a:pt x="64745" y="22078"/>
                  </a:cubicBezTo>
                  <a:cubicBezTo>
                    <a:pt x="65710" y="23415"/>
                    <a:pt x="66701" y="24842"/>
                    <a:pt x="67710" y="26270"/>
                  </a:cubicBezTo>
                  <a:cubicBezTo>
                    <a:pt x="69487" y="28500"/>
                    <a:pt x="70032" y="31532"/>
                    <a:pt x="69148" y="34208"/>
                  </a:cubicBezTo>
                  <a:cubicBezTo>
                    <a:pt x="68148" y="36973"/>
                    <a:pt x="66022" y="39113"/>
                    <a:pt x="63307" y="40273"/>
                  </a:cubicBezTo>
                  <a:cubicBezTo>
                    <a:pt x="58110" y="42681"/>
                    <a:pt x="51511" y="40006"/>
                    <a:pt x="49635" y="34564"/>
                  </a:cubicBezTo>
                  <a:cubicBezTo>
                    <a:pt x="47019" y="28232"/>
                    <a:pt x="43179" y="23148"/>
                    <a:pt x="39080" y="20561"/>
                  </a:cubicBezTo>
                  <a:cubicBezTo>
                    <a:pt x="35740" y="18242"/>
                    <a:pt x="31418" y="17885"/>
                    <a:pt x="27765" y="19669"/>
                  </a:cubicBezTo>
                  <a:cubicBezTo>
                    <a:pt x="24327" y="21274"/>
                    <a:pt x="18541" y="26359"/>
                    <a:pt x="14602" y="32781"/>
                  </a:cubicBezTo>
                  <a:cubicBezTo>
                    <a:pt x="11575" y="37330"/>
                    <a:pt x="10066" y="42681"/>
                    <a:pt x="10280" y="48122"/>
                  </a:cubicBezTo>
                  <a:cubicBezTo>
                    <a:pt x="10530" y="50173"/>
                    <a:pt x="8708" y="51958"/>
                    <a:pt x="6708" y="52136"/>
                  </a:cubicBezTo>
                  <a:cubicBezTo>
                    <a:pt x="6485" y="52136"/>
                    <a:pt x="6244" y="52136"/>
                    <a:pt x="6003" y="5213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7" name="Freeform: Shape 316">
              <a:extLst>
                <a:ext uri="{FF2B5EF4-FFF2-40B4-BE49-F238E27FC236}">
                  <a16:creationId xmlns:a16="http://schemas.microsoft.com/office/drawing/2014/main" id="{A2210091-85F3-544B-DB05-29D4CBE0F4AC}"/>
                </a:ext>
              </a:extLst>
            </p:cNvPr>
            <p:cNvSpPr/>
            <p:nvPr/>
          </p:nvSpPr>
          <p:spPr>
            <a:xfrm>
              <a:off x="9582925" y="3250046"/>
              <a:ext cx="53600" cy="33768"/>
            </a:xfrm>
            <a:custGeom>
              <a:avLst/>
              <a:gdLst>
                <a:gd name="connsiteX0" fmla="*/ 45373 w 53600"/>
                <a:gd name="connsiteY0" fmla="*/ 35008 h 33768"/>
                <a:gd name="connsiteX1" fmla="*/ 37095 w 53600"/>
                <a:gd name="connsiteY1" fmla="*/ 28585 h 33768"/>
                <a:gd name="connsiteX2" fmla="*/ 22932 w 53600"/>
                <a:gd name="connsiteY2" fmla="*/ 17258 h 33768"/>
                <a:gd name="connsiteX3" fmla="*/ 11599 w 53600"/>
                <a:gd name="connsiteY3" fmla="*/ 25731 h 33768"/>
                <a:gd name="connsiteX4" fmla="*/ 11537 w 53600"/>
                <a:gd name="connsiteY4" fmla="*/ 25820 h 33768"/>
                <a:gd name="connsiteX5" fmla="*/ 7652 w 53600"/>
                <a:gd name="connsiteY5" fmla="*/ 30904 h 33768"/>
                <a:gd name="connsiteX6" fmla="*/ 4170 w 53600"/>
                <a:gd name="connsiteY6" fmla="*/ 31707 h 33768"/>
                <a:gd name="connsiteX7" fmla="*/ 17 w 53600"/>
                <a:gd name="connsiteY7" fmla="*/ 22699 h 33768"/>
                <a:gd name="connsiteX8" fmla="*/ 3053 w 53600"/>
                <a:gd name="connsiteY8" fmla="*/ 14314 h 33768"/>
                <a:gd name="connsiteX9" fmla="*/ 41435 w 53600"/>
                <a:gd name="connsiteY9" fmla="*/ 6198 h 33768"/>
                <a:gd name="connsiteX10" fmla="*/ 49392 w 53600"/>
                <a:gd name="connsiteY10" fmla="*/ 33937 h 33768"/>
                <a:gd name="connsiteX11" fmla="*/ 45373 w 53600"/>
                <a:gd name="connsiteY11" fmla="*/ 35008 h 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0" h="33768">
                  <a:moveTo>
                    <a:pt x="45373" y="35008"/>
                  </a:moveTo>
                  <a:cubicBezTo>
                    <a:pt x="41632" y="35008"/>
                    <a:pt x="37872" y="32331"/>
                    <a:pt x="37095" y="28585"/>
                  </a:cubicBezTo>
                  <a:cubicBezTo>
                    <a:pt x="35907" y="22163"/>
                    <a:pt x="29906" y="15920"/>
                    <a:pt x="22932" y="17258"/>
                  </a:cubicBezTo>
                  <a:cubicBezTo>
                    <a:pt x="18109" y="18239"/>
                    <a:pt x="13948" y="21450"/>
                    <a:pt x="11599" y="25731"/>
                  </a:cubicBezTo>
                  <a:lnTo>
                    <a:pt x="11537" y="25820"/>
                  </a:lnTo>
                  <a:cubicBezTo>
                    <a:pt x="10510" y="27693"/>
                    <a:pt x="9206" y="29478"/>
                    <a:pt x="7652" y="30904"/>
                  </a:cubicBezTo>
                  <a:cubicBezTo>
                    <a:pt x="6706" y="31707"/>
                    <a:pt x="5357" y="32063"/>
                    <a:pt x="4170" y="31707"/>
                  </a:cubicBezTo>
                  <a:cubicBezTo>
                    <a:pt x="347" y="27872"/>
                    <a:pt x="-81" y="25107"/>
                    <a:pt x="17" y="22699"/>
                  </a:cubicBezTo>
                  <a:cubicBezTo>
                    <a:pt x="249" y="19665"/>
                    <a:pt x="1294" y="16722"/>
                    <a:pt x="3053" y="14314"/>
                  </a:cubicBezTo>
                  <a:cubicBezTo>
                    <a:pt x="12635" y="935"/>
                    <a:pt x="28674" y="-2900"/>
                    <a:pt x="41435" y="6198"/>
                  </a:cubicBezTo>
                  <a:cubicBezTo>
                    <a:pt x="49044" y="11549"/>
                    <a:pt x="59581" y="26623"/>
                    <a:pt x="49392" y="33937"/>
                  </a:cubicBezTo>
                  <a:cubicBezTo>
                    <a:pt x="48168" y="34561"/>
                    <a:pt x="46793" y="35008"/>
                    <a:pt x="45373" y="35008"/>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8" name="Freeform: Shape 317">
              <a:extLst>
                <a:ext uri="{FF2B5EF4-FFF2-40B4-BE49-F238E27FC236}">
                  <a16:creationId xmlns:a16="http://schemas.microsoft.com/office/drawing/2014/main" id="{825C1965-5230-2A4E-6032-312B25ABC97B}"/>
                </a:ext>
              </a:extLst>
            </p:cNvPr>
            <p:cNvSpPr/>
            <p:nvPr/>
          </p:nvSpPr>
          <p:spPr>
            <a:xfrm>
              <a:off x="9405348" y="3182658"/>
              <a:ext cx="81617" cy="65479"/>
            </a:xfrm>
            <a:custGeom>
              <a:avLst/>
              <a:gdLst>
                <a:gd name="connsiteX0" fmla="*/ 4608 w 81617"/>
                <a:gd name="connsiteY0" fmla="*/ 66718 h 65479"/>
                <a:gd name="connsiteX1" fmla="*/ 4322 w 81617"/>
                <a:gd name="connsiteY1" fmla="*/ 66718 h 65479"/>
                <a:gd name="connsiteX2" fmla="*/ 2911 w 81617"/>
                <a:gd name="connsiteY2" fmla="*/ 66004 h 65479"/>
                <a:gd name="connsiteX3" fmla="*/ 9 w 81617"/>
                <a:gd name="connsiteY3" fmla="*/ 57620 h 65479"/>
                <a:gd name="connsiteX4" fmla="*/ 45856 w 81617"/>
                <a:gd name="connsiteY4" fmla="*/ 5263 h 65479"/>
                <a:gd name="connsiteX5" fmla="*/ 78255 w 81617"/>
                <a:gd name="connsiteY5" fmla="*/ 6244 h 65479"/>
                <a:gd name="connsiteX6" fmla="*/ 81621 w 81617"/>
                <a:gd name="connsiteY6" fmla="*/ 14539 h 65479"/>
                <a:gd name="connsiteX7" fmla="*/ 78228 w 81617"/>
                <a:gd name="connsiteY7" fmla="*/ 22923 h 65479"/>
                <a:gd name="connsiteX8" fmla="*/ 55510 w 81617"/>
                <a:gd name="connsiteY8" fmla="*/ 29702 h 65479"/>
                <a:gd name="connsiteX9" fmla="*/ 10287 w 81617"/>
                <a:gd name="connsiteY9" fmla="*/ 59493 h 65479"/>
                <a:gd name="connsiteX10" fmla="*/ 7430 w 81617"/>
                <a:gd name="connsiteY10" fmla="*/ 64667 h 65479"/>
                <a:gd name="connsiteX11" fmla="*/ 5947 w 81617"/>
                <a:gd name="connsiteY11" fmla="*/ 66450 h 65479"/>
                <a:gd name="connsiteX12" fmla="*/ 4608 w 81617"/>
                <a:gd name="connsiteY12" fmla="*/ 66718 h 65479"/>
                <a:gd name="connsiteX13" fmla="*/ 4608 w 81617"/>
                <a:gd name="connsiteY13" fmla="*/ 66718 h 6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617" h="65479">
                  <a:moveTo>
                    <a:pt x="4608" y="66718"/>
                  </a:moveTo>
                  <a:cubicBezTo>
                    <a:pt x="4509" y="66718"/>
                    <a:pt x="4411" y="66718"/>
                    <a:pt x="4322" y="66718"/>
                  </a:cubicBezTo>
                  <a:cubicBezTo>
                    <a:pt x="3795" y="66629"/>
                    <a:pt x="3304" y="66361"/>
                    <a:pt x="2911" y="66004"/>
                  </a:cubicBezTo>
                  <a:cubicBezTo>
                    <a:pt x="911" y="64310"/>
                    <a:pt x="-63" y="61455"/>
                    <a:pt x="9" y="57620"/>
                  </a:cubicBezTo>
                  <a:cubicBezTo>
                    <a:pt x="2205" y="34251"/>
                    <a:pt x="23513" y="13380"/>
                    <a:pt x="45856" y="5263"/>
                  </a:cubicBezTo>
                  <a:cubicBezTo>
                    <a:pt x="54536" y="1784"/>
                    <a:pt x="69967" y="-2141"/>
                    <a:pt x="78255" y="6244"/>
                  </a:cubicBezTo>
                  <a:cubicBezTo>
                    <a:pt x="80460" y="8474"/>
                    <a:pt x="81675" y="11417"/>
                    <a:pt x="81621" y="14539"/>
                  </a:cubicBezTo>
                  <a:cubicBezTo>
                    <a:pt x="81666" y="17661"/>
                    <a:pt x="80442" y="20694"/>
                    <a:pt x="78228" y="22923"/>
                  </a:cubicBezTo>
                  <a:cubicBezTo>
                    <a:pt x="72254" y="28989"/>
                    <a:pt x="63198" y="27918"/>
                    <a:pt x="55510" y="29702"/>
                  </a:cubicBezTo>
                  <a:cubicBezTo>
                    <a:pt x="37194" y="33449"/>
                    <a:pt x="21396" y="44509"/>
                    <a:pt x="10287" y="59493"/>
                  </a:cubicBezTo>
                  <a:cubicBezTo>
                    <a:pt x="9278" y="61099"/>
                    <a:pt x="8457" y="63240"/>
                    <a:pt x="7430" y="64667"/>
                  </a:cubicBezTo>
                  <a:cubicBezTo>
                    <a:pt x="6662" y="65915"/>
                    <a:pt x="6260" y="66272"/>
                    <a:pt x="5947" y="66450"/>
                  </a:cubicBezTo>
                  <a:cubicBezTo>
                    <a:pt x="5536" y="66629"/>
                    <a:pt x="5072" y="66718"/>
                    <a:pt x="4608" y="66718"/>
                  </a:cubicBezTo>
                  <a:lnTo>
                    <a:pt x="4608" y="66718"/>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9" name="Freeform: Shape 318">
              <a:extLst>
                <a:ext uri="{FF2B5EF4-FFF2-40B4-BE49-F238E27FC236}">
                  <a16:creationId xmlns:a16="http://schemas.microsoft.com/office/drawing/2014/main" id="{1F3A2CC5-6543-9946-94F7-187167CD5A32}"/>
                </a:ext>
              </a:extLst>
            </p:cNvPr>
            <p:cNvSpPr/>
            <p:nvPr/>
          </p:nvSpPr>
          <p:spPr>
            <a:xfrm>
              <a:off x="9570311" y="3178757"/>
              <a:ext cx="74626" cy="66435"/>
            </a:xfrm>
            <a:custGeom>
              <a:avLst/>
              <a:gdLst>
                <a:gd name="connsiteX0" fmla="*/ 68936 w 74626"/>
                <a:gd name="connsiteY0" fmla="*/ 67675 h 66435"/>
                <a:gd name="connsiteX1" fmla="*/ 66444 w 74626"/>
                <a:gd name="connsiteY1" fmla="*/ 65713 h 66435"/>
                <a:gd name="connsiteX2" fmla="*/ 45494 w 74626"/>
                <a:gd name="connsiteY2" fmla="*/ 36903 h 66435"/>
                <a:gd name="connsiteX3" fmla="*/ 25973 w 74626"/>
                <a:gd name="connsiteY3" fmla="*/ 30392 h 66435"/>
                <a:gd name="connsiteX4" fmla="*/ 156 w 74626"/>
                <a:gd name="connsiteY4" fmla="*/ 11483 h 66435"/>
                <a:gd name="connsiteX5" fmla="*/ 36109 w 74626"/>
                <a:gd name="connsiteY5" fmla="*/ 7112 h 66435"/>
                <a:gd name="connsiteX6" fmla="*/ 36126 w 74626"/>
                <a:gd name="connsiteY6" fmla="*/ 7112 h 66435"/>
                <a:gd name="connsiteX7" fmla="*/ 37636 w 74626"/>
                <a:gd name="connsiteY7" fmla="*/ 7736 h 66435"/>
                <a:gd name="connsiteX8" fmla="*/ 61345 w 74626"/>
                <a:gd name="connsiteY8" fmla="*/ 23613 h 66435"/>
                <a:gd name="connsiteX9" fmla="*/ 68936 w 74626"/>
                <a:gd name="connsiteY9" fmla="*/ 67675 h 66435"/>
                <a:gd name="connsiteX10" fmla="*/ 68936 w 74626"/>
                <a:gd name="connsiteY10" fmla="*/ 67675 h 6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26" h="66435">
                  <a:moveTo>
                    <a:pt x="68936" y="67675"/>
                  </a:moveTo>
                  <a:cubicBezTo>
                    <a:pt x="67784" y="67675"/>
                    <a:pt x="66685" y="66872"/>
                    <a:pt x="66444" y="65713"/>
                  </a:cubicBezTo>
                  <a:cubicBezTo>
                    <a:pt x="63194" y="51531"/>
                    <a:pt x="56737" y="42612"/>
                    <a:pt x="45494" y="36903"/>
                  </a:cubicBezTo>
                  <a:cubicBezTo>
                    <a:pt x="39261" y="33960"/>
                    <a:pt x="32706" y="31818"/>
                    <a:pt x="25973" y="30392"/>
                  </a:cubicBezTo>
                  <a:cubicBezTo>
                    <a:pt x="15078" y="28875"/>
                    <a:pt x="-1764" y="26556"/>
                    <a:pt x="156" y="11483"/>
                  </a:cubicBezTo>
                  <a:cubicBezTo>
                    <a:pt x="4023" y="-4930"/>
                    <a:pt x="26071" y="2117"/>
                    <a:pt x="36109" y="7112"/>
                  </a:cubicBezTo>
                  <a:lnTo>
                    <a:pt x="36126" y="7112"/>
                  </a:lnTo>
                  <a:cubicBezTo>
                    <a:pt x="36636" y="7379"/>
                    <a:pt x="37145" y="7558"/>
                    <a:pt x="37636" y="7736"/>
                  </a:cubicBezTo>
                  <a:cubicBezTo>
                    <a:pt x="46566" y="11304"/>
                    <a:pt x="54648" y="16656"/>
                    <a:pt x="61345" y="23613"/>
                  </a:cubicBezTo>
                  <a:cubicBezTo>
                    <a:pt x="70892" y="32890"/>
                    <a:pt x="81402" y="58666"/>
                    <a:pt x="68936" y="67675"/>
                  </a:cubicBezTo>
                  <a:lnTo>
                    <a:pt x="68936" y="67675"/>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20" name="Rounded Rectangle 20">
              <a:extLst>
                <a:ext uri="{FF2B5EF4-FFF2-40B4-BE49-F238E27FC236}">
                  <a16:creationId xmlns:a16="http://schemas.microsoft.com/office/drawing/2014/main" id="{C082D403-1F82-58A1-ADA9-AF216968808C}"/>
                </a:ext>
              </a:extLst>
            </p:cNvPr>
            <p:cNvSpPr/>
            <p:nvPr/>
          </p:nvSpPr>
          <p:spPr>
            <a:xfrm>
              <a:off x="3785484"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21" name="TextBox 320">
              <a:extLst>
                <a:ext uri="{FF2B5EF4-FFF2-40B4-BE49-F238E27FC236}">
                  <a16:creationId xmlns:a16="http://schemas.microsoft.com/office/drawing/2014/main" id="{88C0A524-D639-E1EC-5C0E-396001E3B30B}"/>
                </a:ext>
              </a:extLst>
            </p:cNvPr>
            <p:cNvSpPr txBox="1"/>
            <p:nvPr/>
          </p:nvSpPr>
          <p:spPr>
            <a:xfrm>
              <a:off x="4001544"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TO</a:t>
              </a:r>
              <a:endParaRPr lang="en-GB" sz="1600">
                <a:solidFill>
                  <a:schemeClr val="bg1"/>
                </a:solidFill>
                <a:latin typeface="Darker Grotesque" pitchFamily="2" charset="0"/>
              </a:endParaRPr>
            </a:p>
          </p:txBody>
        </p:sp>
        <p:sp>
          <p:nvSpPr>
            <p:cNvPr id="322" name="TextBox 321">
              <a:extLst>
                <a:ext uri="{FF2B5EF4-FFF2-40B4-BE49-F238E27FC236}">
                  <a16:creationId xmlns:a16="http://schemas.microsoft.com/office/drawing/2014/main" id="{D02479E9-A015-C176-22D3-D4F60A2F716A}"/>
                </a:ext>
              </a:extLst>
            </p:cNvPr>
            <p:cNvSpPr txBox="1"/>
            <p:nvPr/>
          </p:nvSpPr>
          <p:spPr>
            <a:xfrm>
              <a:off x="4031860" y="4671889"/>
              <a:ext cx="873957" cy="275332"/>
            </a:xfrm>
            <a:prstGeom prst="rect">
              <a:avLst/>
            </a:prstGeom>
            <a:noFill/>
          </p:spPr>
          <p:txBody>
            <a:bodyPr wrap="none" rtlCol="0">
              <a:spAutoFit/>
            </a:bodyPr>
            <a:lstStyle/>
            <a:p>
              <a:pPr algn="ctr">
                <a:lnSpc>
                  <a:spcPct val="70000"/>
                </a:lnSpc>
              </a:pPr>
              <a:r>
                <a:rPr lang="en-US" sz="1600">
                  <a:solidFill>
                    <a:schemeClr val="bg1"/>
                  </a:solidFill>
                  <a:latin typeface="+mj-lt"/>
                </a:rPr>
                <a:t>Han Solo</a:t>
              </a:r>
              <a:endParaRPr lang="en-GB" sz="1600">
                <a:solidFill>
                  <a:schemeClr val="bg1"/>
                </a:solidFill>
                <a:latin typeface="+mj-lt"/>
              </a:endParaRPr>
            </a:p>
          </p:txBody>
        </p:sp>
        <p:sp>
          <p:nvSpPr>
            <p:cNvPr id="323" name="Freeform: Shape 322">
              <a:extLst>
                <a:ext uri="{FF2B5EF4-FFF2-40B4-BE49-F238E27FC236}">
                  <a16:creationId xmlns:a16="http://schemas.microsoft.com/office/drawing/2014/main" id="{667AC2EC-6AA6-4A99-B689-95EFA021B020}"/>
                </a:ext>
              </a:extLst>
            </p:cNvPr>
            <p:cNvSpPr/>
            <p:nvPr/>
          </p:nvSpPr>
          <p:spPr>
            <a:xfrm>
              <a:off x="3953388" y="3399012"/>
              <a:ext cx="945119" cy="1042829"/>
            </a:xfrm>
            <a:custGeom>
              <a:avLst/>
              <a:gdLst>
                <a:gd name="connsiteX0" fmla="*/ 163255 w 945119"/>
                <a:gd name="connsiteY0" fmla="*/ 1042896 h 1042829"/>
                <a:gd name="connsiteX1" fmla="*/ 59700 w 945119"/>
                <a:gd name="connsiteY1" fmla="*/ 1032423 h 1042829"/>
                <a:gd name="connsiteX2" fmla="*/ 32228 w 945119"/>
                <a:gd name="connsiteY2" fmla="*/ 1031634 h 1042829"/>
                <a:gd name="connsiteX3" fmla="*/ 24182 w 945119"/>
                <a:gd name="connsiteY3" fmla="*/ 1017413 h 1042829"/>
                <a:gd name="connsiteX4" fmla="*/ 30344 w 945119"/>
                <a:gd name="connsiteY4" fmla="*/ 594330 h 1042829"/>
                <a:gd name="connsiteX5" fmla="*/ 128850 w 945119"/>
                <a:gd name="connsiteY5" fmla="*/ 268618 h 1042829"/>
                <a:gd name="connsiteX6" fmla="*/ 130562 w 945119"/>
                <a:gd name="connsiteY6" fmla="*/ 135942 h 1042829"/>
                <a:gd name="connsiteX7" fmla="*/ 176520 w 945119"/>
                <a:gd name="connsiteY7" fmla="*/ 85052 h 1042829"/>
                <a:gd name="connsiteX8" fmla="*/ 348285 w 945119"/>
                <a:gd name="connsiteY8" fmla="*/ 54628 h 1042829"/>
                <a:gd name="connsiteX9" fmla="*/ 422143 w 945119"/>
                <a:gd name="connsiteY9" fmla="*/ 105295 h 1042829"/>
                <a:gd name="connsiteX10" fmla="*/ 436863 w 945119"/>
                <a:gd name="connsiteY10" fmla="*/ 73138 h 1042829"/>
                <a:gd name="connsiteX11" fmla="*/ 436863 w 945119"/>
                <a:gd name="connsiteY11" fmla="*/ 73130 h 1042829"/>
                <a:gd name="connsiteX12" fmla="*/ 469813 w 945119"/>
                <a:gd name="connsiteY12" fmla="*/ 11123 h 1042829"/>
                <a:gd name="connsiteX13" fmla="*/ 624461 w 945119"/>
                <a:gd name="connsiteY13" fmla="*/ 9425 h 1042829"/>
                <a:gd name="connsiteX14" fmla="*/ 681717 w 945119"/>
                <a:gd name="connsiteY14" fmla="*/ 82908 h 1042829"/>
                <a:gd name="connsiteX15" fmla="*/ 853224 w 945119"/>
                <a:gd name="connsiteY15" fmla="*/ 82050 h 1042829"/>
                <a:gd name="connsiteX16" fmla="*/ 877016 w 945119"/>
                <a:gd name="connsiteY16" fmla="*/ 116549 h 1042829"/>
                <a:gd name="connsiteX17" fmla="*/ 849886 w 945119"/>
                <a:gd name="connsiteY17" fmla="*/ 158973 h 1042829"/>
                <a:gd name="connsiteX18" fmla="*/ 851342 w 945119"/>
                <a:gd name="connsiteY18" fmla="*/ 170201 h 1042829"/>
                <a:gd name="connsiteX19" fmla="*/ 837649 w 945119"/>
                <a:gd name="connsiteY19" fmla="*/ 320941 h 1042829"/>
                <a:gd name="connsiteX20" fmla="*/ 901750 w 945119"/>
                <a:gd name="connsiteY20" fmla="*/ 648454 h 1042829"/>
                <a:gd name="connsiteX21" fmla="*/ 927082 w 945119"/>
                <a:gd name="connsiteY21" fmla="*/ 1012292 h 1042829"/>
                <a:gd name="connsiteX22" fmla="*/ 864692 w 945119"/>
                <a:gd name="connsiteY22" fmla="*/ 1020166 h 1042829"/>
                <a:gd name="connsiteX23" fmla="*/ 647825 w 945119"/>
                <a:gd name="connsiteY23" fmla="*/ 1032603 h 1042829"/>
                <a:gd name="connsiteX24" fmla="*/ 163255 w 945119"/>
                <a:gd name="connsiteY24" fmla="*/ 1042896 h 1042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5119" h="1042829">
                  <a:moveTo>
                    <a:pt x="163255" y="1042896"/>
                  </a:moveTo>
                  <a:cubicBezTo>
                    <a:pt x="126112" y="1042794"/>
                    <a:pt x="94617" y="1040435"/>
                    <a:pt x="59700" y="1032423"/>
                  </a:cubicBezTo>
                  <a:cubicBezTo>
                    <a:pt x="53281" y="1041764"/>
                    <a:pt x="37961" y="1041515"/>
                    <a:pt x="32228" y="1031634"/>
                  </a:cubicBezTo>
                  <a:cubicBezTo>
                    <a:pt x="28633" y="1027586"/>
                    <a:pt x="23156" y="1016838"/>
                    <a:pt x="24182" y="1017413"/>
                  </a:cubicBezTo>
                  <a:cubicBezTo>
                    <a:pt x="-16384" y="881014"/>
                    <a:pt x="6210" y="737393"/>
                    <a:pt x="30344" y="594330"/>
                  </a:cubicBezTo>
                  <a:cubicBezTo>
                    <a:pt x="46862" y="482283"/>
                    <a:pt x="100694" y="375176"/>
                    <a:pt x="128850" y="268618"/>
                  </a:cubicBezTo>
                  <a:cubicBezTo>
                    <a:pt x="146994" y="221665"/>
                    <a:pt x="91109" y="174687"/>
                    <a:pt x="130562" y="135942"/>
                  </a:cubicBezTo>
                  <a:cubicBezTo>
                    <a:pt x="125598" y="109189"/>
                    <a:pt x="151444" y="86648"/>
                    <a:pt x="176520" y="85052"/>
                  </a:cubicBezTo>
                  <a:cubicBezTo>
                    <a:pt x="202110" y="11209"/>
                    <a:pt x="287093" y="24178"/>
                    <a:pt x="348285" y="54628"/>
                  </a:cubicBezTo>
                  <a:cubicBezTo>
                    <a:pt x="383203" y="71998"/>
                    <a:pt x="394928" y="105973"/>
                    <a:pt x="422143" y="105295"/>
                  </a:cubicBezTo>
                  <a:cubicBezTo>
                    <a:pt x="425824" y="99222"/>
                    <a:pt x="430958" y="87137"/>
                    <a:pt x="436863" y="73138"/>
                  </a:cubicBezTo>
                  <a:lnTo>
                    <a:pt x="436863" y="73130"/>
                  </a:lnTo>
                  <a:cubicBezTo>
                    <a:pt x="444823" y="55340"/>
                    <a:pt x="457575" y="21296"/>
                    <a:pt x="469813" y="11123"/>
                  </a:cubicBezTo>
                  <a:cubicBezTo>
                    <a:pt x="513203" y="-10586"/>
                    <a:pt x="582354" y="5728"/>
                    <a:pt x="624461" y="9425"/>
                  </a:cubicBezTo>
                  <a:cubicBezTo>
                    <a:pt x="663145" y="10103"/>
                    <a:pt x="670162" y="44310"/>
                    <a:pt x="681717" y="82908"/>
                  </a:cubicBezTo>
                  <a:cubicBezTo>
                    <a:pt x="716720" y="71380"/>
                    <a:pt x="806839" y="59809"/>
                    <a:pt x="853224" y="82050"/>
                  </a:cubicBezTo>
                  <a:cubicBezTo>
                    <a:pt x="874278" y="92163"/>
                    <a:pt x="883350" y="89281"/>
                    <a:pt x="877016" y="116549"/>
                  </a:cubicBezTo>
                  <a:cubicBezTo>
                    <a:pt x="872309" y="128454"/>
                    <a:pt x="857162" y="151845"/>
                    <a:pt x="849886" y="158973"/>
                  </a:cubicBezTo>
                  <a:cubicBezTo>
                    <a:pt x="847918" y="163030"/>
                    <a:pt x="852883" y="166169"/>
                    <a:pt x="851342" y="170201"/>
                  </a:cubicBezTo>
                  <a:cubicBezTo>
                    <a:pt x="831828" y="223192"/>
                    <a:pt x="831657" y="263935"/>
                    <a:pt x="837649" y="320941"/>
                  </a:cubicBezTo>
                  <a:cubicBezTo>
                    <a:pt x="852112" y="423038"/>
                    <a:pt x="883093" y="546219"/>
                    <a:pt x="901750" y="648454"/>
                  </a:cubicBezTo>
                  <a:cubicBezTo>
                    <a:pt x="909623" y="734657"/>
                    <a:pt x="980829" y="950432"/>
                    <a:pt x="927082" y="1012292"/>
                  </a:cubicBezTo>
                  <a:cubicBezTo>
                    <a:pt x="909794" y="1026848"/>
                    <a:pt x="885575" y="1015998"/>
                    <a:pt x="864692" y="1020166"/>
                  </a:cubicBezTo>
                  <a:cubicBezTo>
                    <a:pt x="793659" y="1029524"/>
                    <a:pt x="724678" y="1032629"/>
                    <a:pt x="647825" y="1032603"/>
                  </a:cubicBezTo>
                  <a:cubicBezTo>
                    <a:pt x="488127" y="1030399"/>
                    <a:pt x="165052" y="1042896"/>
                    <a:pt x="163255" y="10428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24" name="Freeform: Shape 323">
              <a:extLst>
                <a:ext uri="{FF2B5EF4-FFF2-40B4-BE49-F238E27FC236}">
                  <a16:creationId xmlns:a16="http://schemas.microsoft.com/office/drawing/2014/main" id="{3E68BF1D-5499-669C-0FE1-31A39519D251}"/>
                </a:ext>
              </a:extLst>
            </p:cNvPr>
            <p:cNvSpPr/>
            <p:nvPr/>
          </p:nvSpPr>
          <p:spPr>
            <a:xfrm>
              <a:off x="4061864" y="3431262"/>
              <a:ext cx="764539" cy="940390"/>
            </a:xfrm>
            <a:custGeom>
              <a:avLst/>
              <a:gdLst>
                <a:gd name="connsiteX0" fmla="*/ 541147 w 764539"/>
                <a:gd name="connsiteY0" fmla="*/ 887199 h 940390"/>
                <a:gd name="connsiteX1" fmla="*/ 534984 w 764539"/>
                <a:gd name="connsiteY1" fmla="*/ 580401 h 940390"/>
                <a:gd name="connsiteX2" fmla="*/ 573925 w 764539"/>
                <a:gd name="connsiteY2" fmla="*/ 135283 h 940390"/>
                <a:gd name="connsiteX3" fmla="*/ 577776 w 764539"/>
                <a:gd name="connsiteY3" fmla="*/ 108307 h 940390"/>
                <a:gd name="connsiteX4" fmla="*/ 572555 w 764539"/>
                <a:gd name="connsiteY4" fmla="*/ 62486 h 940390"/>
                <a:gd name="connsiteX5" fmla="*/ 575979 w 764539"/>
                <a:gd name="connsiteY5" fmla="*/ 45640 h 940390"/>
                <a:gd name="connsiteX6" fmla="*/ 736790 w 764539"/>
                <a:gd name="connsiteY6" fmla="*/ 40614 h 940390"/>
                <a:gd name="connsiteX7" fmla="*/ 739785 w 764539"/>
                <a:gd name="connsiteY7" fmla="*/ 41789 h 940390"/>
                <a:gd name="connsiteX8" fmla="*/ 765460 w 764539"/>
                <a:gd name="connsiteY8" fmla="*/ 62983 h 940390"/>
                <a:gd name="connsiteX9" fmla="*/ 760325 w 764539"/>
                <a:gd name="connsiteY9" fmla="*/ 83887 h 940390"/>
                <a:gd name="connsiteX10" fmla="*/ 753478 w 764539"/>
                <a:gd name="connsiteY10" fmla="*/ 108170 h 940390"/>
                <a:gd name="connsiteX11" fmla="*/ 748257 w 764539"/>
                <a:gd name="connsiteY11" fmla="*/ 123909 h 940390"/>
                <a:gd name="connsiteX12" fmla="*/ 742352 w 764539"/>
                <a:gd name="connsiteY12" fmla="*/ 134811 h 940390"/>
                <a:gd name="connsiteX13" fmla="*/ 729600 w 764539"/>
                <a:gd name="connsiteY13" fmla="*/ 170742 h 940390"/>
                <a:gd name="connsiteX14" fmla="*/ 633149 w 764539"/>
                <a:gd name="connsiteY14" fmla="*/ 482858 h 940390"/>
                <a:gd name="connsiteX15" fmla="*/ 572727 w 764539"/>
                <a:gd name="connsiteY15" fmla="*/ 934950 h 940390"/>
                <a:gd name="connsiteX16" fmla="*/ 565024 w 764539"/>
                <a:gd name="connsiteY16" fmla="*/ 938621 h 940390"/>
                <a:gd name="connsiteX17" fmla="*/ 541147 w 764539"/>
                <a:gd name="connsiteY17" fmla="*/ 887199 h 940390"/>
                <a:gd name="connsiteX18" fmla="*/ 348756 w 764539"/>
                <a:gd name="connsiteY18" fmla="*/ 552696 h 940390"/>
                <a:gd name="connsiteX19" fmla="*/ 331982 w 764539"/>
                <a:gd name="connsiteY19" fmla="*/ 553579 h 940390"/>
                <a:gd name="connsiteX20" fmla="*/ 309388 w 764539"/>
                <a:gd name="connsiteY20" fmla="*/ 369593 h 940390"/>
                <a:gd name="connsiteX21" fmla="*/ 300658 w 764539"/>
                <a:gd name="connsiteY21" fmla="*/ 334614 h 940390"/>
                <a:gd name="connsiteX22" fmla="*/ 211653 w 764539"/>
                <a:gd name="connsiteY22" fmla="*/ 133293 h 940390"/>
                <a:gd name="connsiteX23" fmla="*/ 75832 w 764539"/>
                <a:gd name="connsiteY23" fmla="*/ 150808 h 940390"/>
                <a:gd name="connsiteX24" fmla="*/ 15325 w 764539"/>
                <a:gd name="connsiteY24" fmla="*/ 158219 h 940390"/>
                <a:gd name="connsiteX25" fmla="*/ 7965 w 764539"/>
                <a:gd name="connsiteY25" fmla="*/ 105365 h 940390"/>
                <a:gd name="connsiteX26" fmla="*/ 60342 w 764539"/>
                <a:gd name="connsiteY26" fmla="*/ 60590 h 940390"/>
                <a:gd name="connsiteX27" fmla="*/ 68729 w 764539"/>
                <a:gd name="connsiteY27" fmla="*/ 26006 h 940390"/>
                <a:gd name="connsiteX28" fmla="*/ 164068 w 764539"/>
                <a:gd name="connsiteY28" fmla="*/ 68 h 940390"/>
                <a:gd name="connsiteX29" fmla="*/ 243490 w 764539"/>
                <a:gd name="connsiteY29" fmla="*/ 19573 h 940390"/>
                <a:gd name="connsiteX30" fmla="*/ 271903 w 764539"/>
                <a:gd name="connsiteY30" fmla="*/ 47501 h 940390"/>
                <a:gd name="connsiteX31" fmla="*/ 443838 w 764539"/>
                <a:gd name="connsiteY31" fmla="*/ 89359 h 940390"/>
                <a:gd name="connsiteX32" fmla="*/ 449487 w 764539"/>
                <a:gd name="connsiteY32" fmla="*/ 99661 h 940390"/>
                <a:gd name="connsiteX33" fmla="*/ 348756 w 764539"/>
                <a:gd name="connsiteY33" fmla="*/ 552696 h 94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4539" h="940390">
                  <a:moveTo>
                    <a:pt x="541147" y="887199"/>
                  </a:moveTo>
                  <a:cubicBezTo>
                    <a:pt x="541317" y="879385"/>
                    <a:pt x="530877" y="675122"/>
                    <a:pt x="534984" y="580401"/>
                  </a:cubicBezTo>
                  <a:cubicBezTo>
                    <a:pt x="538322" y="430956"/>
                    <a:pt x="569132" y="297337"/>
                    <a:pt x="573925" y="135283"/>
                  </a:cubicBezTo>
                  <a:lnTo>
                    <a:pt x="577776" y="108307"/>
                  </a:lnTo>
                  <a:cubicBezTo>
                    <a:pt x="576663" y="94669"/>
                    <a:pt x="573069" y="76056"/>
                    <a:pt x="572555" y="62486"/>
                  </a:cubicBezTo>
                  <a:cubicBezTo>
                    <a:pt x="571957" y="45949"/>
                    <a:pt x="575722" y="46489"/>
                    <a:pt x="575979" y="45640"/>
                  </a:cubicBezTo>
                  <a:cubicBezTo>
                    <a:pt x="637684" y="30123"/>
                    <a:pt x="680989" y="27825"/>
                    <a:pt x="736790" y="40614"/>
                  </a:cubicBezTo>
                  <a:cubicBezTo>
                    <a:pt x="737217" y="40716"/>
                    <a:pt x="739356" y="41583"/>
                    <a:pt x="739785" y="41789"/>
                  </a:cubicBezTo>
                  <a:cubicBezTo>
                    <a:pt x="745005" y="44542"/>
                    <a:pt x="746375" y="50229"/>
                    <a:pt x="765460" y="62983"/>
                  </a:cubicBezTo>
                  <a:cubicBezTo>
                    <a:pt x="768198" y="69571"/>
                    <a:pt x="764604" y="77582"/>
                    <a:pt x="760325" y="83887"/>
                  </a:cubicBezTo>
                  <a:cubicBezTo>
                    <a:pt x="756131" y="90234"/>
                    <a:pt x="753478" y="107209"/>
                    <a:pt x="753478" y="108170"/>
                  </a:cubicBezTo>
                  <a:cubicBezTo>
                    <a:pt x="753307" y="113822"/>
                    <a:pt x="751510" y="119277"/>
                    <a:pt x="748257" y="123909"/>
                  </a:cubicBezTo>
                  <a:cubicBezTo>
                    <a:pt x="744577" y="129176"/>
                    <a:pt x="742352" y="134811"/>
                    <a:pt x="742352" y="134811"/>
                  </a:cubicBezTo>
                  <a:cubicBezTo>
                    <a:pt x="742352" y="134811"/>
                    <a:pt x="734906" y="159248"/>
                    <a:pt x="729600" y="170742"/>
                  </a:cubicBezTo>
                  <a:cubicBezTo>
                    <a:pt x="685610" y="269597"/>
                    <a:pt x="658738" y="374868"/>
                    <a:pt x="633149" y="482858"/>
                  </a:cubicBezTo>
                  <a:cubicBezTo>
                    <a:pt x="597803" y="632218"/>
                    <a:pt x="570587" y="784956"/>
                    <a:pt x="572727" y="934950"/>
                  </a:cubicBezTo>
                  <a:cubicBezTo>
                    <a:pt x="572812" y="939273"/>
                    <a:pt x="566479" y="942721"/>
                    <a:pt x="565024" y="938621"/>
                  </a:cubicBezTo>
                  <a:cubicBezTo>
                    <a:pt x="560831" y="926115"/>
                    <a:pt x="542687" y="890802"/>
                    <a:pt x="541147" y="887199"/>
                  </a:cubicBezTo>
                  <a:close/>
                  <a:moveTo>
                    <a:pt x="348756" y="552696"/>
                  </a:moveTo>
                  <a:lnTo>
                    <a:pt x="331982" y="553579"/>
                  </a:lnTo>
                  <a:cubicBezTo>
                    <a:pt x="327190" y="499027"/>
                    <a:pt x="321370" y="423322"/>
                    <a:pt x="309388" y="369593"/>
                  </a:cubicBezTo>
                  <a:cubicBezTo>
                    <a:pt x="306393" y="356006"/>
                    <a:pt x="304082" y="345748"/>
                    <a:pt x="300658" y="334614"/>
                  </a:cubicBezTo>
                  <a:cubicBezTo>
                    <a:pt x="281574" y="262838"/>
                    <a:pt x="251791" y="195822"/>
                    <a:pt x="211653" y="133293"/>
                  </a:cubicBezTo>
                  <a:cubicBezTo>
                    <a:pt x="164582" y="119586"/>
                    <a:pt x="124443" y="136406"/>
                    <a:pt x="75832" y="150808"/>
                  </a:cubicBezTo>
                  <a:cubicBezTo>
                    <a:pt x="54180" y="156143"/>
                    <a:pt x="36550" y="161324"/>
                    <a:pt x="15325" y="158219"/>
                  </a:cubicBezTo>
                  <a:cubicBezTo>
                    <a:pt x="-5985" y="151700"/>
                    <a:pt x="3258" y="123103"/>
                    <a:pt x="7965" y="105365"/>
                  </a:cubicBezTo>
                  <a:cubicBezTo>
                    <a:pt x="14384" y="80893"/>
                    <a:pt x="44681" y="59492"/>
                    <a:pt x="60342" y="60590"/>
                  </a:cubicBezTo>
                  <a:cubicBezTo>
                    <a:pt x="65477" y="60264"/>
                    <a:pt x="61967" y="35707"/>
                    <a:pt x="68729" y="26006"/>
                  </a:cubicBezTo>
                  <a:cubicBezTo>
                    <a:pt x="92948" y="8019"/>
                    <a:pt x="133943" y="840"/>
                    <a:pt x="164068" y="68"/>
                  </a:cubicBezTo>
                  <a:cubicBezTo>
                    <a:pt x="192140" y="-26"/>
                    <a:pt x="218156" y="7444"/>
                    <a:pt x="243490" y="19573"/>
                  </a:cubicBezTo>
                  <a:cubicBezTo>
                    <a:pt x="254016" y="23510"/>
                    <a:pt x="271903" y="37731"/>
                    <a:pt x="271903" y="47501"/>
                  </a:cubicBezTo>
                  <a:cubicBezTo>
                    <a:pt x="308618" y="79915"/>
                    <a:pt x="391633" y="84907"/>
                    <a:pt x="443838" y="89359"/>
                  </a:cubicBezTo>
                  <a:cubicBezTo>
                    <a:pt x="448889" y="89788"/>
                    <a:pt x="451798" y="95115"/>
                    <a:pt x="449487" y="99661"/>
                  </a:cubicBezTo>
                  <a:cubicBezTo>
                    <a:pt x="386841" y="226504"/>
                    <a:pt x="366472" y="411631"/>
                    <a:pt x="348756" y="5526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25" name="Freeform: Shape 324">
              <a:extLst>
                <a:ext uri="{FF2B5EF4-FFF2-40B4-BE49-F238E27FC236}">
                  <a16:creationId xmlns:a16="http://schemas.microsoft.com/office/drawing/2014/main" id="{A93CDAC4-A788-B01C-2D45-FC3D52A95DE9}"/>
                </a:ext>
              </a:extLst>
            </p:cNvPr>
            <p:cNvSpPr/>
            <p:nvPr/>
          </p:nvSpPr>
          <p:spPr>
            <a:xfrm>
              <a:off x="3883272" y="3419581"/>
              <a:ext cx="1088717" cy="1035207"/>
            </a:xfrm>
            <a:custGeom>
              <a:avLst/>
              <a:gdLst>
                <a:gd name="connsiteX0" fmla="*/ 1089886 w 1088717"/>
                <a:gd name="connsiteY0" fmla="*/ 954454 h 1035207"/>
                <a:gd name="connsiteX1" fmla="*/ 1087404 w 1088717"/>
                <a:gd name="connsiteY1" fmla="*/ 948862 h 1035207"/>
                <a:gd name="connsiteX2" fmla="*/ 1033829 w 1088717"/>
                <a:gd name="connsiteY2" fmla="*/ 643710 h 1035207"/>
                <a:gd name="connsiteX3" fmla="*/ 912472 w 1088717"/>
                <a:gd name="connsiteY3" fmla="*/ 204956 h 1035207"/>
                <a:gd name="connsiteX4" fmla="*/ 928990 w 1088717"/>
                <a:gd name="connsiteY4" fmla="*/ 147093 h 1035207"/>
                <a:gd name="connsiteX5" fmla="*/ 953038 w 1088717"/>
                <a:gd name="connsiteY5" fmla="*/ 98107 h 1035207"/>
                <a:gd name="connsiteX6" fmla="*/ 840839 w 1088717"/>
                <a:gd name="connsiteY6" fmla="*/ 63926 h 1035207"/>
                <a:gd name="connsiteX7" fmla="*/ 841780 w 1088717"/>
                <a:gd name="connsiteY7" fmla="*/ 64870 h 1035207"/>
                <a:gd name="connsiteX8" fmla="*/ 937891 w 1088717"/>
                <a:gd name="connsiteY8" fmla="*/ 75334 h 1035207"/>
                <a:gd name="connsiteX9" fmla="*/ 937891 w 1088717"/>
                <a:gd name="connsiteY9" fmla="*/ 75334 h 1035207"/>
                <a:gd name="connsiteX10" fmla="*/ 940030 w 1088717"/>
                <a:gd name="connsiteY10" fmla="*/ 79957 h 1035207"/>
                <a:gd name="connsiteX11" fmla="*/ 921201 w 1088717"/>
                <a:gd name="connsiteY11" fmla="*/ 86039 h 1035207"/>
                <a:gd name="connsiteX12" fmla="*/ 927021 w 1088717"/>
                <a:gd name="connsiteY12" fmla="*/ 109464 h 1035207"/>
                <a:gd name="connsiteX13" fmla="*/ 928305 w 1088717"/>
                <a:gd name="connsiteY13" fmla="*/ 110707 h 1035207"/>
                <a:gd name="connsiteX14" fmla="*/ 927791 w 1088717"/>
                <a:gd name="connsiteY14" fmla="*/ 113212 h 1035207"/>
                <a:gd name="connsiteX15" fmla="*/ 904684 w 1088717"/>
                <a:gd name="connsiteY15" fmla="*/ 126052 h 1035207"/>
                <a:gd name="connsiteX16" fmla="*/ 779562 w 1088717"/>
                <a:gd name="connsiteY16" fmla="*/ 81501 h 1035207"/>
                <a:gd name="connsiteX17" fmla="*/ 779562 w 1088717"/>
                <a:gd name="connsiteY17" fmla="*/ 81501 h 1035207"/>
                <a:gd name="connsiteX18" fmla="*/ 754829 w 1088717"/>
                <a:gd name="connsiteY18" fmla="*/ 71586 h 1035207"/>
                <a:gd name="connsiteX19" fmla="*/ 749351 w 1088717"/>
                <a:gd name="connsiteY19" fmla="*/ 70368 h 1035207"/>
                <a:gd name="connsiteX20" fmla="*/ 749266 w 1088717"/>
                <a:gd name="connsiteY20" fmla="*/ 71148 h 1035207"/>
                <a:gd name="connsiteX21" fmla="*/ 742847 w 1088717"/>
                <a:gd name="connsiteY21" fmla="*/ 176951 h 1035207"/>
                <a:gd name="connsiteX22" fmla="*/ 735058 w 1088717"/>
                <a:gd name="connsiteY22" fmla="*/ 226966 h 1035207"/>
                <a:gd name="connsiteX23" fmla="*/ 726243 w 1088717"/>
                <a:gd name="connsiteY23" fmla="*/ 227970 h 1035207"/>
                <a:gd name="connsiteX24" fmla="*/ 593932 w 1088717"/>
                <a:gd name="connsiteY24" fmla="*/ 242243 h 1035207"/>
                <a:gd name="connsiteX25" fmla="*/ 622517 w 1088717"/>
                <a:gd name="connsiteY25" fmla="*/ 146870 h 1035207"/>
                <a:gd name="connsiteX26" fmla="*/ 642458 w 1088717"/>
                <a:gd name="connsiteY26" fmla="*/ 106041 h 1035207"/>
                <a:gd name="connsiteX27" fmla="*/ 641859 w 1088717"/>
                <a:gd name="connsiteY27" fmla="*/ 95036 h 1035207"/>
                <a:gd name="connsiteX28" fmla="*/ 614901 w 1088717"/>
                <a:gd name="connsiteY28" fmla="*/ 91588 h 1035207"/>
                <a:gd name="connsiteX29" fmla="*/ 475828 w 1088717"/>
                <a:gd name="connsiteY29" fmla="*/ 77624 h 1035207"/>
                <a:gd name="connsiteX30" fmla="*/ 475057 w 1088717"/>
                <a:gd name="connsiteY30" fmla="*/ 80601 h 1035207"/>
                <a:gd name="connsiteX31" fmla="*/ 615842 w 1088717"/>
                <a:gd name="connsiteY31" fmla="*/ 109043 h 1035207"/>
                <a:gd name="connsiteX32" fmla="*/ 568343 w 1088717"/>
                <a:gd name="connsiteY32" fmla="*/ 247252 h 1035207"/>
                <a:gd name="connsiteX33" fmla="*/ 520246 w 1088717"/>
                <a:gd name="connsiteY33" fmla="*/ 542325 h 1035207"/>
                <a:gd name="connsiteX34" fmla="*/ 519732 w 1088717"/>
                <a:gd name="connsiteY34" fmla="*/ 542333 h 1035207"/>
                <a:gd name="connsiteX35" fmla="*/ 493115 w 1088717"/>
                <a:gd name="connsiteY35" fmla="*/ 382270 h 1035207"/>
                <a:gd name="connsiteX36" fmla="*/ 483359 w 1088717"/>
                <a:gd name="connsiteY36" fmla="*/ 345266 h 1035207"/>
                <a:gd name="connsiteX37" fmla="*/ 399574 w 1088717"/>
                <a:gd name="connsiteY37" fmla="*/ 145952 h 1035207"/>
                <a:gd name="connsiteX38" fmla="*/ 396749 w 1088717"/>
                <a:gd name="connsiteY38" fmla="*/ 141449 h 1035207"/>
                <a:gd name="connsiteX39" fmla="*/ 388619 w 1088717"/>
                <a:gd name="connsiteY39" fmla="*/ 131010 h 1035207"/>
                <a:gd name="connsiteX40" fmla="*/ 387849 w 1088717"/>
                <a:gd name="connsiteY40" fmla="*/ 137409 h 1035207"/>
                <a:gd name="connsiteX41" fmla="*/ 223273 w 1088717"/>
                <a:gd name="connsiteY41" fmla="*/ 164308 h 1035207"/>
                <a:gd name="connsiteX42" fmla="*/ 189553 w 1088717"/>
                <a:gd name="connsiteY42" fmla="*/ 162627 h 1035207"/>
                <a:gd name="connsiteX43" fmla="*/ 208039 w 1088717"/>
                <a:gd name="connsiteY43" fmla="*/ 142555 h 1035207"/>
                <a:gd name="connsiteX44" fmla="*/ 202476 w 1088717"/>
                <a:gd name="connsiteY44" fmla="*/ 115605 h 1035207"/>
                <a:gd name="connsiteX45" fmla="*/ 201106 w 1088717"/>
                <a:gd name="connsiteY45" fmla="*/ 113830 h 1035207"/>
                <a:gd name="connsiteX46" fmla="*/ 212318 w 1088717"/>
                <a:gd name="connsiteY46" fmla="*/ 97361 h 1035207"/>
                <a:gd name="connsiteX47" fmla="*/ 251686 w 1088717"/>
                <a:gd name="connsiteY47" fmla="*/ 85961 h 1035207"/>
                <a:gd name="connsiteX48" fmla="*/ 265551 w 1088717"/>
                <a:gd name="connsiteY48" fmla="*/ 85104 h 1035207"/>
                <a:gd name="connsiteX49" fmla="*/ 264352 w 1088717"/>
                <a:gd name="connsiteY49" fmla="*/ 63952 h 1035207"/>
                <a:gd name="connsiteX50" fmla="*/ 254681 w 1088717"/>
                <a:gd name="connsiteY50" fmla="*/ 56060 h 1035207"/>
                <a:gd name="connsiteX51" fmla="*/ 273253 w 1088717"/>
                <a:gd name="connsiteY51" fmla="*/ 36881 h 1035207"/>
                <a:gd name="connsiteX52" fmla="*/ 424992 w 1088717"/>
                <a:gd name="connsiteY52" fmla="*/ 43846 h 1035207"/>
                <a:gd name="connsiteX53" fmla="*/ 446730 w 1088717"/>
                <a:gd name="connsiteY53" fmla="*/ 60495 h 1035207"/>
                <a:gd name="connsiteX54" fmla="*/ 450495 w 1088717"/>
                <a:gd name="connsiteY54" fmla="*/ 47569 h 1035207"/>
                <a:gd name="connsiteX55" fmla="*/ 295762 w 1088717"/>
                <a:gd name="connsiteY55" fmla="*/ 3335 h 1035207"/>
                <a:gd name="connsiteX56" fmla="*/ 228494 w 1088717"/>
                <a:gd name="connsiteY56" fmla="*/ 59817 h 1035207"/>
                <a:gd name="connsiteX57" fmla="*/ 177400 w 1088717"/>
                <a:gd name="connsiteY57" fmla="*/ 128163 h 1035207"/>
                <a:gd name="connsiteX58" fmla="*/ 186044 w 1088717"/>
                <a:gd name="connsiteY58" fmla="*/ 192656 h 1035207"/>
                <a:gd name="connsiteX59" fmla="*/ 60237 w 1088717"/>
                <a:gd name="connsiteY59" fmla="*/ 536835 h 1035207"/>
                <a:gd name="connsiteX60" fmla="*/ 33450 w 1088717"/>
                <a:gd name="connsiteY60" fmla="*/ 774242 h 1035207"/>
                <a:gd name="connsiteX61" fmla="*/ 33450 w 1088717"/>
                <a:gd name="connsiteY61" fmla="*/ 774250 h 1035207"/>
                <a:gd name="connsiteX62" fmla="*/ 14792 w 1088717"/>
                <a:gd name="connsiteY62" fmla="*/ 982520 h 1035207"/>
                <a:gd name="connsiteX63" fmla="*/ 23779 w 1088717"/>
                <a:gd name="connsiteY63" fmla="*/ 987160 h 1035207"/>
                <a:gd name="connsiteX64" fmla="*/ 121857 w 1088717"/>
                <a:gd name="connsiteY64" fmla="*/ 1034362 h 1035207"/>
                <a:gd name="connsiteX65" fmla="*/ 230205 w 1088717"/>
                <a:gd name="connsiteY65" fmla="*/ 1030116 h 1035207"/>
                <a:gd name="connsiteX66" fmla="*/ 255623 w 1088717"/>
                <a:gd name="connsiteY66" fmla="*/ 1029009 h 1035207"/>
                <a:gd name="connsiteX67" fmla="*/ 541384 w 1088717"/>
                <a:gd name="connsiteY67" fmla="*/ 1017936 h 1035207"/>
                <a:gd name="connsiteX68" fmla="*/ 543182 w 1088717"/>
                <a:gd name="connsiteY68" fmla="*/ 953571 h 1035207"/>
                <a:gd name="connsiteX69" fmla="*/ 591023 w 1088717"/>
                <a:gd name="connsiteY69" fmla="*/ 254586 h 1035207"/>
                <a:gd name="connsiteX70" fmla="*/ 731721 w 1088717"/>
                <a:gd name="connsiteY70" fmla="*/ 251352 h 1035207"/>
                <a:gd name="connsiteX71" fmla="*/ 699028 w 1088717"/>
                <a:gd name="connsiteY71" fmla="*/ 737170 h 1035207"/>
                <a:gd name="connsiteX72" fmla="*/ 705190 w 1088717"/>
                <a:gd name="connsiteY72" fmla="*/ 872291 h 1035207"/>
                <a:gd name="connsiteX73" fmla="*/ 713834 w 1088717"/>
                <a:gd name="connsiteY73" fmla="*/ 917520 h 1035207"/>
                <a:gd name="connsiteX74" fmla="*/ 719140 w 1088717"/>
                <a:gd name="connsiteY74" fmla="*/ 923258 h 1035207"/>
                <a:gd name="connsiteX75" fmla="*/ 784526 w 1088717"/>
                <a:gd name="connsiteY75" fmla="*/ 1021899 h 1035207"/>
                <a:gd name="connsiteX76" fmla="*/ 951327 w 1088717"/>
                <a:gd name="connsiteY76" fmla="*/ 1009865 h 1035207"/>
                <a:gd name="connsiteX77" fmla="*/ 1030919 w 1088717"/>
                <a:gd name="connsiteY77" fmla="*/ 1003586 h 1035207"/>
                <a:gd name="connsiteX78" fmla="*/ 1077049 w 1088717"/>
                <a:gd name="connsiteY78" fmla="*/ 996132 h 1035207"/>
                <a:gd name="connsiteX79" fmla="*/ 1089886 w 1088717"/>
                <a:gd name="connsiteY79" fmla="*/ 954454 h 1035207"/>
                <a:gd name="connsiteX80" fmla="*/ 901347 w 1088717"/>
                <a:gd name="connsiteY80" fmla="*/ 180485 h 1035207"/>
                <a:gd name="connsiteX81" fmla="*/ 897752 w 1088717"/>
                <a:gd name="connsiteY81" fmla="*/ 187664 h 1035207"/>
                <a:gd name="connsiteX82" fmla="*/ 895099 w 1088717"/>
                <a:gd name="connsiteY82" fmla="*/ 193377 h 1035207"/>
                <a:gd name="connsiteX83" fmla="*/ 875929 w 1088717"/>
                <a:gd name="connsiteY83" fmla="*/ 241076 h 1035207"/>
                <a:gd name="connsiteX84" fmla="*/ 875929 w 1088717"/>
                <a:gd name="connsiteY84" fmla="*/ 241093 h 1035207"/>
                <a:gd name="connsiteX85" fmla="*/ 745928 w 1088717"/>
                <a:gd name="connsiteY85" fmla="*/ 937231 h 1035207"/>
                <a:gd name="connsiteX86" fmla="*/ 745329 w 1088717"/>
                <a:gd name="connsiteY86" fmla="*/ 939435 h 1035207"/>
                <a:gd name="connsiteX87" fmla="*/ 740279 w 1088717"/>
                <a:gd name="connsiteY87" fmla="*/ 922666 h 1035207"/>
                <a:gd name="connsiteX88" fmla="*/ 740279 w 1088717"/>
                <a:gd name="connsiteY88" fmla="*/ 922658 h 1035207"/>
                <a:gd name="connsiteX89" fmla="*/ 731549 w 1088717"/>
                <a:gd name="connsiteY89" fmla="*/ 897586 h 1035207"/>
                <a:gd name="connsiteX90" fmla="*/ 752089 w 1088717"/>
                <a:gd name="connsiteY90" fmla="*/ 276655 h 1035207"/>
                <a:gd name="connsiteX91" fmla="*/ 761932 w 1088717"/>
                <a:gd name="connsiteY91" fmla="*/ 144048 h 1035207"/>
                <a:gd name="connsiteX92" fmla="*/ 756369 w 1088717"/>
                <a:gd name="connsiteY92" fmla="*/ 78430 h 1035207"/>
                <a:gd name="connsiteX93" fmla="*/ 758252 w 1088717"/>
                <a:gd name="connsiteY93" fmla="*/ 77255 h 1035207"/>
                <a:gd name="connsiteX94" fmla="*/ 833393 w 1088717"/>
                <a:gd name="connsiteY94" fmla="*/ 120194 h 1035207"/>
                <a:gd name="connsiteX95" fmla="*/ 893387 w 1088717"/>
                <a:gd name="connsiteY95" fmla="*/ 150121 h 1035207"/>
                <a:gd name="connsiteX96" fmla="*/ 915211 w 1088717"/>
                <a:gd name="connsiteY96" fmla="*/ 153226 h 1035207"/>
                <a:gd name="connsiteX97" fmla="*/ 915211 w 1088717"/>
                <a:gd name="connsiteY97" fmla="*/ 153629 h 1035207"/>
                <a:gd name="connsiteX98" fmla="*/ 915211 w 1088717"/>
                <a:gd name="connsiteY98" fmla="*/ 153638 h 1035207"/>
                <a:gd name="connsiteX99" fmla="*/ 903400 w 1088717"/>
                <a:gd name="connsiteY99" fmla="*/ 178023 h 1035207"/>
                <a:gd name="connsiteX100" fmla="*/ 901347 w 1088717"/>
                <a:gd name="connsiteY100" fmla="*/ 180485 h 103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88717" h="1035207">
                  <a:moveTo>
                    <a:pt x="1089886" y="954454"/>
                  </a:moveTo>
                  <a:cubicBezTo>
                    <a:pt x="1089286" y="952481"/>
                    <a:pt x="1088516" y="950594"/>
                    <a:pt x="1087404" y="948862"/>
                  </a:cubicBezTo>
                  <a:cubicBezTo>
                    <a:pt x="1101952" y="845040"/>
                    <a:pt x="1051288" y="745044"/>
                    <a:pt x="1033829" y="643710"/>
                  </a:cubicBezTo>
                  <a:cubicBezTo>
                    <a:pt x="1008752" y="494403"/>
                    <a:pt x="1020734" y="324415"/>
                    <a:pt x="912472" y="204956"/>
                  </a:cubicBezTo>
                  <a:cubicBezTo>
                    <a:pt x="918549" y="185691"/>
                    <a:pt x="925139" y="167593"/>
                    <a:pt x="928990" y="147093"/>
                  </a:cubicBezTo>
                  <a:cubicBezTo>
                    <a:pt x="948074" y="139862"/>
                    <a:pt x="962966" y="118196"/>
                    <a:pt x="953038" y="98107"/>
                  </a:cubicBezTo>
                  <a:cubicBezTo>
                    <a:pt x="995316" y="46600"/>
                    <a:pt x="865145" y="41256"/>
                    <a:pt x="840839" y="63926"/>
                  </a:cubicBezTo>
                  <a:cubicBezTo>
                    <a:pt x="839556" y="65067"/>
                    <a:pt x="841096" y="64947"/>
                    <a:pt x="841780" y="64870"/>
                  </a:cubicBezTo>
                  <a:cubicBezTo>
                    <a:pt x="873618" y="61164"/>
                    <a:pt x="908193" y="58076"/>
                    <a:pt x="937891" y="75334"/>
                  </a:cubicBezTo>
                  <a:lnTo>
                    <a:pt x="937891" y="75334"/>
                  </a:lnTo>
                  <a:cubicBezTo>
                    <a:pt x="940543" y="76475"/>
                    <a:pt x="942597" y="77710"/>
                    <a:pt x="940030" y="79957"/>
                  </a:cubicBezTo>
                  <a:cubicBezTo>
                    <a:pt x="934724" y="83834"/>
                    <a:pt x="926250" y="81141"/>
                    <a:pt x="921201" y="86039"/>
                  </a:cubicBezTo>
                  <a:cubicBezTo>
                    <a:pt x="912900" y="92618"/>
                    <a:pt x="916665" y="107517"/>
                    <a:pt x="927021" y="109464"/>
                  </a:cubicBezTo>
                  <a:cubicBezTo>
                    <a:pt x="927021" y="109472"/>
                    <a:pt x="928048" y="109670"/>
                    <a:pt x="928305" y="110707"/>
                  </a:cubicBezTo>
                  <a:cubicBezTo>
                    <a:pt x="928647" y="111900"/>
                    <a:pt x="927877" y="113152"/>
                    <a:pt x="927791" y="113212"/>
                  </a:cubicBezTo>
                  <a:cubicBezTo>
                    <a:pt x="923427" y="120692"/>
                    <a:pt x="911445" y="121069"/>
                    <a:pt x="904684" y="126052"/>
                  </a:cubicBezTo>
                  <a:cubicBezTo>
                    <a:pt x="862235" y="110416"/>
                    <a:pt x="820641" y="99437"/>
                    <a:pt x="779562" y="81501"/>
                  </a:cubicBezTo>
                  <a:lnTo>
                    <a:pt x="779562" y="81501"/>
                  </a:lnTo>
                  <a:cubicBezTo>
                    <a:pt x="771517" y="78216"/>
                    <a:pt x="763130" y="74819"/>
                    <a:pt x="754829" y="71586"/>
                  </a:cubicBezTo>
                  <a:cubicBezTo>
                    <a:pt x="752518" y="63060"/>
                    <a:pt x="750378" y="55863"/>
                    <a:pt x="749351" y="70368"/>
                  </a:cubicBezTo>
                  <a:cubicBezTo>
                    <a:pt x="749266" y="70616"/>
                    <a:pt x="749266" y="70891"/>
                    <a:pt x="749266" y="71148"/>
                  </a:cubicBezTo>
                  <a:cubicBezTo>
                    <a:pt x="747810" y="106556"/>
                    <a:pt x="745756" y="141629"/>
                    <a:pt x="742847" y="176951"/>
                  </a:cubicBezTo>
                  <a:cubicBezTo>
                    <a:pt x="740023" y="193180"/>
                    <a:pt x="737369" y="210009"/>
                    <a:pt x="735058" y="226966"/>
                  </a:cubicBezTo>
                  <a:cubicBezTo>
                    <a:pt x="732149" y="226048"/>
                    <a:pt x="728897" y="226503"/>
                    <a:pt x="726243" y="227970"/>
                  </a:cubicBezTo>
                  <a:cubicBezTo>
                    <a:pt x="685934" y="249645"/>
                    <a:pt x="637922" y="252501"/>
                    <a:pt x="593932" y="242243"/>
                  </a:cubicBezTo>
                  <a:cubicBezTo>
                    <a:pt x="602662" y="206715"/>
                    <a:pt x="609423" y="178924"/>
                    <a:pt x="622517" y="146870"/>
                  </a:cubicBezTo>
                  <a:cubicBezTo>
                    <a:pt x="628422" y="132794"/>
                    <a:pt x="635697" y="119576"/>
                    <a:pt x="642458" y="106041"/>
                  </a:cubicBezTo>
                  <a:cubicBezTo>
                    <a:pt x="644084" y="102507"/>
                    <a:pt x="643912" y="98382"/>
                    <a:pt x="641859" y="95036"/>
                  </a:cubicBezTo>
                  <a:cubicBezTo>
                    <a:pt x="635782" y="86768"/>
                    <a:pt x="623801" y="93098"/>
                    <a:pt x="614901" y="91588"/>
                  </a:cubicBezTo>
                  <a:cubicBezTo>
                    <a:pt x="569284" y="90405"/>
                    <a:pt x="518449" y="83971"/>
                    <a:pt x="475828" y="77624"/>
                  </a:cubicBezTo>
                  <a:cubicBezTo>
                    <a:pt x="474031" y="77204"/>
                    <a:pt x="473089" y="80077"/>
                    <a:pt x="475057" y="80601"/>
                  </a:cubicBezTo>
                  <a:cubicBezTo>
                    <a:pt x="521101" y="97721"/>
                    <a:pt x="567744" y="105424"/>
                    <a:pt x="615842" y="109043"/>
                  </a:cubicBezTo>
                  <a:cubicBezTo>
                    <a:pt x="590766" y="151322"/>
                    <a:pt x="580496" y="197700"/>
                    <a:pt x="568343" y="247252"/>
                  </a:cubicBezTo>
                  <a:cubicBezTo>
                    <a:pt x="545492" y="343980"/>
                    <a:pt x="529318" y="443590"/>
                    <a:pt x="520246" y="542325"/>
                  </a:cubicBezTo>
                  <a:cubicBezTo>
                    <a:pt x="520246" y="542694"/>
                    <a:pt x="519732" y="542702"/>
                    <a:pt x="519732" y="542333"/>
                  </a:cubicBezTo>
                  <a:cubicBezTo>
                    <a:pt x="514854" y="489127"/>
                    <a:pt x="505953" y="434103"/>
                    <a:pt x="493115" y="382270"/>
                  </a:cubicBezTo>
                  <a:cubicBezTo>
                    <a:pt x="489777" y="368503"/>
                    <a:pt x="487125" y="357112"/>
                    <a:pt x="483359" y="345266"/>
                  </a:cubicBezTo>
                  <a:cubicBezTo>
                    <a:pt x="464702" y="275009"/>
                    <a:pt x="438257" y="207641"/>
                    <a:pt x="399574" y="145952"/>
                  </a:cubicBezTo>
                  <a:cubicBezTo>
                    <a:pt x="398974" y="144254"/>
                    <a:pt x="398033" y="142710"/>
                    <a:pt x="396749" y="141449"/>
                  </a:cubicBezTo>
                  <a:cubicBezTo>
                    <a:pt x="393925" y="138207"/>
                    <a:pt x="392641" y="132417"/>
                    <a:pt x="388619" y="131010"/>
                  </a:cubicBezTo>
                  <a:cubicBezTo>
                    <a:pt x="384597" y="131216"/>
                    <a:pt x="386908" y="135170"/>
                    <a:pt x="387849" y="137409"/>
                  </a:cubicBezTo>
                  <a:cubicBezTo>
                    <a:pt x="331449" y="123248"/>
                    <a:pt x="277618" y="153852"/>
                    <a:pt x="223273" y="164308"/>
                  </a:cubicBezTo>
                  <a:cubicBezTo>
                    <a:pt x="213088" y="165715"/>
                    <a:pt x="197427" y="170518"/>
                    <a:pt x="189553" y="162627"/>
                  </a:cubicBezTo>
                  <a:cubicBezTo>
                    <a:pt x="187071" y="152651"/>
                    <a:pt x="200165" y="145721"/>
                    <a:pt x="208039" y="142555"/>
                  </a:cubicBezTo>
                  <a:cubicBezTo>
                    <a:pt x="230719" y="139305"/>
                    <a:pt x="223700" y="106727"/>
                    <a:pt x="202476" y="115605"/>
                  </a:cubicBezTo>
                  <a:cubicBezTo>
                    <a:pt x="202048" y="114696"/>
                    <a:pt x="201620" y="113684"/>
                    <a:pt x="201106" y="113830"/>
                  </a:cubicBezTo>
                  <a:cubicBezTo>
                    <a:pt x="200765" y="107414"/>
                    <a:pt x="207012" y="101530"/>
                    <a:pt x="212318" y="97361"/>
                  </a:cubicBezTo>
                  <a:cubicBezTo>
                    <a:pt x="223273" y="88818"/>
                    <a:pt x="237736" y="82891"/>
                    <a:pt x="251686" y="85961"/>
                  </a:cubicBezTo>
                  <a:cubicBezTo>
                    <a:pt x="256308" y="87488"/>
                    <a:pt x="261700" y="88826"/>
                    <a:pt x="265551" y="85104"/>
                  </a:cubicBezTo>
                  <a:cubicBezTo>
                    <a:pt x="271798" y="79708"/>
                    <a:pt x="271456" y="68472"/>
                    <a:pt x="264352" y="63952"/>
                  </a:cubicBezTo>
                  <a:cubicBezTo>
                    <a:pt x="261015" y="61713"/>
                    <a:pt x="257421" y="59165"/>
                    <a:pt x="254681" y="56060"/>
                  </a:cubicBezTo>
                  <a:cubicBezTo>
                    <a:pt x="244925" y="44627"/>
                    <a:pt x="264952" y="40329"/>
                    <a:pt x="273253" y="36881"/>
                  </a:cubicBezTo>
                  <a:cubicBezTo>
                    <a:pt x="321864" y="16939"/>
                    <a:pt x="378092" y="20833"/>
                    <a:pt x="424992" y="43846"/>
                  </a:cubicBezTo>
                  <a:cubicBezTo>
                    <a:pt x="433807" y="47320"/>
                    <a:pt x="445789" y="52072"/>
                    <a:pt x="446730" y="60495"/>
                  </a:cubicBezTo>
                  <a:cubicBezTo>
                    <a:pt x="452293" y="68764"/>
                    <a:pt x="452635" y="50579"/>
                    <a:pt x="450495" y="47569"/>
                  </a:cubicBezTo>
                  <a:cubicBezTo>
                    <a:pt x="423451" y="2915"/>
                    <a:pt x="342832" y="-5843"/>
                    <a:pt x="295762" y="3335"/>
                  </a:cubicBezTo>
                  <a:cubicBezTo>
                    <a:pt x="261272" y="11629"/>
                    <a:pt x="218908" y="22231"/>
                    <a:pt x="228494" y="59817"/>
                  </a:cubicBezTo>
                  <a:cubicBezTo>
                    <a:pt x="199310" y="64724"/>
                    <a:pt x="160797" y="95937"/>
                    <a:pt x="177400" y="128163"/>
                  </a:cubicBezTo>
                  <a:cubicBezTo>
                    <a:pt x="153095" y="145120"/>
                    <a:pt x="155320" y="184722"/>
                    <a:pt x="186044" y="192656"/>
                  </a:cubicBezTo>
                  <a:cubicBezTo>
                    <a:pt x="100034" y="281562"/>
                    <a:pt x="65030" y="412291"/>
                    <a:pt x="60237" y="536835"/>
                  </a:cubicBezTo>
                  <a:cubicBezTo>
                    <a:pt x="60922" y="617000"/>
                    <a:pt x="60836" y="697808"/>
                    <a:pt x="33450" y="774242"/>
                  </a:cubicBezTo>
                  <a:lnTo>
                    <a:pt x="33450" y="774250"/>
                  </a:lnTo>
                  <a:cubicBezTo>
                    <a:pt x="16076" y="841026"/>
                    <a:pt x="-16189" y="915315"/>
                    <a:pt x="14792" y="982520"/>
                  </a:cubicBezTo>
                  <a:cubicBezTo>
                    <a:pt x="15991" y="986131"/>
                    <a:pt x="20184" y="988078"/>
                    <a:pt x="23779" y="987160"/>
                  </a:cubicBezTo>
                  <a:cubicBezTo>
                    <a:pt x="30026" y="1034010"/>
                    <a:pt x="84371" y="1037690"/>
                    <a:pt x="121857" y="1034362"/>
                  </a:cubicBezTo>
                  <a:cubicBezTo>
                    <a:pt x="156604" y="1033221"/>
                    <a:pt x="195886" y="1031600"/>
                    <a:pt x="230205" y="1030116"/>
                  </a:cubicBezTo>
                  <a:cubicBezTo>
                    <a:pt x="233200" y="1029987"/>
                    <a:pt x="253655" y="1029095"/>
                    <a:pt x="255623" y="1029009"/>
                  </a:cubicBezTo>
                  <a:cubicBezTo>
                    <a:pt x="341977" y="1025184"/>
                    <a:pt x="454774" y="1021015"/>
                    <a:pt x="541384" y="1017936"/>
                  </a:cubicBezTo>
                  <a:cubicBezTo>
                    <a:pt x="569113" y="1014445"/>
                    <a:pt x="556276" y="967209"/>
                    <a:pt x="543182" y="953571"/>
                  </a:cubicBezTo>
                  <a:cubicBezTo>
                    <a:pt x="527349" y="717802"/>
                    <a:pt x="535651" y="484384"/>
                    <a:pt x="591023" y="254586"/>
                  </a:cubicBezTo>
                  <a:cubicBezTo>
                    <a:pt x="639890" y="276604"/>
                    <a:pt x="686105" y="271123"/>
                    <a:pt x="731721" y="251352"/>
                  </a:cubicBezTo>
                  <a:cubicBezTo>
                    <a:pt x="712293" y="403670"/>
                    <a:pt x="697060" y="595008"/>
                    <a:pt x="699028" y="737170"/>
                  </a:cubicBezTo>
                  <a:cubicBezTo>
                    <a:pt x="699970" y="789295"/>
                    <a:pt x="700654" y="825261"/>
                    <a:pt x="705190" y="872291"/>
                  </a:cubicBezTo>
                  <a:cubicBezTo>
                    <a:pt x="706817" y="887576"/>
                    <a:pt x="709726" y="902706"/>
                    <a:pt x="713834" y="917520"/>
                  </a:cubicBezTo>
                  <a:cubicBezTo>
                    <a:pt x="714433" y="920256"/>
                    <a:pt x="716488" y="922443"/>
                    <a:pt x="719140" y="923258"/>
                  </a:cubicBezTo>
                  <a:cubicBezTo>
                    <a:pt x="720424" y="968333"/>
                    <a:pt x="726243" y="1023674"/>
                    <a:pt x="784526" y="1021899"/>
                  </a:cubicBezTo>
                  <a:cubicBezTo>
                    <a:pt x="839983" y="1019300"/>
                    <a:pt x="896553" y="1014016"/>
                    <a:pt x="951327" y="1009865"/>
                  </a:cubicBezTo>
                  <a:cubicBezTo>
                    <a:pt x="977430" y="1007780"/>
                    <a:pt x="1004473" y="1005593"/>
                    <a:pt x="1030919" y="1003586"/>
                  </a:cubicBezTo>
                  <a:cubicBezTo>
                    <a:pt x="1046238" y="1001656"/>
                    <a:pt x="1063013" y="1003603"/>
                    <a:pt x="1077049" y="996132"/>
                  </a:cubicBezTo>
                  <a:cubicBezTo>
                    <a:pt x="1085948" y="990162"/>
                    <a:pt x="1092881" y="967063"/>
                    <a:pt x="1089886" y="954454"/>
                  </a:cubicBezTo>
                  <a:close/>
                  <a:moveTo>
                    <a:pt x="901347" y="180485"/>
                  </a:moveTo>
                  <a:cubicBezTo>
                    <a:pt x="900063" y="182870"/>
                    <a:pt x="898864" y="185280"/>
                    <a:pt x="897752" y="187664"/>
                  </a:cubicBezTo>
                  <a:cubicBezTo>
                    <a:pt x="897495" y="188136"/>
                    <a:pt x="895355" y="192794"/>
                    <a:pt x="895099" y="193377"/>
                  </a:cubicBezTo>
                  <a:cubicBezTo>
                    <a:pt x="887995" y="208928"/>
                    <a:pt x="881833" y="225268"/>
                    <a:pt x="875929" y="241076"/>
                  </a:cubicBezTo>
                  <a:lnTo>
                    <a:pt x="875929" y="241093"/>
                  </a:lnTo>
                  <a:cubicBezTo>
                    <a:pt x="790602" y="462374"/>
                    <a:pt x="747126" y="700390"/>
                    <a:pt x="745928" y="937231"/>
                  </a:cubicBezTo>
                  <a:cubicBezTo>
                    <a:pt x="745928" y="938552"/>
                    <a:pt x="745671" y="940610"/>
                    <a:pt x="745329" y="939435"/>
                  </a:cubicBezTo>
                  <a:cubicBezTo>
                    <a:pt x="743531" y="933551"/>
                    <a:pt x="741734" y="928507"/>
                    <a:pt x="740279" y="922666"/>
                  </a:cubicBezTo>
                  <a:lnTo>
                    <a:pt x="740279" y="922658"/>
                  </a:lnTo>
                  <a:cubicBezTo>
                    <a:pt x="738225" y="914029"/>
                    <a:pt x="734973" y="905700"/>
                    <a:pt x="731549" y="897586"/>
                  </a:cubicBezTo>
                  <a:cubicBezTo>
                    <a:pt x="721451" y="692276"/>
                    <a:pt x="730352" y="479418"/>
                    <a:pt x="752089" y="276655"/>
                  </a:cubicBezTo>
                  <a:cubicBezTo>
                    <a:pt x="756540" y="229960"/>
                    <a:pt x="760306" y="189431"/>
                    <a:pt x="761932" y="144048"/>
                  </a:cubicBezTo>
                  <a:cubicBezTo>
                    <a:pt x="762446" y="130487"/>
                    <a:pt x="758252" y="90550"/>
                    <a:pt x="756369" y="78430"/>
                  </a:cubicBezTo>
                  <a:cubicBezTo>
                    <a:pt x="756197" y="77384"/>
                    <a:pt x="757310" y="76689"/>
                    <a:pt x="758252" y="77255"/>
                  </a:cubicBezTo>
                  <a:cubicBezTo>
                    <a:pt x="782814" y="92755"/>
                    <a:pt x="808232" y="105947"/>
                    <a:pt x="833393" y="120194"/>
                  </a:cubicBezTo>
                  <a:cubicBezTo>
                    <a:pt x="852735" y="131345"/>
                    <a:pt x="872334" y="141586"/>
                    <a:pt x="893387" y="150121"/>
                  </a:cubicBezTo>
                  <a:cubicBezTo>
                    <a:pt x="900148" y="153166"/>
                    <a:pt x="908022" y="156399"/>
                    <a:pt x="915211" y="153226"/>
                  </a:cubicBezTo>
                  <a:cubicBezTo>
                    <a:pt x="915297" y="153183"/>
                    <a:pt x="915211" y="153629"/>
                    <a:pt x="915211" y="153629"/>
                  </a:cubicBezTo>
                  <a:lnTo>
                    <a:pt x="915211" y="153638"/>
                  </a:lnTo>
                  <a:cubicBezTo>
                    <a:pt x="911017" y="161666"/>
                    <a:pt x="907337" y="169300"/>
                    <a:pt x="903400" y="178023"/>
                  </a:cubicBezTo>
                  <a:cubicBezTo>
                    <a:pt x="902459" y="178684"/>
                    <a:pt x="901774" y="179524"/>
                    <a:pt x="901347" y="180485"/>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nvGrpSpPr>
            <p:cNvPr id="326" name="Graphic 39" descr="Man wearing a jacket">
              <a:extLst>
                <a:ext uri="{FF2B5EF4-FFF2-40B4-BE49-F238E27FC236}">
                  <a16:creationId xmlns:a16="http://schemas.microsoft.com/office/drawing/2014/main" id="{5E95B7CB-505C-30F3-29A0-2D2CA000E4EE}"/>
                </a:ext>
              </a:extLst>
            </p:cNvPr>
            <p:cNvGrpSpPr/>
            <p:nvPr/>
          </p:nvGrpSpPr>
          <p:grpSpPr>
            <a:xfrm>
              <a:off x="4071652" y="3884092"/>
              <a:ext cx="788425" cy="570059"/>
              <a:chOff x="4071652" y="4001036"/>
              <a:chExt cx="788425" cy="570059"/>
            </a:xfrm>
            <a:solidFill>
              <a:srgbClr val="FFFFFF"/>
            </a:solidFill>
          </p:grpSpPr>
          <p:sp>
            <p:nvSpPr>
              <p:cNvPr id="382" name="Freeform: Shape 381">
                <a:extLst>
                  <a:ext uri="{FF2B5EF4-FFF2-40B4-BE49-F238E27FC236}">
                    <a16:creationId xmlns:a16="http://schemas.microsoft.com/office/drawing/2014/main" id="{ACACC731-2403-B6D5-3116-8F68B1C828A0}"/>
                  </a:ext>
                </a:extLst>
              </p:cNvPr>
              <p:cNvSpPr/>
              <p:nvPr/>
            </p:nvSpPr>
            <p:spPr>
              <a:xfrm>
                <a:off x="4833313" y="4266172"/>
                <a:ext cx="26764" cy="249603"/>
              </a:xfrm>
              <a:custGeom>
                <a:avLst/>
                <a:gdLst>
                  <a:gd name="connsiteX0" fmla="*/ 7361 w 26764"/>
                  <a:gd name="connsiteY0" fmla="*/ 78 h 249603"/>
                  <a:gd name="connsiteX1" fmla="*/ 1884 w 26764"/>
                  <a:gd name="connsiteY1" fmla="*/ 5370 h 249603"/>
                  <a:gd name="connsiteX2" fmla="*/ 17632 w 26764"/>
                  <a:gd name="connsiteY2" fmla="*/ 244544 h 249603"/>
                  <a:gd name="connsiteX3" fmla="*/ 28586 w 26764"/>
                  <a:gd name="connsiteY3" fmla="*/ 244544 h 249603"/>
                  <a:gd name="connsiteX4" fmla="*/ 12838 w 26764"/>
                  <a:gd name="connsiteY4" fmla="*/ 5379 h 249603"/>
                  <a:gd name="connsiteX5" fmla="*/ 7361 w 26764"/>
                  <a:gd name="connsiteY5" fmla="*/ 78 h 249603"/>
                  <a:gd name="connsiteX6" fmla="*/ 7361 w 26764"/>
                  <a:gd name="connsiteY6" fmla="*/ 78 h 2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64" h="249603">
                    <a:moveTo>
                      <a:pt x="7361" y="78"/>
                    </a:moveTo>
                    <a:cubicBezTo>
                      <a:pt x="4451" y="-33"/>
                      <a:pt x="1713" y="2377"/>
                      <a:pt x="1884" y="5370"/>
                    </a:cubicBezTo>
                    <a:cubicBezTo>
                      <a:pt x="1969" y="76357"/>
                      <a:pt x="7875" y="165760"/>
                      <a:pt x="17632" y="244544"/>
                    </a:cubicBezTo>
                    <a:cubicBezTo>
                      <a:pt x="17973" y="250917"/>
                      <a:pt x="29528" y="251826"/>
                      <a:pt x="28586" y="244544"/>
                    </a:cubicBezTo>
                    <a:cubicBezTo>
                      <a:pt x="19343" y="170512"/>
                      <a:pt x="12838" y="78056"/>
                      <a:pt x="12838" y="5379"/>
                    </a:cubicBezTo>
                    <a:cubicBezTo>
                      <a:pt x="12924" y="2360"/>
                      <a:pt x="10357" y="-119"/>
                      <a:pt x="7361" y="78"/>
                    </a:cubicBezTo>
                    <a:lnTo>
                      <a:pt x="7361" y="78"/>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3" name="Freeform: Shape 382">
                <a:extLst>
                  <a:ext uri="{FF2B5EF4-FFF2-40B4-BE49-F238E27FC236}">
                    <a16:creationId xmlns:a16="http://schemas.microsoft.com/office/drawing/2014/main" id="{B00354CE-FA01-8DBF-7F89-A82624FB3DE3}"/>
                  </a:ext>
                </a:extLst>
              </p:cNvPr>
              <p:cNvSpPr/>
              <p:nvPr/>
            </p:nvSpPr>
            <p:spPr>
              <a:xfrm>
                <a:off x="4194443" y="4357574"/>
                <a:ext cx="139610" cy="96426"/>
              </a:xfrm>
              <a:custGeom>
                <a:avLst/>
                <a:gdLst>
                  <a:gd name="connsiteX0" fmla="*/ 135901 w 139610"/>
                  <a:gd name="connsiteY0" fmla="*/ 68 h 96426"/>
                  <a:gd name="connsiteX1" fmla="*/ 4190 w 139610"/>
                  <a:gd name="connsiteY1" fmla="*/ 85989 h 96426"/>
                  <a:gd name="connsiteX2" fmla="*/ 2220 w 139610"/>
                  <a:gd name="connsiteY2" fmla="*/ 92722 h 96426"/>
                  <a:gd name="connsiteX3" fmla="*/ 9666 w 139610"/>
                  <a:gd name="connsiteY3" fmla="*/ 95450 h 96426"/>
                  <a:gd name="connsiteX4" fmla="*/ 72570 w 139610"/>
                  <a:gd name="connsiteY4" fmla="*/ 50186 h 96426"/>
                  <a:gd name="connsiteX5" fmla="*/ 138811 w 139610"/>
                  <a:gd name="connsiteY5" fmla="*/ 10224 h 96426"/>
                  <a:gd name="connsiteX6" fmla="*/ 135901 w 139610"/>
                  <a:gd name="connsiteY6" fmla="*/ 68 h 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10" h="96426">
                    <a:moveTo>
                      <a:pt x="135901" y="68"/>
                    </a:moveTo>
                    <a:cubicBezTo>
                      <a:pt x="89430" y="22781"/>
                      <a:pt x="47837" y="53163"/>
                      <a:pt x="4190" y="85989"/>
                    </a:cubicBezTo>
                    <a:cubicBezTo>
                      <a:pt x="2135" y="87567"/>
                      <a:pt x="1365" y="90295"/>
                      <a:pt x="2220" y="92722"/>
                    </a:cubicBezTo>
                    <a:cubicBezTo>
                      <a:pt x="2991" y="95913"/>
                      <a:pt x="7099" y="97783"/>
                      <a:pt x="9666" y="95450"/>
                    </a:cubicBezTo>
                    <a:cubicBezTo>
                      <a:pt x="31747" y="78475"/>
                      <a:pt x="52287" y="63670"/>
                      <a:pt x="72570" y="50186"/>
                    </a:cubicBezTo>
                    <a:cubicBezTo>
                      <a:pt x="95249" y="35056"/>
                      <a:pt x="116902" y="21984"/>
                      <a:pt x="138811" y="10224"/>
                    </a:cubicBezTo>
                    <a:cubicBezTo>
                      <a:pt x="143860" y="7908"/>
                      <a:pt x="141122" y="-52"/>
                      <a:pt x="135901" y="68"/>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4" name="Freeform: Shape 383">
                <a:extLst>
                  <a:ext uri="{FF2B5EF4-FFF2-40B4-BE49-F238E27FC236}">
                    <a16:creationId xmlns:a16="http://schemas.microsoft.com/office/drawing/2014/main" id="{C7BF7D3B-797D-ABC3-F19F-ADB7B84C6FAF}"/>
                  </a:ext>
                </a:extLst>
              </p:cNvPr>
              <p:cNvSpPr/>
              <p:nvPr/>
            </p:nvSpPr>
            <p:spPr>
              <a:xfrm>
                <a:off x="4716933" y="4351640"/>
                <a:ext cx="45496" cy="38453"/>
              </a:xfrm>
              <a:custGeom>
                <a:avLst/>
                <a:gdLst>
                  <a:gd name="connsiteX0" fmla="*/ 7349 w 45496"/>
                  <a:gd name="connsiteY0" fmla="*/ 67 h 38453"/>
                  <a:gd name="connsiteX1" fmla="*/ 45263 w 45496"/>
                  <a:gd name="connsiteY1" fmla="*/ 37516 h 38453"/>
                  <a:gd name="connsiteX2" fmla="*/ 44663 w 45496"/>
                  <a:gd name="connsiteY2" fmla="*/ 28793 h 38453"/>
                  <a:gd name="connsiteX3" fmla="*/ 11971 w 45496"/>
                  <a:gd name="connsiteY3" fmla="*/ 2357 h 38453"/>
                  <a:gd name="connsiteX4" fmla="*/ 7349 w 45496"/>
                  <a:gd name="connsiteY4" fmla="*/ 67 h 38453"/>
                  <a:gd name="connsiteX5" fmla="*/ 7349 w 45496"/>
                  <a:gd name="connsiteY5" fmla="*/ 67 h 3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96" h="38453">
                    <a:moveTo>
                      <a:pt x="7349" y="67"/>
                    </a:moveTo>
                    <a:cubicBezTo>
                      <a:pt x="-15245" y="1311"/>
                      <a:pt x="39016" y="45691"/>
                      <a:pt x="45263" y="37516"/>
                    </a:cubicBezTo>
                    <a:cubicBezTo>
                      <a:pt x="48087" y="35269"/>
                      <a:pt x="48258" y="30320"/>
                      <a:pt x="44663" y="28793"/>
                    </a:cubicBezTo>
                    <a:cubicBezTo>
                      <a:pt x="31911" y="22506"/>
                      <a:pt x="20786" y="13482"/>
                      <a:pt x="11971" y="2357"/>
                    </a:cubicBezTo>
                    <a:cubicBezTo>
                      <a:pt x="10858" y="908"/>
                      <a:pt x="9146" y="58"/>
                      <a:pt x="7349" y="67"/>
                    </a:cubicBezTo>
                    <a:lnTo>
                      <a:pt x="7349" y="67"/>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5" name="Freeform: Shape 384">
                <a:extLst>
                  <a:ext uri="{FF2B5EF4-FFF2-40B4-BE49-F238E27FC236}">
                    <a16:creationId xmlns:a16="http://schemas.microsoft.com/office/drawing/2014/main" id="{1D3DC4EE-9272-45B5-0F94-CB9E2A49BC43}"/>
                  </a:ext>
                </a:extLst>
              </p:cNvPr>
              <p:cNvSpPr/>
              <p:nvPr/>
            </p:nvSpPr>
            <p:spPr>
              <a:xfrm>
                <a:off x="4167170" y="4026210"/>
                <a:ext cx="138157" cy="55471"/>
              </a:xfrm>
              <a:custGeom>
                <a:avLst/>
                <a:gdLst>
                  <a:gd name="connsiteX0" fmla="*/ 8525 w 138157"/>
                  <a:gd name="connsiteY0" fmla="*/ 69 h 55471"/>
                  <a:gd name="connsiteX1" fmla="*/ 6899 w 138157"/>
                  <a:gd name="connsiteY1" fmla="*/ 51104 h 55471"/>
                  <a:gd name="connsiteX2" fmla="*/ 23588 w 138157"/>
                  <a:gd name="connsiteY2" fmla="*/ 55539 h 55471"/>
                  <a:gd name="connsiteX3" fmla="*/ 139638 w 138157"/>
                  <a:gd name="connsiteY3" fmla="*/ 30613 h 55471"/>
                  <a:gd name="connsiteX4" fmla="*/ 109171 w 138157"/>
                  <a:gd name="connsiteY4" fmla="*/ 28820 h 55471"/>
                  <a:gd name="connsiteX5" fmla="*/ 16570 w 138157"/>
                  <a:gd name="connsiteY5" fmla="*/ 44414 h 55471"/>
                  <a:gd name="connsiteX6" fmla="*/ 14260 w 138157"/>
                  <a:gd name="connsiteY6" fmla="*/ 6913 h 55471"/>
                  <a:gd name="connsiteX7" fmla="*/ 8525 w 138157"/>
                  <a:gd name="connsiteY7" fmla="*/ 69 h 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57" h="55471">
                    <a:moveTo>
                      <a:pt x="8525" y="69"/>
                    </a:moveTo>
                    <a:cubicBezTo>
                      <a:pt x="-4227" y="3731"/>
                      <a:pt x="4930" y="41695"/>
                      <a:pt x="6899" y="51104"/>
                    </a:cubicBezTo>
                    <a:cubicBezTo>
                      <a:pt x="9381" y="57598"/>
                      <a:pt x="18025" y="54750"/>
                      <a:pt x="23588" y="55539"/>
                    </a:cubicBezTo>
                    <a:cubicBezTo>
                      <a:pt x="62613" y="54312"/>
                      <a:pt x="103265" y="43556"/>
                      <a:pt x="139638" y="30613"/>
                    </a:cubicBezTo>
                    <a:cubicBezTo>
                      <a:pt x="143575" y="13441"/>
                      <a:pt x="117045" y="28297"/>
                      <a:pt x="109171" y="28820"/>
                    </a:cubicBezTo>
                    <a:cubicBezTo>
                      <a:pt x="79045" y="37158"/>
                      <a:pt x="47893" y="45786"/>
                      <a:pt x="16570" y="44414"/>
                    </a:cubicBezTo>
                    <a:cubicBezTo>
                      <a:pt x="13917" y="32869"/>
                      <a:pt x="11520" y="19385"/>
                      <a:pt x="14260" y="6913"/>
                    </a:cubicBezTo>
                    <a:cubicBezTo>
                      <a:pt x="15287" y="3362"/>
                      <a:pt x="12034" y="-17"/>
                      <a:pt x="8525" y="69"/>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6" name="Freeform: Shape 385">
                <a:extLst>
                  <a:ext uri="{FF2B5EF4-FFF2-40B4-BE49-F238E27FC236}">
                    <a16:creationId xmlns:a16="http://schemas.microsoft.com/office/drawing/2014/main" id="{BB176953-AABD-00E9-5BAF-04608DEA72E1}"/>
                  </a:ext>
                </a:extLst>
              </p:cNvPr>
              <p:cNvSpPr/>
              <p:nvPr/>
            </p:nvSpPr>
            <p:spPr>
              <a:xfrm>
                <a:off x="4729498" y="4001036"/>
                <a:ext cx="67560" cy="52815"/>
              </a:xfrm>
              <a:custGeom>
                <a:avLst/>
                <a:gdLst>
                  <a:gd name="connsiteX0" fmla="*/ 6680 w 67560"/>
                  <a:gd name="connsiteY0" fmla="*/ 34386 h 52815"/>
                  <a:gd name="connsiteX1" fmla="*/ 44849 w 67560"/>
                  <a:gd name="connsiteY1" fmla="*/ 51876 h 52815"/>
                  <a:gd name="connsiteX2" fmla="*/ 68043 w 67560"/>
                  <a:gd name="connsiteY2" fmla="*/ 1655 h 52815"/>
                  <a:gd name="connsiteX3" fmla="*/ 56746 w 67560"/>
                  <a:gd name="connsiteY3" fmla="*/ 24342 h 52815"/>
                  <a:gd name="connsiteX4" fmla="*/ 6680 w 67560"/>
                  <a:gd name="connsiteY4" fmla="*/ 34386 h 52815"/>
                  <a:gd name="connsiteX5" fmla="*/ 6680 w 67560"/>
                  <a:gd name="connsiteY5" fmla="*/ 34386 h 5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60" h="52815">
                    <a:moveTo>
                      <a:pt x="6680" y="34386"/>
                    </a:moveTo>
                    <a:cubicBezTo>
                      <a:pt x="-13603" y="45854"/>
                      <a:pt x="36377" y="56207"/>
                      <a:pt x="44849" y="51876"/>
                    </a:cubicBezTo>
                    <a:cubicBezTo>
                      <a:pt x="65304" y="47741"/>
                      <a:pt x="72835" y="17892"/>
                      <a:pt x="68043" y="1655"/>
                    </a:cubicBezTo>
                    <a:cubicBezTo>
                      <a:pt x="54093" y="-6202"/>
                      <a:pt x="59912" y="17291"/>
                      <a:pt x="56746" y="24342"/>
                    </a:cubicBezTo>
                    <a:cubicBezTo>
                      <a:pt x="51782" y="50538"/>
                      <a:pt x="23198" y="41145"/>
                      <a:pt x="6680" y="34386"/>
                    </a:cubicBezTo>
                    <a:lnTo>
                      <a:pt x="6680" y="34386"/>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7" name="Freeform: Shape 386">
                <a:extLst>
                  <a:ext uri="{FF2B5EF4-FFF2-40B4-BE49-F238E27FC236}">
                    <a16:creationId xmlns:a16="http://schemas.microsoft.com/office/drawing/2014/main" id="{5B981EE4-8F2A-6047-AAC7-667CFFBCECAF}"/>
                  </a:ext>
                </a:extLst>
              </p:cNvPr>
              <p:cNvSpPr/>
              <p:nvPr/>
            </p:nvSpPr>
            <p:spPr>
              <a:xfrm>
                <a:off x="4071652" y="4117812"/>
                <a:ext cx="59718" cy="453283"/>
              </a:xfrm>
              <a:custGeom>
                <a:avLst/>
                <a:gdLst>
                  <a:gd name="connsiteX0" fmla="*/ 50640 w 59718"/>
                  <a:gd name="connsiteY0" fmla="*/ 448443 h 453283"/>
                  <a:gd name="connsiteX1" fmla="*/ 35662 w 59718"/>
                  <a:gd name="connsiteY1" fmla="*/ 54309 h 453283"/>
                  <a:gd name="connsiteX2" fmla="*/ 1942 w 59718"/>
                  <a:gd name="connsiteY2" fmla="*/ 29314 h 453283"/>
                  <a:gd name="connsiteX3" fmla="*/ 35748 w 59718"/>
                  <a:gd name="connsiteY3" fmla="*/ 40044 h 453283"/>
                  <a:gd name="connsiteX4" fmla="*/ 45676 w 59718"/>
                  <a:gd name="connsiteY4" fmla="*/ 1678 h 453283"/>
                  <a:gd name="connsiteX5" fmla="*/ 47387 w 59718"/>
                  <a:gd name="connsiteY5" fmla="*/ 109831 h 453283"/>
                  <a:gd name="connsiteX6" fmla="*/ 61594 w 59718"/>
                  <a:gd name="connsiteY6" fmla="*/ 447979 h 453283"/>
                  <a:gd name="connsiteX7" fmla="*/ 56117 w 59718"/>
                  <a:gd name="connsiteY7" fmla="*/ 453340 h 453283"/>
                  <a:gd name="connsiteX8" fmla="*/ 50640 w 59718"/>
                  <a:gd name="connsiteY8" fmla="*/ 448443 h 4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18" h="453283">
                    <a:moveTo>
                      <a:pt x="50640" y="448443"/>
                    </a:moveTo>
                    <a:cubicBezTo>
                      <a:pt x="46532" y="317311"/>
                      <a:pt x="36005" y="186436"/>
                      <a:pt x="35662" y="54309"/>
                    </a:cubicBezTo>
                    <a:cubicBezTo>
                      <a:pt x="25906" y="43887"/>
                      <a:pt x="11357" y="39281"/>
                      <a:pt x="1942" y="29314"/>
                    </a:cubicBezTo>
                    <a:cubicBezTo>
                      <a:pt x="317" y="9972"/>
                      <a:pt x="29072" y="36485"/>
                      <a:pt x="35748" y="40044"/>
                    </a:cubicBezTo>
                    <a:cubicBezTo>
                      <a:pt x="37631" y="29005"/>
                      <a:pt x="29928" y="-8049"/>
                      <a:pt x="45676" y="1678"/>
                    </a:cubicBezTo>
                    <a:cubicBezTo>
                      <a:pt x="49013" y="34864"/>
                      <a:pt x="45162" y="70434"/>
                      <a:pt x="47387" y="109831"/>
                    </a:cubicBezTo>
                    <a:cubicBezTo>
                      <a:pt x="49955" y="223671"/>
                      <a:pt x="57828" y="334397"/>
                      <a:pt x="61594" y="447979"/>
                    </a:cubicBezTo>
                    <a:cubicBezTo>
                      <a:pt x="61594" y="447979"/>
                      <a:pt x="61337" y="453066"/>
                      <a:pt x="56117" y="453340"/>
                    </a:cubicBezTo>
                    <a:cubicBezTo>
                      <a:pt x="51152" y="453606"/>
                      <a:pt x="50640" y="448443"/>
                      <a:pt x="50640" y="448443"/>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grpSp>
        <p:sp>
          <p:nvSpPr>
            <p:cNvPr id="327" name="Freeform: Shape 326">
              <a:extLst>
                <a:ext uri="{FF2B5EF4-FFF2-40B4-BE49-F238E27FC236}">
                  <a16:creationId xmlns:a16="http://schemas.microsoft.com/office/drawing/2014/main" id="{96A3DA48-0527-0E8F-2DE0-82189CEF5B57}"/>
                </a:ext>
              </a:extLst>
            </p:cNvPr>
            <p:cNvSpPr/>
            <p:nvPr/>
          </p:nvSpPr>
          <p:spPr>
            <a:xfrm>
              <a:off x="4286604" y="3022284"/>
              <a:ext cx="494110" cy="496266"/>
            </a:xfrm>
            <a:custGeom>
              <a:avLst/>
              <a:gdLst>
                <a:gd name="connsiteX0" fmla="*/ 91211 w 494110"/>
                <a:gd name="connsiteY0" fmla="*/ 211457 h 496266"/>
                <a:gd name="connsiteX1" fmla="*/ 1348 w 494110"/>
                <a:gd name="connsiteY1" fmla="*/ 284795 h 496266"/>
                <a:gd name="connsiteX2" fmla="*/ 89747 w 494110"/>
                <a:gd name="connsiteY2" fmla="*/ 350489 h 496266"/>
                <a:gd name="connsiteX3" fmla="*/ 115816 w 494110"/>
                <a:gd name="connsiteY3" fmla="*/ 381128 h 496266"/>
                <a:gd name="connsiteX4" fmla="*/ 347574 w 494110"/>
                <a:gd name="connsiteY4" fmla="*/ 495886 h 496266"/>
                <a:gd name="connsiteX5" fmla="*/ 464095 w 494110"/>
                <a:gd name="connsiteY5" fmla="*/ 413791 h 496266"/>
                <a:gd name="connsiteX6" fmla="*/ 493878 w 494110"/>
                <a:gd name="connsiteY6" fmla="*/ 278439 h 496266"/>
                <a:gd name="connsiteX7" fmla="*/ 464284 w 494110"/>
                <a:gd name="connsiteY7" fmla="*/ 120983 h 496266"/>
                <a:gd name="connsiteX8" fmla="*/ 220184 w 494110"/>
                <a:gd name="connsiteY8" fmla="*/ 2073 h 496266"/>
                <a:gd name="connsiteX9" fmla="*/ 91211 w 494110"/>
                <a:gd name="connsiteY9" fmla="*/ 211457 h 49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110" h="496266">
                  <a:moveTo>
                    <a:pt x="91211" y="211457"/>
                  </a:moveTo>
                  <a:cubicBezTo>
                    <a:pt x="91211" y="211457"/>
                    <a:pt x="-12952" y="215652"/>
                    <a:pt x="1348" y="284795"/>
                  </a:cubicBezTo>
                  <a:cubicBezTo>
                    <a:pt x="17361" y="362198"/>
                    <a:pt x="89747" y="350489"/>
                    <a:pt x="89747" y="350489"/>
                  </a:cubicBezTo>
                  <a:lnTo>
                    <a:pt x="115816" y="381128"/>
                  </a:lnTo>
                  <a:cubicBezTo>
                    <a:pt x="115816" y="381128"/>
                    <a:pt x="204189" y="503949"/>
                    <a:pt x="347574" y="495886"/>
                  </a:cubicBezTo>
                  <a:cubicBezTo>
                    <a:pt x="347574" y="495886"/>
                    <a:pt x="421475" y="489959"/>
                    <a:pt x="464095" y="413791"/>
                  </a:cubicBezTo>
                  <a:cubicBezTo>
                    <a:pt x="491550" y="364728"/>
                    <a:pt x="495205" y="309755"/>
                    <a:pt x="493878" y="278439"/>
                  </a:cubicBezTo>
                  <a:cubicBezTo>
                    <a:pt x="490438" y="197459"/>
                    <a:pt x="464284" y="120983"/>
                    <a:pt x="464284" y="120983"/>
                  </a:cubicBezTo>
                  <a:cubicBezTo>
                    <a:pt x="464284" y="120983"/>
                    <a:pt x="390665" y="-18513"/>
                    <a:pt x="220184" y="2073"/>
                  </a:cubicBezTo>
                  <a:cubicBezTo>
                    <a:pt x="84655" y="18439"/>
                    <a:pt x="98477" y="166246"/>
                    <a:pt x="91211" y="211457"/>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grpSp>
          <p:nvGrpSpPr>
            <p:cNvPr id="328" name="Graphic 39" descr="Man wearing a jacket">
              <a:extLst>
                <a:ext uri="{FF2B5EF4-FFF2-40B4-BE49-F238E27FC236}">
                  <a16:creationId xmlns:a16="http://schemas.microsoft.com/office/drawing/2014/main" id="{96ECAE82-8A69-6B01-0620-67210BEF78A4}"/>
                </a:ext>
              </a:extLst>
            </p:cNvPr>
            <p:cNvGrpSpPr/>
            <p:nvPr/>
          </p:nvGrpSpPr>
          <p:grpSpPr>
            <a:xfrm>
              <a:off x="4242458" y="2851065"/>
              <a:ext cx="612685" cy="673912"/>
              <a:chOff x="4242458" y="2968009"/>
              <a:chExt cx="612685" cy="673912"/>
            </a:xfrm>
            <a:solidFill>
              <a:srgbClr val="191246"/>
            </a:solidFill>
          </p:grpSpPr>
          <p:sp>
            <p:nvSpPr>
              <p:cNvPr id="380" name="Freeform: Shape 379">
                <a:extLst>
                  <a:ext uri="{FF2B5EF4-FFF2-40B4-BE49-F238E27FC236}">
                    <a16:creationId xmlns:a16="http://schemas.microsoft.com/office/drawing/2014/main" id="{9DAD88FC-966E-AACE-6F51-CD66091113B9}"/>
                  </a:ext>
                </a:extLst>
              </p:cNvPr>
              <p:cNvSpPr/>
              <p:nvPr/>
            </p:nvSpPr>
            <p:spPr>
              <a:xfrm>
                <a:off x="4319950" y="3387106"/>
                <a:ext cx="46831" cy="43944"/>
              </a:xfrm>
              <a:custGeom>
                <a:avLst/>
                <a:gdLst>
                  <a:gd name="connsiteX0" fmla="*/ 2570 w 46831"/>
                  <a:gd name="connsiteY0" fmla="*/ 1474 h 43944"/>
                  <a:gd name="connsiteX1" fmla="*/ 3828 w 46831"/>
                  <a:gd name="connsiteY1" fmla="*/ 11150 h 43944"/>
                  <a:gd name="connsiteX2" fmla="*/ 14740 w 46831"/>
                  <a:gd name="connsiteY2" fmla="*/ 13569 h 43944"/>
                  <a:gd name="connsiteX3" fmla="*/ 24522 w 46831"/>
                  <a:gd name="connsiteY3" fmla="*/ 22206 h 43944"/>
                  <a:gd name="connsiteX4" fmla="*/ 30444 w 46831"/>
                  <a:gd name="connsiteY4" fmla="*/ 32285 h 43944"/>
                  <a:gd name="connsiteX5" fmla="*/ 35802 w 46831"/>
                  <a:gd name="connsiteY5" fmla="*/ 42312 h 43944"/>
                  <a:gd name="connsiteX6" fmla="*/ 44873 w 46831"/>
                  <a:gd name="connsiteY6" fmla="*/ 41137 h 43944"/>
                  <a:gd name="connsiteX7" fmla="*/ 33303 w 46831"/>
                  <a:gd name="connsiteY7" fmla="*/ 10875 h 43944"/>
                  <a:gd name="connsiteX8" fmla="*/ 2570 w 46831"/>
                  <a:gd name="connsiteY8" fmla="*/ 1474 h 4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31" h="43944">
                    <a:moveTo>
                      <a:pt x="2570" y="1474"/>
                    </a:moveTo>
                    <a:cubicBezTo>
                      <a:pt x="-1547" y="3310"/>
                      <a:pt x="-417" y="10283"/>
                      <a:pt x="3828" y="11150"/>
                    </a:cubicBezTo>
                    <a:cubicBezTo>
                      <a:pt x="7696" y="11939"/>
                      <a:pt x="11145" y="11613"/>
                      <a:pt x="14740" y="13569"/>
                    </a:cubicBezTo>
                    <a:cubicBezTo>
                      <a:pt x="18514" y="15619"/>
                      <a:pt x="21817" y="18895"/>
                      <a:pt x="24522" y="22206"/>
                    </a:cubicBezTo>
                    <a:cubicBezTo>
                      <a:pt x="26978" y="25208"/>
                      <a:pt x="29040" y="28665"/>
                      <a:pt x="30444" y="32285"/>
                    </a:cubicBezTo>
                    <a:cubicBezTo>
                      <a:pt x="32027" y="36350"/>
                      <a:pt x="32404" y="39292"/>
                      <a:pt x="35802" y="42312"/>
                    </a:cubicBezTo>
                    <a:cubicBezTo>
                      <a:pt x="38720" y="44902"/>
                      <a:pt x="42700" y="44336"/>
                      <a:pt x="44873" y="41137"/>
                    </a:cubicBezTo>
                    <a:cubicBezTo>
                      <a:pt x="51378" y="31564"/>
                      <a:pt x="40166" y="17437"/>
                      <a:pt x="33303" y="10875"/>
                    </a:cubicBezTo>
                    <a:cubicBezTo>
                      <a:pt x="25882" y="3756"/>
                      <a:pt x="12805" y="-3089"/>
                      <a:pt x="2570" y="1474"/>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81" name="Freeform: Shape 380">
                <a:extLst>
                  <a:ext uri="{FF2B5EF4-FFF2-40B4-BE49-F238E27FC236}">
                    <a16:creationId xmlns:a16="http://schemas.microsoft.com/office/drawing/2014/main" id="{AB2AC31C-1D42-8A55-0A77-AC462FB81158}"/>
                  </a:ext>
                </a:extLst>
              </p:cNvPr>
              <p:cNvSpPr/>
              <p:nvPr/>
            </p:nvSpPr>
            <p:spPr>
              <a:xfrm>
                <a:off x="4242458" y="2968009"/>
                <a:ext cx="612685" cy="673912"/>
              </a:xfrm>
              <a:custGeom>
                <a:avLst/>
                <a:gdLst>
                  <a:gd name="connsiteX0" fmla="*/ 612234 w 612685"/>
                  <a:gd name="connsiteY0" fmla="*/ 300350 h 673912"/>
                  <a:gd name="connsiteX1" fmla="*/ 600021 w 612685"/>
                  <a:gd name="connsiteY1" fmla="*/ 281188 h 673912"/>
                  <a:gd name="connsiteX2" fmla="*/ 566798 w 612685"/>
                  <a:gd name="connsiteY2" fmla="*/ 211642 h 673912"/>
                  <a:gd name="connsiteX3" fmla="*/ 517579 w 612685"/>
                  <a:gd name="connsiteY3" fmla="*/ 154045 h 673912"/>
                  <a:gd name="connsiteX4" fmla="*/ 557084 w 612685"/>
                  <a:gd name="connsiteY4" fmla="*/ 160701 h 673912"/>
                  <a:gd name="connsiteX5" fmla="*/ 559694 w 612685"/>
                  <a:gd name="connsiteY5" fmla="*/ 152381 h 673912"/>
                  <a:gd name="connsiteX6" fmla="*/ 339866 w 612685"/>
                  <a:gd name="connsiteY6" fmla="*/ 42529 h 673912"/>
                  <a:gd name="connsiteX7" fmla="*/ 347389 w 612685"/>
                  <a:gd name="connsiteY7" fmla="*/ 30890 h 673912"/>
                  <a:gd name="connsiteX8" fmla="*/ 357539 w 612685"/>
                  <a:gd name="connsiteY8" fmla="*/ 5175 h 673912"/>
                  <a:gd name="connsiteX9" fmla="*/ 355519 w 612685"/>
                  <a:gd name="connsiteY9" fmla="*/ 11 h 673912"/>
                  <a:gd name="connsiteX10" fmla="*/ 333345 w 612685"/>
                  <a:gd name="connsiteY10" fmla="*/ 4694 h 673912"/>
                  <a:gd name="connsiteX11" fmla="*/ 251716 w 612685"/>
                  <a:gd name="connsiteY11" fmla="*/ 31362 h 673912"/>
                  <a:gd name="connsiteX12" fmla="*/ 167245 w 612685"/>
                  <a:gd name="connsiteY12" fmla="*/ 72525 h 673912"/>
                  <a:gd name="connsiteX13" fmla="*/ 169993 w 612685"/>
                  <a:gd name="connsiteY13" fmla="*/ 56614 h 673912"/>
                  <a:gd name="connsiteX14" fmla="*/ 174563 w 612685"/>
                  <a:gd name="connsiteY14" fmla="*/ 38378 h 673912"/>
                  <a:gd name="connsiteX15" fmla="*/ 166116 w 612685"/>
                  <a:gd name="connsiteY15" fmla="*/ 36885 h 673912"/>
                  <a:gd name="connsiteX16" fmla="*/ 131455 w 612685"/>
                  <a:gd name="connsiteY16" fmla="*/ 89525 h 673912"/>
                  <a:gd name="connsiteX17" fmla="*/ 129187 w 612685"/>
                  <a:gd name="connsiteY17" fmla="*/ 93711 h 673912"/>
                  <a:gd name="connsiteX18" fmla="*/ 124017 w 612685"/>
                  <a:gd name="connsiteY18" fmla="*/ 93102 h 673912"/>
                  <a:gd name="connsiteX19" fmla="*/ 112301 w 612685"/>
                  <a:gd name="connsiteY19" fmla="*/ 92270 h 673912"/>
                  <a:gd name="connsiteX20" fmla="*/ 108493 w 612685"/>
                  <a:gd name="connsiteY20" fmla="*/ 96070 h 673912"/>
                  <a:gd name="connsiteX21" fmla="*/ 924 w 612685"/>
                  <a:gd name="connsiteY21" fmla="*/ 353076 h 673912"/>
                  <a:gd name="connsiteX22" fmla="*/ 2832 w 612685"/>
                  <a:gd name="connsiteY22" fmla="*/ 386820 h 673912"/>
                  <a:gd name="connsiteX23" fmla="*/ 2669 w 612685"/>
                  <a:gd name="connsiteY23" fmla="*/ 387909 h 673912"/>
                  <a:gd name="connsiteX24" fmla="*/ 7967 w 612685"/>
                  <a:gd name="connsiteY24" fmla="*/ 389350 h 673912"/>
                  <a:gd name="connsiteX25" fmla="*/ 26307 w 612685"/>
                  <a:gd name="connsiteY25" fmla="*/ 356258 h 673912"/>
                  <a:gd name="connsiteX26" fmla="*/ 37510 w 612685"/>
                  <a:gd name="connsiteY26" fmla="*/ 444477 h 673912"/>
                  <a:gd name="connsiteX27" fmla="*/ 54627 w 612685"/>
                  <a:gd name="connsiteY27" fmla="*/ 493558 h 673912"/>
                  <a:gd name="connsiteX28" fmla="*/ 80687 w 612685"/>
                  <a:gd name="connsiteY28" fmla="*/ 553325 h 673912"/>
                  <a:gd name="connsiteX29" fmla="*/ 99780 w 612685"/>
                  <a:gd name="connsiteY29" fmla="*/ 588664 h 673912"/>
                  <a:gd name="connsiteX30" fmla="*/ 119533 w 612685"/>
                  <a:gd name="connsiteY30" fmla="*/ 611275 h 673912"/>
                  <a:gd name="connsiteX31" fmla="*/ 124385 w 612685"/>
                  <a:gd name="connsiteY31" fmla="*/ 608676 h 673912"/>
                  <a:gd name="connsiteX32" fmla="*/ 128827 w 612685"/>
                  <a:gd name="connsiteY32" fmla="*/ 598563 h 673912"/>
                  <a:gd name="connsiteX33" fmla="*/ 130547 w 612685"/>
                  <a:gd name="connsiteY33" fmla="*/ 587524 h 673912"/>
                  <a:gd name="connsiteX34" fmla="*/ 139611 w 612685"/>
                  <a:gd name="connsiteY34" fmla="*/ 606891 h 673912"/>
                  <a:gd name="connsiteX35" fmla="*/ 154160 w 612685"/>
                  <a:gd name="connsiteY35" fmla="*/ 625993 h 673912"/>
                  <a:gd name="connsiteX36" fmla="*/ 157429 w 612685"/>
                  <a:gd name="connsiteY36" fmla="*/ 625144 h 673912"/>
                  <a:gd name="connsiteX37" fmla="*/ 161434 w 612685"/>
                  <a:gd name="connsiteY37" fmla="*/ 621602 h 673912"/>
                  <a:gd name="connsiteX38" fmla="*/ 171182 w 612685"/>
                  <a:gd name="connsiteY38" fmla="*/ 580010 h 673912"/>
                  <a:gd name="connsiteX39" fmla="*/ 189848 w 612685"/>
                  <a:gd name="connsiteY39" fmla="*/ 599215 h 673912"/>
                  <a:gd name="connsiteX40" fmla="*/ 221856 w 612685"/>
                  <a:gd name="connsiteY40" fmla="*/ 621181 h 673912"/>
                  <a:gd name="connsiteX41" fmla="*/ 227102 w 612685"/>
                  <a:gd name="connsiteY41" fmla="*/ 614337 h 673912"/>
                  <a:gd name="connsiteX42" fmla="*/ 201016 w 612685"/>
                  <a:gd name="connsiteY42" fmla="*/ 588012 h 673912"/>
                  <a:gd name="connsiteX43" fmla="*/ 139208 w 612685"/>
                  <a:gd name="connsiteY43" fmla="*/ 511021 h 673912"/>
                  <a:gd name="connsiteX44" fmla="*/ 138532 w 612685"/>
                  <a:gd name="connsiteY44" fmla="*/ 509949 h 673912"/>
                  <a:gd name="connsiteX45" fmla="*/ 129572 w 612685"/>
                  <a:gd name="connsiteY45" fmla="*/ 499613 h 673912"/>
                  <a:gd name="connsiteX46" fmla="*/ 123119 w 612685"/>
                  <a:gd name="connsiteY46" fmla="*/ 503327 h 673912"/>
                  <a:gd name="connsiteX47" fmla="*/ 123555 w 612685"/>
                  <a:gd name="connsiteY47" fmla="*/ 507745 h 673912"/>
                  <a:gd name="connsiteX48" fmla="*/ 63313 w 612685"/>
                  <a:gd name="connsiteY48" fmla="*/ 478264 h 673912"/>
                  <a:gd name="connsiteX49" fmla="*/ 73524 w 612685"/>
                  <a:gd name="connsiteY49" fmla="*/ 412801 h 673912"/>
                  <a:gd name="connsiteX50" fmla="*/ 93413 w 612685"/>
                  <a:gd name="connsiteY50" fmla="*/ 406771 h 673912"/>
                  <a:gd name="connsiteX51" fmla="*/ 105189 w 612685"/>
                  <a:gd name="connsiteY51" fmla="*/ 406900 h 673912"/>
                  <a:gd name="connsiteX52" fmla="*/ 118728 w 612685"/>
                  <a:gd name="connsiteY52" fmla="*/ 407732 h 673912"/>
                  <a:gd name="connsiteX53" fmla="*/ 154639 w 612685"/>
                  <a:gd name="connsiteY53" fmla="*/ 461229 h 673912"/>
                  <a:gd name="connsiteX54" fmla="*/ 164918 w 612685"/>
                  <a:gd name="connsiteY54" fmla="*/ 458527 h 673912"/>
                  <a:gd name="connsiteX55" fmla="*/ 166809 w 612685"/>
                  <a:gd name="connsiteY55" fmla="*/ 428266 h 673912"/>
                  <a:gd name="connsiteX56" fmla="*/ 181332 w 612685"/>
                  <a:gd name="connsiteY56" fmla="*/ 441261 h 673912"/>
                  <a:gd name="connsiteX57" fmla="*/ 189951 w 612685"/>
                  <a:gd name="connsiteY57" fmla="*/ 436303 h 673912"/>
                  <a:gd name="connsiteX58" fmla="*/ 200862 w 612685"/>
                  <a:gd name="connsiteY58" fmla="*/ 361285 h 673912"/>
                  <a:gd name="connsiteX59" fmla="*/ 228138 w 612685"/>
                  <a:gd name="connsiteY59" fmla="*/ 289140 h 673912"/>
                  <a:gd name="connsiteX60" fmla="*/ 250920 w 612685"/>
                  <a:gd name="connsiteY60" fmla="*/ 315438 h 673912"/>
                  <a:gd name="connsiteX61" fmla="*/ 260574 w 612685"/>
                  <a:gd name="connsiteY61" fmla="*/ 309803 h 673912"/>
                  <a:gd name="connsiteX62" fmla="*/ 247779 w 612685"/>
                  <a:gd name="connsiteY62" fmla="*/ 233395 h 673912"/>
                  <a:gd name="connsiteX63" fmla="*/ 278914 w 612685"/>
                  <a:gd name="connsiteY63" fmla="*/ 337817 h 673912"/>
                  <a:gd name="connsiteX64" fmla="*/ 289406 w 612685"/>
                  <a:gd name="connsiteY64" fmla="*/ 339189 h 673912"/>
                  <a:gd name="connsiteX65" fmla="*/ 307927 w 612685"/>
                  <a:gd name="connsiteY65" fmla="*/ 249186 h 673912"/>
                  <a:gd name="connsiteX66" fmla="*/ 325719 w 612685"/>
                  <a:gd name="connsiteY66" fmla="*/ 288642 h 673912"/>
                  <a:gd name="connsiteX67" fmla="*/ 337461 w 612685"/>
                  <a:gd name="connsiteY67" fmla="*/ 287047 h 673912"/>
                  <a:gd name="connsiteX68" fmla="*/ 338231 w 612685"/>
                  <a:gd name="connsiteY68" fmla="*/ 241766 h 673912"/>
                  <a:gd name="connsiteX69" fmla="*/ 508251 w 612685"/>
                  <a:gd name="connsiteY69" fmla="*/ 326211 h 673912"/>
                  <a:gd name="connsiteX70" fmla="*/ 519137 w 612685"/>
                  <a:gd name="connsiteY70" fmla="*/ 374228 h 673912"/>
                  <a:gd name="connsiteX71" fmla="*/ 528962 w 612685"/>
                  <a:gd name="connsiteY71" fmla="*/ 470090 h 673912"/>
                  <a:gd name="connsiteX72" fmla="*/ 447718 w 612685"/>
                  <a:gd name="connsiteY72" fmla="*/ 638499 h 673912"/>
                  <a:gd name="connsiteX73" fmla="*/ 353799 w 612685"/>
                  <a:gd name="connsiteY73" fmla="*/ 660183 h 673912"/>
                  <a:gd name="connsiteX74" fmla="*/ 318453 w 612685"/>
                  <a:gd name="connsiteY74" fmla="*/ 657387 h 673912"/>
                  <a:gd name="connsiteX75" fmla="*/ 317315 w 612685"/>
                  <a:gd name="connsiteY75" fmla="*/ 665827 h 673912"/>
                  <a:gd name="connsiteX76" fmla="*/ 382264 w 612685"/>
                  <a:gd name="connsiteY76" fmla="*/ 673710 h 673912"/>
                  <a:gd name="connsiteX77" fmla="*/ 513873 w 612685"/>
                  <a:gd name="connsiteY77" fmla="*/ 590517 h 673912"/>
                  <a:gd name="connsiteX78" fmla="*/ 542937 w 612685"/>
                  <a:gd name="connsiteY78" fmla="*/ 492177 h 673912"/>
                  <a:gd name="connsiteX79" fmla="*/ 539600 w 612685"/>
                  <a:gd name="connsiteY79" fmla="*/ 392995 h 673912"/>
                  <a:gd name="connsiteX80" fmla="*/ 524503 w 612685"/>
                  <a:gd name="connsiteY80" fmla="*/ 328399 h 673912"/>
                  <a:gd name="connsiteX81" fmla="*/ 576614 w 612685"/>
                  <a:gd name="connsiteY81" fmla="*/ 327155 h 673912"/>
                  <a:gd name="connsiteX82" fmla="*/ 576614 w 612685"/>
                  <a:gd name="connsiteY82" fmla="*/ 319796 h 673912"/>
                  <a:gd name="connsiteX83" fmla="*/ 559977 w 612685"/>
                  <a:gd name="connsiteY83" fmla="*/ 306689 h 673912"/>
                  <a:gd name="connsiteX84" fmla="*/ 534379 w 612685"/>
                  <a:gd name="connsiteY84" fmla="*/ 280820 h 673912"/>
                  <a:gd name="connsiteX85" fmla="*/ 589221 w 612685"/>
                  <a:gd name="connsiteY85" fmla="*/ 302984 h 673912"/>
                  <a:gd name="connsiteX86" fmla="*/ 609649 w 612685"/>
                  <a:gd name="connsiteY86" fmla="*/ 304699 h 673912"/>
                  <a:gd name="connsiteX87" fmla="*/ 612234 w 612685"/>
                  <a:gd name="connsiteY87" fmla="*/ 300350 h 67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12685" h="673912">
                    <a:moveTo>
                      <a:pt x="612234" y="300350"/>
                    </a:moveTo>
                    <a:cubicBezTo>
                      <a:pt x="608391" y="293814"/>
                      <a:pt x="603812" y="287784"/>
                      <a:pt x="600021" y="281188"/>
                    </a:cubicBezTo>
                    <a:cubicBezTo>
                      <a:pt x="587440" y="258715"/>
                      <a:pt x="580645" y="233481"/>
                      <a:pt x="566798" y="211642"/>
                    </a:cubicBezTo>
                    <a:cubicBezTo>
                      <a:pt x="553284" y="190345"/>
                      <a:pt x="537392" y="169947"/>
                      <a:pt x="517579" y="154045"/>
                    </a:cubicBezTo>
                    <a:cubicBezTo>
                      <a:pt x="530802" y="155915"/>
                      <a:pt x="543613" y="160675"/>
                      <a:pt x="557084" y="160701"/>
                    </a:cubicBezTo>
                    <a:cubicBezTo>
                      <a:pt x="561885" y="160710"/>
                      <a:pt x="562758" y="154611"/>
                      <a:pt x="559694" y="152381"/>
                    </a:cubicBezTo>
                    <a:cubicBezTo>
                      <a:pt x="521114" y="74077"/>
                      <a:pt x="425004" y="28780"/>
                      <a:pt x="339866" y="42529"/>
                    </a:cubicBezTo>
                    <a:cubicBezTo>
                      <a:pt x="342810" y="38807"/>
                      <a:pt x="345258" y="34587"/>
                      <a:pt x="347389" y="30890"/>
                    </a:cubicBezTo>
                    <a:cubicBezTo>
                      <a:pt x="351882" y="22904"/>
                      <a:pt x="357188" y="14524"/>
                      <a:pt x="357539" y="5175"/>
                    </a:cubicBezTo>
                    <a:cubicBezTo>
                      <a:pt x="359388" y="3433"/>
                      <a:pt x="358241" y="97"/>
                      <a:pt x="355519" y="11"/>
                    </a:cubicBezTo>
                    <a:cubicBezTo>
                      <a:pt x="348296" y="-203"/>
                      <a:pt x="340260" y="2781"/>
                      <a:pt x="333345" y="4694"/>
                    </a:cubicBezTo>
                    <a:cubicBezTo>
                      <a:pt x="305744" y="12345"/>
                      <a:pt x="278965" y="22604"/>
                      <a:pt x="251716" y="31362"/>
                    </a:cubicBezTo>
                    <a:cubicBezTo>
                      <a:pt x="221257" y="41243"/>
                      <a:pt x="192244" y="52368"/>
                      <a:pt x="167245" y="72525"/>
                    </a:cubicBezTo>
                    <a:cubicBezTo>
                      <a:pt x="169590" y="67764"/>
                      <a:pt x="169128" y="61786"/>
                      <a:pt x="169993" y="56614"/>
                    </a:cubicBezTo>
                    <a:cubicBezTo>
                      <a:pt x="171037" y="50412"/>
                      <a:pt x="172629" y="44348"/>
                      <a:pt x="174563" y="38378"/>
                    </a:cubicBezTo>
                    <a:cubicBezTo>
                      <a:pt x="176326" y="32597"/>
                      <a:pt x="167228" y="31139"/>
                      <a:pt x="166116" y="36885"/>
                    </a:cubicBezTo>
                    <a:cubicBezTo>
                      <a:pt x="149846" y="50729"/>
                      <a:pt x="139876" y="70209"/>
                      <a:pt x="131455" y="89525"/>
                    </a:cubicBezTo>
                    <a:cubicBezTo>
                      <a:pt x="130873" y="90906"/>
                      <a:pt x="130308" y="93239"/>
                      <a:pt x="129187" y="93711"/>
                    </a:cubicBezTo>
                    <a:cubicBezTo>
                      <a:pt x="128356" y="94063"/>
                      <a:pt x="124685" y="93179"/>
                      <a:pt x="124017" y="93102"/>
                    </a:cubicBezTo>
                    <a:cubicBezTo>
                      <a:pt x="120106" y="92647"/>
                      <a:pt x="116238" y="92399"/>
                      <a:pt x="112301" y="92270"/>
                    </a:cubicBezTo>
                    <a:cubicBezTo>
                      <a:pt x="109913" y="92193"/>
                      <a:pt x="108570" y="94106"/>
                      <a:pt x="108493" y="96070"/>
                    </a:cubicBezTo>
                    <a:cubicBezTo>
                      <a:pt x="28250" y="132824"/>
                      <a:pt x="5057" y="273323"/>
                      <a:pt x="924" y="353076"/>
                    </a:cubicBezTo>
                    <a:cubicBezTo>
                      <a:pt x="393" y="363223"/>
                      <a:pt x="-1644" y="377316"/>
                      <a:pt x="2832" y="386820"/>
                    </a:cubicBezTo>
                    <a:cubicBezTo>
                      <a:pt x="2781" y="387180"/>
                      <a:pt x="2721" y="387540"/>
                      <a:pt x="2669" y="387909"/>
                    </a:cubicBezTo>
                    <a:cubicBezTo>
                      <a:pt x="2284" y="390834"/>
                      <a:pt x="6666" y="391615"/>
                      <a:pt x="7967" y="389350"/>
                    </a:cubicBezTo>
                    <a:cubicBezTo>
                      <a:pt x="14266" y="378414"/>
                      <a:pt x="19341" y="366817"/>
                      <a:pt x="26307" y="356258"/>
                    </a:cubicBezTo>
                    <a:cubicBezTo>
                      <a:pt x="21027" y="386039"/>
                      <a:pt x="31870" y="415374"/>
                      <a:pt x="37510" y="444477"/>
                    </a:cubicBezTo>
                    <a:cubicBezTo>
                      <a:pt x="35396" y="462576"/>
                      <a:pt x="42123" y="480494"/>
                      <a:pt x="54627" y="493558"/>
                    </a:cubicBezTo>
                    <a:cubicBezTo>
                      <a:pt x="62038" y="513963"/>
                      <a:pt x="71127" y="533880"/>
                      <a:pt x="80687" y="553325"/>
                    </a:cubicBezTo>
                    <a:cubicBezTo>
                      <a:pt x="86592" y="565334"/>
                      <a:pt x="92788" y="577248"/>
                      <a:pt x="99780" y="588664"/>
                    </a:cubicBezTo>
                    <a:cubicBezTo>
                      <a:pt x="105087" y="597336"/>
                      <a:pt x="111043" y="605485"/>
                      <a:pt x="119533" y="611275"/>
                    </a:cubicBezTo>
                    <a:cubicBezTo>
                      <a:pt x="121655" y="612724"/>
                      <a:pt x="124146" y="610846"/>
                      <a:pt x="124385" y="608676"/>
                    </a:cubicBezTo>
                    <a:cubicBezTo>
                      <a:pt x="127663" y="606840"/>
                      <a:pt x="128151" y="602620"/>
                      <a:pt x="128827" y="598563"/>
                    </a:cubicBezTo>
                    <a:cubicBezTo>
                      <a:pt x="129418" y="595055"/>
                      <a:pt x="130188" y="591280"/>
                      <a:pt x="130547" y="587524"/>
                    </a:cubicBezTo>
                    <a:cubicBezTo>
                      <a:pt x="133123" y="594188"/>
                      <a:pt x="136110" y="600647"/>
                      <a:pt x="139611" y="606891"/>
                    </a:cubicBezTo>
                    <a:cubicBezTo>
                      <a:pt x="143051" y="613041"/>
                      <a:pt x="147441" y="622983"/>
                      <a:pt x="154160" y="625993"/>
                    </a:cubicBezTo>
                    <a:cubicBezTo>
                      <a:pt x="155426" y="626560"/>
                      <a:pt x="156787" y="626131"/>
                      <a:pt x="157429" y="625144"/>
                    </a:cubicBezTo>
                    <a:cubicBezTo>
                      <a:pt x="159252" y="625101"/>
                      <a:pt x="161169" y="623909"/>
                      <a:pt x="161434" y="621602"/>
                    </a:cubicBezTo>
                    <a:cubicBezTo>
                      <a:pt x="162975" y="607363"/>
                      <a:pt x="166364" y="593485"/>
                      <a:pt x="171182" y="580010"/>
                    </a:cubicBezTo>
                    <a:cubicBezTo>
                      <a:pt x="177139" y="586666"/>
                      <a:pt x="183352" y="593090"/>
                      <a:pt x="189848" y="599215"/>
                    </a:cubicBezTo>
                    <a:cubicBezTo>
                      <a:pt x="199151" y="607989"/>
                      <a:pt x="208993" y="618866"/>
                      <a:pt x="221856" y="621181"/>
                    </a:cubicBezTo>
                    <a:cubicBezTo>
                      <a:pt x="225878" y="621911"/>
                      <a:pt x="229036" y="618119"/>
                      <a:pt x="227102" y="614337"/>
                    </a:cubicBezTo>
                    <a:cubicBezTo>
                      <a:pt x="221419" y="603229"/>
                      <a:pt x="210045" y="596478"/>
                      <a:pt x="201016" y="588012"/>
                    </a:cubicBezTo>
                    <a:cubicBezTo>
                      <a:pt x="176831" y="565471"/>
                      <a:pt x="156710" y="539001"/>
                      <a:pt x="139208" y="511021"/>
                    </a:cubicBezTo>
                    <a:cubicBezTo>
                      <a:pt x="139029" y="510635"/>
                      <a:pt x="138798" y="510275"/>
                      <a:pt x="138532" y="509949"/>
                    </a:cubicBezTo>
                    <a:cubicBezTo>
                      <a:pt x="136042" y="506003"/>
                      <a:pt x="133303" y="501861"/>
                      <a:pt x="129572" y="499613"/>
                    </a:cubicBezTo>
                    <a:cubicBezTo>
                      <a:pt x="126653" y="497855"/>
                      <a:pt x="123290" y="500154"/>
                      <a:pt x="123119" y="503327"/>
                    </a:cubicBezTo>
                    <a:cubicBezTo>
                      <a:pt x="123042" y="504785"/>
                      <a:pt x="123213" y="506269"/>
                      <a:pt x="123555" y="507745"/>
                    </a:cubicBezTo>
                    <a:cubicBezTo>
                      <a:pt x="100516" y="508457"/>
                      <a:pt x="77871" y="495668"/>
                      <a:pt x="63313" y="478264"/>
                    </a:cubicBezTo>
                    <a:cubicBezTo>
                      <a:pt x="47498" y="458664"/>
                      <a:pt x="50365" y="425633"/>
                      <a:pt x="73524" y="412801"/>
                    </a:cubicBezTo>
                    <a:cubicBezTo>
                      <a:pt x="79634" y="409413"/>
                      <a:pt x="86455" y="407371"/>
                      <a:pt x="93413" y="406771"/>
                    </a:cubicBezTo>
                    <a:cubicBezTo>
                      <a:pt x="97324" y="406436"/>
                      <a:pt x="101287" y="406428"/>
                      <a:pt x="105189" y="406900"/>
                    </a:cubicBezTo>
                    <a:cubicBezTo>
                      <a:pt x="109640" y="407440"/>
                      <a:pt x="114364" y="406985"/>
                      <a:pt x="118728" y="407732"/>
                    </a:cubicBezTo>
                    <a:cubicBezTo>
                      <a:pt x="125832" y="428034"/>
                      <a:pt x="135092" y="450181"/>
                      <a:pt x="154639" y="461229"/>
                    </a:cubicBezTo>
                    <a:cubicBezTo>
                      <a:pt x="157908" y="463022"/>
                      <a:pt x="163223" y="462336"/>
                      <a:pt x="164918" y="458527"/>
                    </a:cubicBezTo>
                    <a:cubicBezTo>
                      <a:pt x="169188" y="448963"/>
                      <a:pt x="169000" y="438405"/>
                      <a:pt x="166809" y="428266"/>
                    </a:cubicBezTo>
                    <a:cubicBezTo>
                      <a:pt x="171020" y="433018"/>
                      <a:pt x="175769" y="437401"/>
                      <a:pt x="181332" y="441261"/>
                    </a:cubicBezTo>
                    <a:cubicBezTo>
                      <a:pt x="184670" y="443577"/>
                      <a:pt x="190464" y="440549"/>
                      <a:pt x="189951" y="436303"/>
                    </a:cubicBezTo>
                    <a:cubicBezTo>
                      <a:pt x="186844" y="410665"/>
                      <a:pt x="188136" y="384307"/>
                      <a:pt x="200862" y="361285"/>
                    </a:cubicBezTo>
                    <a:cubicBezTo>
                      <a:pt x="215951" y="335415"/>
                      <a:pt x="228566" y="321159"/>
                      <a:pt x="228138" y="289140"/>
                    </a:cubicBezTo>
                    <a:cubicBezTo>
                      <a:pt x="235438" y="298146"/>
                      <a:pt x="243226" y="306784"/>
                      <a:pt x="250920" y="315438"/>
                    </a:cubicBezTo>
                    <a:cubicBezTo>
                      <a:pt x="255036" y="320070"/>
                      <a:pt x="261626" y="315061"/>
                      <a:pt x="260574" y="309803"/>
                    </a:cubicBezTo>
                    <a:cubicBezTo>
                      <a:pt x="255302" y="284448"/>
                      <a:pt x="247223" y="259616"/>
                      <a:pt x="247779" y="233395"/>
                    </a:cubicBezTo>
                    <a:cubicBezTo>
                      <a:pt x="273043" y="260534"/>
                      <a:pt x="271768" y="303147"/>
                      <a:pt x="278914" y="337817"/>
                    </a:cubicBezTo>
                    <a:cubicBezTo>
                      <a:pt x="279736" y="342423"/>
                      <a:pt x="287507" y="343701"/>
                      <a:pt x="289406" y="339189"/>
                    </a:cubicBezTo>
                    <a:cubicBezTo>
                      <a:pt x="301148" y="311338"/>
                      <a:pt x="307541" y="279910"/>
                      <a:pt x="307927" y="249186"/>
                    </a:cubicBezTo>
                    <a:cubicBezTo>
                      <a:pt x="314525" y="262052"/>
                      <a:pt x="320653" y="275184"/>
                      <a:pt x="325719" y="288642"/>
                    </a:cubicBezTo>
                    <a:cubicBezTo>
                      <a:pt x="328030" y="294784"/>
                      <a:pt x="337256" y="294132"/>
                      <a:pt x="337461" y="287047"/>
                    </a:cubicBezTo>
                    <a:cubicBezTo>
                      <a:pt x="337889" y="271976"/>
                      <a:pt x="338240" y="256871"/>
                      <a:pt x="338231" y="241766"/>
                    </a:cubicBezTo>
                    <a:cubicBezTo>
                      <a:pt x="377266" y="295873"/>
                      <a:pt x="445835" y="315052"/>
                      <a:pt x="508251" y="326211"/>
                    </a:cubicBezTo>
                    <a:cubicBezTo>
                      <a:pt x="510407" y="342491"/>
                      <a:pt x="515294" y="358300"/>
                      <a:pt x="519137" y="374228"/>
                    </a:cubicBezTo>
                    <a:cubicBezTo>
                      <a:pt x="526856" y="405905"/>
                      <a:pt x="530519" y="437444"/>
                      <a:pt x="528962" y="470090"/>
                    </a:cubicBezTo>
                    <a:cubicBezTo>
                      <a:pt x="526266" y="533957"/>
                      <a:pt x="504956" y="603469"/>
                      <a:pt x="447718" y="638499"/>
                    </a:cubicBezTo>
                    <a:cubicBezTo>
                      <a:pt x="418543" y="657953"/>
                      <a:pt x="388015" y="661341"/>
                      <a:pt x="353799" y="660183"/>
                    </a:cubicBezTo>
                    <a:cubicBezTo>
                      <a:pt x="341929" y="659840"/>
                      <a:pt x="330289" y="658013"/>
                      <a:pt x="318453" y="657387"/>
                    </a:cubicBezTo>
                    <a:cubicBezTo>
                      <a:pt x="313310" y="657112"/>
                      <a:pt x="313070" y="664215"/>
                      <a:pt x="317315" y="665827"/>
                    </a:cubicBezTo>
                    <a:cubicBezTo>
                      <a:pt x="337393" y="673470"/>
                      <a:pt x="360971" y="674447"/>
                      <a:pt x="382264" y="673710"/>
                    </a:cubicBezTo>
                    <a:cubicBezTo>
                      <a:pt x="436977" y="672629"/>
                      <a:pt x="487428" y="637539"/>
                      <a:pt x="513873" y="590517"/>
                    </a:cubicBezTo>
                    <a:cubicBezTo>
                      <a:pt x="530528" y="560342"/>
                      <a:pt x="539060" y="526238"/>
                      <a:pt x="542937" y="492177"/>
                    </a:cubicBezTo>
                    <a:cubicBezTo>
                      <a:pt x="546677" y="459325"/>
                      <a:pt x="545950" y="425495"/>
                      <a:pt x="539600" y="392995"/>
                    </a:cubicBezTo>
                    <a:cubicBezTo>
                      <a:pt x="535389" y="371269"/>
                      <a:pt x="528594" y="350151"/>
                      <a:pt x="524503" y="328399"/>
                    </a:cubicBezTo>
                    <a:cubicBezTo>
                      <a:pt x="541927" y="330243"/>
                      <a:pt x="559489" y="330337"/>
                      <a:pt x="576614" y="327155"/>
                    </a:cubicBezTo>
                    <a:cubicBezTo>
                      <a:pt x="580619" y="326409"/>
                      <a:pt x="579926" y="320868"/>
                      <a:pt x="576614" y="319796"/>
                    </a:cubicBezTo>
                    <a:cubicBezTo>
                      <a:pt x="572498" y="314357"/>
                      <a:pt x="565163" y="310772"/>
                      <a:pt x="559977" y="306689"/>
                    </a:cubicBezTo>
                    <a:cubicBezTo>
                      <a:pt x="550426" y="298987"/>
                      <a:pt x="541457" y="291147"/>
                      <a:pt x="534379" y="280820"/>
                    </a:cubicBezTo>
                    <a:cubicBezTo>
                      <a:pt x="552471" y="289980"/>
                      <a:pt x="569708" y="298069"/>
                      <a:pt x="589221" y="302984"/>
                    </a:cubicBezTo>
                    <a:cubicBezTo>
                      <a:pt x="595408" y="304605"/>
                      <a:pt x="603333" y="306989"/>
                      <a:pt x="609649" y="304699"/>
                    </a:cubicBezTo>
                    <a:cubicBezTo>
                      <a:pt x="611772" y="304605"/>
                      <a:pt x="613552" y="302589"/>
                      <a:pt x="612234" y="300350"/>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sp>
          <p:nvSpPr>
            <p:cNvPr id="329" name="Freeform: Shape 328">
              <a:extLst>
                <a:ext uri="{FF2B5EF4-FFF2-40B4-BE49-F238E27FC236}">
                  <a16:creationId xmlns:a16="http://schemas.microsoft.com/office/drawing/2014/main" id="{EEC04D80-40BA-1328-67F4-BD5B707CEDB4}"/>
                </a:ext>
              </a:extLst>
            </p:cNvPr>
            <p:cNvSpPr/>
            <p:nvPr/>
          </p:nvSpPr>
          <p:spPr>
            <a:xfrm>
              <a:off x="4597700" y="3442230"/>
              <a:ext cx="63624" cy="22939"/>
            </a:xfrm>
            <a:custGeom>
              <a:avLst/>
              <a:gdLst>
                <a:gd name="connsiteX0" fmla="*/ 40146 w 63624"/>
                <a:gd name="connsiteY0" fmla="*/ 23765 h 22939"/>
                <a:gd name="connsiteX1" fmla="*/ 2832 w 63624"/>
                <a:gd name="connsiteY1" fmla="*/ 12623 h 22939"/>
                <a:gd name="connsiteX2" fmla="*/ 2148 w 63624"/>
                <a:gd name="connsiteY2" fmla="*/ 9981 h 22939"/>
                <a:gd name="connsiteX3" fmla="*/ 4116 w 63624"/>
                <a:gd name="connsiteY3" fmla="*/ 7983 h 22939"/>
                <a:gd name="connsiteX4" fmla="*/ 20206 w 63624"/>
                <a:gd name="connsiteY4" fmla="*/ 6027 h 22939"/>
                <a:gd name="connsiteX5" fmla="*/ 31331 w 63624"/>
                <a:gd name="connsiteY5" fmla="*/ 4938 h 22939"/>
                <a:gd name="connsiteX6" fmla="*/ 39975 w 63624"/>
                <a:gd name="connsiteY6" fmla="*/ 3050 h 22939"/>
                <a:gd name="connsiteX7" fmla="*/ 52727 w 63624"/>
                <a:gd name="connsiteY7" fmla="*/ 829 h 22939"/>
                <a:gd name="connsiteX8" fmla="*/ 60772 w 63624"/>
                <a:gd name="connsiteY8" fmla="*/ 2553 h 22939"/>
                <a:gd name="connsiteX9" fmla="*/ 65308 w 63624"/>
                <a:gd name="connsiteY9" fmla="*/ 8695 h 22939"/>
                <a:gd name="connsiteX10" fmla="*/ 57091 w 63624"/>
                <a:gd name="connsiteY10" fmla="*/ 21664 h 22939"/>
                <a:gd name="connsiteX11" fmla="*/ 47849 w 63624"/>
                <a:gd name="connsiteY11" fmla="*/ 23439 h 22939"/>
                <a:gd name="connsiteX12" fmla="*/ 40146 w 63624"/>
                <a:gd name="connsiteY12" fmla="*/ 23765 h 2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624" h="22939">
                  <a:moveTo>
                    <a:pt x="40146" y="23765"/>
                  </a:moveTo>
                  <a:cubicBezTo>
                    <a:pt x="27137" y="23533"/>
                    <a:pt x="13102" y="21261"/>
                    <a:pt x="2832" y="12623"/>
                  </a:cubicBezTo>
                  <a:cubicBezTo>
                    <a:pt x="2148" y="11954"/>
                    <a:pt x="1891" y="10925"/>
                    <a:pt x="2148" y="9981"/>
                  </a:cubicBezTo>
                  <a:cubicBezTo>
                    <a:pt x="2404" y="9003"/>
                    <a:pt x="3089" y="8223"/>
                    <a:pt x="4116" y="7983"/>
                  </a:cubicBezTo>
                  <a:cubicBezTo>
                    <a:pt x="9422" y="6979"/>
                    <a:pt x="14814" y="6327"/>
                    <a:pt x="20206" y="6027"/>
                  </a:cubicBezTo>
                  <a:cubicBezTo>
                    <a:pt x="23885" y="5744"/>
                    <a:pt x="27651" y="5452"/>
                    <a:pt x="31331" y="4938"/>
                  </a:cubicBezTo>
                  <a:cubicBezTo>
                    <a:pt x="34241" y="4466"/>
                    <a:pt x="37151" y="3840"/>
                    <a:pt x="39975" y="3050"/>
                  </a:cubicBezTo>
                  <a:cubicBezTo>
                    <a:pt x="44083" y="1781"/>
                    <a:pt x="48447" y="1035"/>
                    <a:pt x="52727" y="829"/>
                  </a:cubicBezTo>
                  <a:cubicBezTo>
                    <a:pt x="55551" y="778"/>
                    <a:pt x="58290" y="1369"/>
                    <a:pt x="60772" y="2553"/>
                  </a:cubicBezTo>
                  <a:cubicBezTo>
                    <a:pt x="63083" y="3840"/>
                    <a:pt x="64708" y="6087"/>
                    <a:pt x="65308" y="8695"/>
                  </a:cubicBezTo>
                  <a:cubicBezTo>
                    <a:pt x="67105" y="14459"/>
                    <a:pt x="61970" y="19519"/>
                    <a:pt x="57091" y="21664"/>
                  </a:cubicBezTo>
                  <a:cubicBezTo>
                    <a:pt x="54096" y="22736"/>
                    <a:pt x="51015" y="23328"/>
                    <a:pt x="47849" y="23439"/>
                  </a:cubicBezTo>
                  <a:cubicBezTo>
                    <a:pt x="45195" y="23654"/>
                    <a:pt x="42628" y="23765"/>
                    <a:pt x="40146" y="23765"/>
                  </a:cubicBez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0" name="Freeform: Shape 329">
              <a:extLst>
                <a:ext uri="{FF2B5EF4-FFF2-40B4-BE49-F238E27FC236}">
                  <a16:creationId xmlns:a16="http://schemas.microsoft.com/office/drawing/2014/main" id="{DE560715-D47E-285E-E367-0CB65A0C6A12}"/>
                </a:ext>
              </a:extLst>
            </p:cNvPr>
            <p:cNvSpPr/>
            <p:nvPr/>
          </p:nvSpPr>
          <p:spPr>
            <a:xfrm>
              <a:off x="4609127" y="3302197"/>
              <a:ext cx="67949" cy="60923"/>
            </a:xfrm>
            <a:custGeom>
              <a:avLst/>
              <a:gdLst>
                <a:gd name="connsiteX0" fmla="*/ 39588 w 67949"/>
                <a:gd name="connsiteY0" fmla="*/ 61727 h 60923"/>
                <a:gd name="connsiteX1" fmla="*/ 5698 w 67949"/>
                <a:gd name="connsiteY1" fmla="*/ 34356 h 60923"/>
                <a:gd name="connsiteX2" fmla="*/ 10661 w 67949"/>
                <a:gd name="connsiteY2" fmla="*/ 32426 h 60923"/>
                <a:gd name="connsiteX3" fmla="*/ 14512 w 67949"/>
                <a:gd name="connsiteY3" fmla="*/ 33601 h 60923"/>
                <a:gd name="connsiteX4" fmla="*/ 53110 w 67949"/>
                <a:gd name="connsiteY4" fmla="*/ 42187 h 60923"/>
                <a:gd name="connsiteX5" fmla="*/ 39074 w 67949"/>
                <a:gd name="connsiteY5" fmla="*/ 7869 h 60923"/>
                <a:gd name="connsiteX6" fmla="*/ 38219 w 67949"/>
                <a:gd name="connsiteY6" fmla="*/ 4155 h 60923"/>
                <a:gd name="connsiteX7" fmla="*/ 42926 w 67949"/>
                <a:gd name="connsiteY7" fmla="*/ 827 h 60923"/>
                <a:gd name="connsiteX8" fmla="*/ 69800 w 67949"/>
                <a:gd name="connsiteY8" fmla="*/ 33207 h 60923"/>
                <a:gd name="connsiteX9" fmla="*/ 39588 w 67949"/>
                <a:gd name="connsiteY9" fmla="*/ 61727 h 60923"/>
                <a:gd name="connsiteX10" fmla="*/ 39588 w 67949"/>
                <a:gd name="connsiteY10" fmla="*/ 61727 h 6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949" h="60923">
                  <a:moveTo>
                    <a:pt x="39588" y="61727"/>
                  </a:moveTo>
                  <a:cubicBezTo>
                    <a:pt x="28805" y="62113"/>
                    <a:pt x="-9879" y="48835"/>
                    <a:pt x="5698" y="34356"/>
                  </a:cubicBezTo>
                  <a:cubicBezTo>
                    <a:pt x="7067" y="33147"/>
                    <a:pt x="8865" y="32469"/>
                    <a:pt x="10661" y="32426"/>
                  </a:cubicBezTo>
                  <a:cubicBezTo>
                    <a:pt x="12031" y="32435"/>
                    <a:pt x="13315" y="32846"/>
                    <a:pt x="14512" y="33601"/>
                  </a:cubicBezTo>
                  <a:cubicBezTo>
                    <a:pt x="24013" y="41269"/>
                    <a:pt x="41728" y="54650"/>
                    <a:pt x="53110" y="42187"/>
                  </a:cubicBezTo>
                  <a:cubicBezTo>
                    <a:pt x="64322" y="28626"/>
                    <a:pt x="46863" y="11737"/>
                    <a:pt x="39074" y="7869"/>
                  </a:cubicBezTo>
                  <a:cubicBezTo>
                    <a:pt x="38048" y="6951"/>
                    <a:pt x="37706" y="5450"/>
                    <a:pt x="38219" y="4155"/>
                  </a:cubicBezTo>
                  <a:cubicBezTo>
                    <a:pt x="38904" y="2131"/>
                    <a:pt x="40787" y="784"/>
                    <a:pt x="42926" y="827"/>
                  </a:cubicBezTo>
                  <a:cubicBezTo>
                    <a:pt x="58930" y="2054"/>
                    <a:pt x="71768" y="17073"/>
                    <a:pt x="69800" y="33207"/>
                  </a:cubicBezTo>
                  <a:cubicBezTo>
                    <a:pt x="68858" y="48715"/>
                    <a:pt x="55421" y="62387"/>
                    <a:pt x="39588" y="61727"/>
                  </a:cubicBezTo>
                  <a:lnTo>
                    <a:pt x="39588" y="6172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1" name="Freeform: Shape 330">
              <a:extLst>
                <a:ext uri="{FF2B5EF4-FFF2-40B4-BE49-F238E27FC236}">
                  <a16:creationId xmlns:a16="http://schemas.microsoft.com/office/drawing/2014/main" id="{8702D0C8-2E3F-5434-A6F3-93877DDE4D29}"/>
                </a:ext>
              </a:extLst>
            </p:cNvPr>
            <p:cNvSpPr/>
            <p:nvPr/>
          </p:nvSpPr>
          <p:spPr>
            <a:xfrm>
              <a:off x="4679614" y="3243416"/>
              <a:ext cx="32350" cy="54176"/>
            </a:xfrm>
            <a:custGeom>
              <a:avLst/>
              <a:gdLst>
                <a:gd name="connsiteX0" fmla="*/ 18225 w 32350"/>
                <a:gd name="connsiteY0" fmla="*/ 55002 h 54176"/>
                <a:gd name="connsiteX1" fmla="*/ 2050 w 32350"/>
                <a:gd name="connsiteY1" fmla="*/ 27778 h 54176"/>
                <a:gd name="connsiteX2" fmla="*/ 34401 w 32350"/>
                <a:gd name="connsiteY2" fmla="*/ 27778 h 54176"/>
                <a:gd name="connsiteX3" fmla="*/ 18225 w 32350"/>
                <a:gd name="connsiteY3" fmla="*/ 55002 h 54176"/>
                <a:gd name="connsiteX4" fmla="*/ 18225 w 32350"/>
                <a:gd name="connsiteY4" fmla="*/ 55002 h 5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0" h="54176">
                  <a:moveTo>
                    <a:pt x="18225" y="55002"/>
                  </a:moveTo>
                  <a:cubicBezTo>
                    <a:pt x="5816" y="53887"/>
                    <a:pt x="2136" y="38190"/>
                    <a:pt x="2050" y="27778"/>
                  </a:cubicBezTo>
                  <a:cubicBezTo>
                    <a:pt x="2478" y="-8197"/>
                    <a:pt x="33972" y="-8119"/>
                    <a:pt x="34401" y="27778"/>
                  </a:cubicBezTo>
                  <a:cubicBezTo>
                    <a:pt x="34315" y="38182"/>
                    <a:pt x="30550" y="53904"/>
                    <a:pt x="18225" y="55002"/>
                  </a:cubicBezTo>
                  <a:lnTo>
                    <a:pt x="18225" y="55002"/>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2" name="Freeform: Shape 331">
              <a:extLst>
                <a:ext uri="{FF2B5EF4-FFF2-40B4-BE49-F238E27FC236}">
                  <a16:creationId xmlns:a16="http://schemas.microsoft.com/office/drawing/2014/main" id="{DE538D54-A6DE-4599-E622-53891758E0B5}"/>
                </a:ext>
              </a:extLst>
            </p:cNvPr>
            <p:cNvSpPr/>
            <p:nvPr/>
          </p:nvSpPr>
          <p:spPr>
            <a:xfrm>
              <a:off x="4491075" y="3250107"/>
              <a:ext cx="114172" cy="47313"/>
            </a:xfrm>
            <a:custGeom>
              <a:avLst/>
              <a:gdLst>
                <a:gd name="connsiteX0" fmla="*/ 61958 w 114172"/>
                <a:gd name="connsiteY0" fmla="*/ 48140 h 47313"/>
                <a:gd name="connsiteX1" fmla="*/ 51603 w 114172"/>
                <a:gd name="connsiteY1" fmla="*/ 40291 h 47313"/>
                <a:gd name="connsiteX2" fmla="*/ 52458 w 114172"/>
                <a:gd name="connsiteY2" fmla="*/ 19662 h 47313"/>
                <a:gd name="connsiteX3" fmla="*/ 52801 w 114172"/>
                <a:gd name="connsiteY3" fmla="*/ 19208 h 47313"/>
                <a:gd name="connsiteX4" fmla="*/ 52715 w 114172"/>
                <a:gd name="connsiteY4" fmla="*/ 18084 h 47313"/>
                <a:gd name="connsiteX5" fmla="*/ 25244 w 114172"/>
                <a:gd name="connsiteY5" fmla="*/ 15340 h 47313"/>
                <a:gd name="connsiteX6" fmla="*/ 2136 w 114172"/>
                <a:gd name="connsiteY6" fmla="*/ 9524 h 47313"/>
                <a:gd name="connsiteX7" fmla="*/ 2050 w 114172"/>
                <a:gd name="connsiteY7" fmla="*/ 9250 h 47313"/>
                <a:gd name="connsiteX8" fmla="*/ 2221 w 114172"/>
                <a:gd name="connsiteY8" fmla="*/ 8958 h 47313"/>
                <a:gd name="connsiteX9" fmla="*/ 23960 w 114172"/>
                <a:gd name="connsiteY9" fmla="*/ 6693 h 47313"/>
                <a:gd name="connsiteX10" fmla="*/ 62044 w 114172"/>
                <a:gd name="connsiteY10" fmla="*/ 5004 h 47313"/>
                <a:gd name="connsiteX11" fmla="*/ 71972 w 114172"/>
                <a:gd name="connsiteY11" fmla="*/ 4317 h 47313"/>
                <a:gd name="connsiteX12" fmla="*/ 90201 w 114172"/>
                <a:gd name="connsiteY12" fmla="*/ 2739 h 47313"/>
                <a:gd name="connsiteX13" fmla="*/ 106205 w 114172"/>
                <a:gd name="connsiteY13" fmla="*/ 827 h 47313"/>
                <a:gd name="connsiteX14" fmla="*/ 114079 w 114172"/>
                <a:gd name="connsiteY14" fmla="*/ 14396 h 47313"/>
                <a:gd name="connsiteX15" fmla="*/ 100470 w 114172"/>
                <a:gd name="connsiteY15" fmla="*/ 18445 h 47313"/>
                <a:gd name="connsiteX16" fmla="*/ 82327 w 114172"/>
                <a:gd name="connsiteY16" fmla="*/ 18873 h 47313"/>
                <a:gd name="connsiteX17" fmla="*/ 66751 w 114172"/>
                <a:gd name="connsiteY17" fmla="*/ 46459 h 47313"/>
                <a:gd name="connsiteX18" fmla="*/ 61958 w 114172"/>
                <a:gd name="connsiteY18" fmla="*/ 48140 h 47313"/>
                <a:gd name="connsiteX19" fmla="*/ 61958 w 114172"/>
                <a:gd name="connsiteY19" fmla="*/ 48140 h 4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172" h="47313">
                  <a:moveTo>
                    <a:pt x="61958" y="48140"/>
                  </a:moveTo>
                  <a:cubicBezTo>
                    <a:pt x="57337" y="48140"/>
                    <a:pt x="53058" y="44151"/>
                    <a:pt x="51603" y="40291"/>
                  </a:cubicBezTo>
                  <a:cubicBezTo>
                    <a:pt x="49463" y="33695"/>
                    <a:pt x="48950" y="25873"/>
                    <a:pt x="52458" y="19662"/>
                  </a:cubicBezTo>
                  <a:lnTo>
                    <a:pt x="52801" y="19208"/>
                  </a:lnTo>
                  <a:cubicBezTo>
                    <a:pt x="52715" y="18899"/>
                    <a:pt x="52715" y="18385"/>
                    <a:pt x="52715" y="18084"/>
                  </a:cubicBezTo>
                  <a:cubicBezTo>
                    <a:pt x="44329" y="17578"/>
                    <a:pt x="34658" y="16609"/>
                    <a:pt x="25244" y="15340"/>
                  </a:cubicBezTo>
                  <a:cubicBezTo>
                    <a:pt x="17712" y="14362"/>
                    <a:pt x="7956" y="14096"/>
                    <a:pt x="2136" y="9524"/>
                  </a:cubicBezTo>
                  <a:cubicBezTo>
                    <a:pt x="2050" y="9455"/>
                    <a:pt x="2050" y="9352"/>
                    <a:pt x="2050" y="9250"/>
                  </a:cubicBezTo>
                  <a:cubicBezTo>
                    <a:pt x="2050" y="9130"/>
                    <a:pt x="2136" y="9018"/>
                    <a:pt x="2221" y="8958"/>
                  </a:cubicBezTo>
                  <a:cubicBezTo>
                    <a:pt x="8983" y="6067"/>
                    <a:pt x="16771" y="7448"/>
                    <a:pt x="23960" y="6693"/>
                  </a:cubicBezTo>
                  <a:cubicBezTo>
                    <a:pt x="37140" y="6316"/>
                    <a:pt x="49977" y="5732"/>
                    <a:pt x="62044" y="5004"/>
                  </a:cubicBezTo>
                  <a:cubicBezTo>
                    <a:pt x="65125" y="3700"/>
                    <a:pt x="68719" y="3262"/>
                    <a:pt x="71972" y="4317"/>
                  </a:cubicBezTo>
                  <a:cubicBezTo>
                    <a:pt x="77877" y="3880"/>
                    <a:pt x="84210" y="3237"/>
                    <a:pt x="90201" y="2739"/>
                  </a:cubicBezTo>
                  <a:cubicBezTo>
                    <a:pt x="95593" y="2602"/>
                    <a:pt x="100813" y="1221"/>
                    <a:pt x="106205" y="827"/>
                  </a:cubicBezTo>
                  <a:cubicBezTo>
                    <a:pt x="112966" y="758"/>
                    <a:pt x="119812" y="7697"/>
                    <a:pt x="114079" y="14396"/>
                  </a:cubicBezTo>
                  <a:cubicBezTo>
                    <a:pt x="110056" y="19148"/>
                    <a:pt x="105606" y="18264"/>
                    <a:pt x="100470" y="18445"/>
                  </a:cubicBezTo>
                  <a:cubicBezTo>
                    <a:pt x="94394" y="18685"/>
                    <a:pt x="88318" y="18873"/>
                    <a:pt x="82327" y="18873"/>
                  </a:cubicBezTo>
                  <a:cubicBezTo>
                    <a:pt x="82669" y="30136"/>
                    <a:pt x="75481" y="40017"/>
                    <a:pt x="66751" y="46459"/>
                  </a:cubicBezTo>
                  <a:cubicBezTo>
                    <a:pt x="65382" y="47539"/>
                    <a:pt x="63670" y="48131"/>
                    <a:pt x="61958" y="48140"/>
                  </a:cubicBezTo>
                  <a:lnTo>
                    <a:pt x="61958" y="48140"/>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3" name="Freeform: Shape 332">
              <a:extLst>
                <a:ext uri="{FF2B5EF4-FFF2-40B4-BE49-F238E27FC236}">
                  <a16:creationId xmlns:a16="http://schemas.microsoft.com/office/drawing/2014/main" id="{D753E113-A95B-AAF3-E4F1-DA03620C6EDF}"/>
                </a:ext>
              </a:extLst>
            </p:cNvPr>
            <p:cNvSpPr/>
            <p:nvPr/>
          </p:nvSpPr>
          <p:spPr>
            <a:xfrm>
              <a:off x="4631024" y="3158353"/>
              <a:ext cx="77979" cy="54931"/>
            </a:xfrm>
            <a:custGeom>
              <a:avLst/>
              <a:gdLst>
                <a:gd name="connsiteX0" fmla="*/ 11187 w 77979"/>
                <a:gd name="connsiteY0" fmla="*/ 55757 h 54931"/>
                <a:gd name="connsiteX1" fmla="*/ 2715 w 77979"/>
                <a:gd name="connsiteY1" fmla="*/ 45172 h 54931"/>
                <a:gd name="connsiteX2" fmla="*/ 2800 w 77979"/>
                <a:gd name="connsiteY2" fmla="*/ 30693 h 54931"/>
                <a:gd name="connsiteX3" fmla="*/ 22826 w 77979"/>
                <a:gd name="connsiteY3" fmla="*/ 4841 h 54931"/>
                <a:gd name="connsiteX4" fmla="*/ 79911 w 77979"/>
                <a:gd name="connsiteY4" fmla="*/ 32735 h 54931"/>
                <a:gd name="connsiteX5" fmla="*/ 75888 w 77979"/>
                <a:gd name="connsiteY5" fmla="*/ 38971 h 54931"/>
                <a:gd name="connsiteX6" fmla="*/ 69041 w 77979"/>
                <a:gd name="connsiteY6" fmla="*/ 40969 h 54931"/>
                <a:gd name="connsiteX7" fmla="*/ 57231 w 77979"/>
                <a:gd name="connsiteY7" fmla="*/ 31337 h 54931"/>
                <a:gd name="connsiteX8" fmla="*/ 28561 w 77979"/>
                <a:gd name="connsiteY8" fmla="*/ 26345 h 54931"/>
                <a:gd name="connsiteX9" fmla="*/ 17263 w 77979"/>
                <a:gd name="connsiteY9" fmla="*/ 40798 h 54931"/>
                <a:gd name="connsiteX10" fmla="*/ 15295 w 77979"/>
                <a:gd name="connsiteY10" fmla="*/ 46545 h 54931"/>
                <a:gd name="connsiteX11" fmla="*/ 11530 w 77979"/>
                <a:gd name="connsiteY11" fmla="*/ 55620 h 54931"/>
                <a:gd name="connsiteX12" fmla="*/ 11187 w 77979"/>
                <a:gd name="connsiteY12" fmla="*/ 55757 h 54931"/>
                <a:gd name="connsiteX13" fmla="*/ 11187 w 77979"/>
                <a:gd name="connsiteY13" fmla="*/ 55757 h 5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979" h="54931">
                  <a:moveTo>
                    <a:pt x="11187" y="55757"/>
                  </a:moveTo>
                  <a:cubicBezTo>
                    <a:pt x="5795" y="54642"/>
                    <a:pt x="3570" y="49324"/>
                    <a:pt x="2715" y="45172"/>
                  </a:cubicBezTo>
                  <a:cubicBezTo>
                    <a:pt x="1773" y="40386"/>
                    <a:pt x="1859" y="35463"/>
                    <a:pt x="2800" y="30693"/>
                  </a:cubicBezTo>
                  <a:cubicBezTo>
                    <a:pt x="5282" y="19697"/>
                    <a:pt x="12728" y="9893"/>
                    <a:pt x="22826" y="4841"/>
                  </a:cubicBezTo>
                  <a:cubicBezTo>
                    <a:pt x="42938" y="-6104"/>
                    <a:pt x="82477" y="6025"/>
                    <a:pt x="79911" y="32735"/>
                  </a:cubicBezTo>
                  <a:cubicBezTo>
                    <a:pt x="79397" y="35265"/>
                    <a:pt x="77942" y="37496"/>
                    <a:pt x="75888" y="38971"/>
                  </a:cubicBezTo>
                  <a:cubicBezTo>
                    <a:pt x="73833" y="40317"/>
                    <a:pt x="71524" y="41012"/>
                    <a:pt x="69041" y="40969"/>
                  </a:cubicBezTo>
                  <a:cubicBezTo>
                    <a:pt x="63478" y="41090"/>
                    <a:pt x="57574" y="37238"/>
                    <a:pt x="57231" y="31337"/>
                  </a:cubicBezTo>
                  <a:cubicBezTo>
                    <a:pt x="51582" y="23180"/>
                    <a:pt x="37376" y="20709"/>
                    <a:pt x="28561" y="26345"/>
                  </a:cubicBezTo>
                  <a:cubicBezTo>
                    <a:pt x="24025" y="29201"/>
                    <a:pt x="20174" y="34064"/>
                    <a:pt x="17263" y="40798"/>
                  </a:cubicBezTo>
                  <a:cubicBezTo>
                    <a:pt x="16493" y="42668"/>
                    <a:pt x="15809" y="44580"/>
                    <a:pt x="15295" y="46545"/>
                  </a:cubicBezTo>
                  <a:cubicBezTo>
                    <a:pt x="14439" y="49736"/>
                    <a:pt x="13498" y="53038"/>
                    <a:pt x="11530" y="55620"/>
                  </a:cubicBezTo>
                  <a:cubicBezTo>
                    <a:pt x="11444" y="55714"/>
                    <a:pt x="11273" y="55766"/>
                    <a:pt x="11187" y="55757"/>
                  </a:cubicBezTo>
                  <a:lnTo>
                    <a:pt x="11187" y="5575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4" name="Rounded Rectangle 4">
              <a:extLst>
                <a:ext uri="{FF2B5EF4-FFF2-40B4-BE49-F238E27FC236}">
                  <a16:creationId xmlns:a16="http://schemas.microsoft.com/office/drawing/2014/main" id="{A2D5F4EE-DAB1-AAC1-86BF-B6E206233D23}"/>
                </a:ext>
              </a:extLst>
            </p:cNvPr>
            <p:cNvSpPr/>
            <p:nvPr/>
          </p:nvSpPr>
          <p:spPr>
            <a:xfrm>
              <a:off x="542784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35" name="TextBox 334">
              <a:extLst>
                <a:ext uri="{FF2B5EF4-FFF2-40B4-BE49-F238E27FC236}">
                  <a16:creationId xmlns:a16="http://schemas.microsoft.com/office/drawing/2014/main" id="{C211DCB8-2054-1C6E-DCEF-35B0FFD3C279}"/>
                </a:ext>
              </a:extLst>
            </p:cNvPr>
            <p:cNvSpPr txBox="1"/>
            <p:nvPr/>
          </p:nvSpPr>
          <p:spPr>
            <a:xfrm>
              <a:off x="5643903"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FO</a:t>
              </a:r>
              <a:endParaRPr lang="en-GB" sz="1600">
                <a:solidFill>
                  <a:schemeClr val="bg1"/>
                </a:solidFill>
                <a:latin typeface="Darker Grotesque" pitchFamily="2" charset="0"/>
              </a:endParaRPr>
            </a:p>
          </p:txBody>
        </p:sp>
        <p:sp>
          <p:nvSpPr>
            <p:cNvPr id="336" name="TextBox 335">
              <a:extLst>
                <a:ext uri="{FF2B5EF4-FFF2-40B4-BE49-F238E27FC236}">
                  <a16:creationId xmlns:a16="http://schemas.microsoft.com/office/drawing/2014/main" id="{428C94F4-E0CF-B135-A2FC-40DC6B42E65B}"/>
                </a:ext>
              </a:extLst>
            </p:cNvPr>
            <p:cNvSpPr txBox="1"/>
            <p:nvPr/>
          </p:nvSpPr>
          <p:spPr>
            <a:xfrm>
              <a:off x="5511510" y="4671889"/>
              <a:ext cx="1199367" cy="275332"/>
            </a:xfrm>
            <a:prstGeom prst="rect">
              <a:avLst/>
            </a:prstGeom>
            <a:noFill/>
          </p:spPr>
          <p:txBody>
            <a:bodyPr wrap="none" rtlCol="0">
              <a:spAutoFit/>
            </a:bodyPr>
            <a:lstStyle/>
            <a:p>
              <a:pPr algn="ctr">
                <a:lnSpc>
                  <a:spcPct val="70000"/>
                </a:lnSpc>
              </a:pPr>
              <a:r>
                <a:rPr lang="en-US" sz="1600">
                  <a:solidFill>
                    <a:schemeClr val="bg1"/>
                  </a:solidFill>
                  <a:latin typeface="+mj-lt"/>
                </a:rPr>
                <a:t>Princess Leia</a:t>
              </a:r>
              <a:endParaRPr lang="en-GB" sz="1600">
                <a:solidFill>
                  <a:schemeClr val="bg1"/>
                </a:solidFill>
                <a:latin typeface="+mj-lt"/>
              </a:endParaRPr>
            </a:p>
          </p:txBody>
        </p:sp>
        <p:sp>
          <p:nvSpPr>
            <p:cNvPr id="337" name="Freeform: Shape 336">
              <a:extLst>
                <a:ext uri="{FF2B5EF4-FFF2-40B4-BE49-F238E27FC236}">
                  <a16:creationId xmlns:a16="http://schemas.microsoft.com/office/drawing/2014/main" id="{8D486802-4B2C-246D-8EDB-4679E76DE743}"/>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38" name="Freeform: Shape 337">
              <a:extLst>
                <a:ext uri="{FF2B5EF4-FFF2-40B4-BE49-F238E27FC236}">
                  <a16:creationId xmlns:a16="http://schemas.microsoft.com/office/drawing/2014/main" id="{953512FC-AC19-DCAD-D07B-7C553B5CD276}"/>
                </a:ext>
              </a:extLst>
            </p:cNvPr>
            <p:cNvSpPr/>
            <p:nvPr/>
          </p:nvSpPr>
          <p:spPr>
            <a:xfrm>
              <a:off x="5566507" y="4097137"/>
              <a:ext cx="202010" cy="180602"/>
            </a:xfrm>
            <a:custGeom>
              <a:avLst/>
              <a:gdLst>
                <a:gd name="connsiteX0" fmla="*/ 202009 w 202010"/>
                <a:gd name="connsiteY0" fmla="*/ 9619 h 180602"/>
                <a:gd name="connsiteX1" fmla="*/ 2557 w 202010"/>
                <a:gd name="connsiteY1" fmla="*/ 29345 h 180602"/>
                <a:gd name="connsiteX2" fmla="*/ 9 w 202010"/>
                <a:gd name="connsiteY2" fmla="*/ 34779 h 180602"/>
                <a:gd name="connsiteX3" fmla="*/ 8598 w 202010"/>
                <a:gd name="connsiteY3" fmla="*/ 118422 h 180602"/>
                <a:gd name="connsiteX4" fmla="*/ 22050 w 202010"/>
                <a:gd name="connsiteY4" fmla="*/ 176416 h 180602"/>
                <a:gd name="connsiteX5" fmla="*/ 33721 w 202010"/>
                <a:gd name="connsiteY5" fmla="*/ 177252 h 180602"/>
                <a:gd name="connsiteX6" fmla="*/ 153188 w 202010"/>
                <a:gd name="connsiteY6" fmla="*/ 45896 h 180602"/>
                <a:gd name="connsiteX7" fmla="*/ 202009 w 202010"/>
                <a:gd name="connsiteY7" fmla="*/ 9619 h 1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10" h="180602">
                  <a:moveTo>
                    <a:pt x="202009" y="9619"/>
                  </a:moveTo>
                  <a:cubicBezTo>
                    <a:pt x="189857" y="-12134"/>
                    <a:pt x="20010" y="6729"/>
                    <a:pt x="2557" y="29345"/>
                  </a:cubicBezTo>
                  <a:cubicBezTo>
                    <a:pt x="856" y="30617"/>
                    <a:pt x="-106" y="32662"/>
                    <a:pt x="9" y="34779"/>
                  </a:cubicBezTo>
                  <a:cubicBezTo>
                    <a:pt x="1551" y="64012"/>
                    <a:pt x="4446" y="92151"/>
                    <a:pt x="8598" y="118422"/>
                  </a:cubicBezTo>
                  <a:cubicBezTo>
                    <a:pt x="11413" y="136271"/>
                    <a:pt x="15217" y="157118"/>
                    <a:pt x="22050" y="176416"/>
                  </a:cubicBezTo>
                  <a:cubicBezTo>
                    <a:pt x="23698" y="181530"/>
                    <a:pt x="31351" y="182135"/>
                    <a:pt x="33721" y="177252"/>
                  </a:cubicBezTo>
                  <a:cubicBezTo>
                    <a:pt x="65008" y="123420"/>
                    <a:pt x="106248" y="82661"/>
                    <a:pt x="153188" y="45896"/>
                  </a:cubicBezTo>
                  <a:cubicBezTo>
                    <a:pt x="162961" y="37225"/>
                    <a:pt x="202294" y="21430"/>
                    <a:pt x="202009" y="961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39" name="Freeform: Shape 338">
              <a:extLst>
                <a:ext uri="{FF2B5EF4-FFF2-40B4-BE49-F238E27FC236}">
                  <a16:creationId xmlns:a16="http://schemas.microsoft.com/office/drawing/2014/main" id="{B2726469-CADA-A665-2921-4648077A0C00}"/>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0" name="Freeform: Shape 339">
              <a:extLst>
                <a:ext uri="{FF2B5EF4-FFF2-40B4-BE49-F238E27FC236}">
                  <a16:creationId xmlns:a16="http://schemas.microsoft.com/office/drawing/2014/main" id="{0B4CA77D-AD60-60A8-8092-0DD2AE043D4F}"/>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1" name="Freeform: Shape 340">
              <a:extLst>
                <a:ext uri="{FF2B5EF4-FFF2-40B4-BE49-F238E27FC236}">
                  <a16:creationId xmlns:a16="http://schemas.microsoft.com/office/drawing/2014/main" id="{7B5BCDC8-8115-FD36-DA79-149044873F6E}"/>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2" name="Freeform: Shape 341">
              <a:extLst>
                <a:ext uri="{FF2B5EF4-FFF2-40B4-BE49-F238E27FC236}">
                  <a16:creationId xmlns:a16="http://schemas.microsoft.com/office/drawing/2014/main" id="{2D19474D-AE33-F1DB-D806-4A3B96735AA2}"/>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3" name="Freeform: Shape 342">
              <a:extLst>
                <a:ext uri="{FF2B5EF4-FFF2-40B4-BE49-F238E27FC236}">
                  <a16:creationId xmlns:a16="http://schemas.microsoft.com/office/drawing/2014/main" id="{77AE83D6-1430-D1EB-6BC9-A9D9F7C7FD64}"/>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4" name="Freeform: Shape 343">
              <a:extLst>
                <a:ext uri="{FF2B5EF4-FFF2-40B4-BE49-F238E27FC236}">
                  <a16:creationId xmlns:a16="http://schemas.microsoft.com/office/drawing/2014/main" id="{8A5C6C3C-1D2F-A091-5490-3864E4DB9081}"/>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5" name="Freeform: Shape 344">
              <a:extLst>
                <a:ext uri="{FF2B5EF4-FFF2-40B4-BE49-F238E27FC236}">
                  <a16:creationId xmlns:a16="http://schemas.microsoft.com/office/drawing/2014/main" id="{D2F241C4-36A1-2A78-995C-14CE4F3F9F42}"/>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6" name="Freeform: Shape 345">
              <a:extLst>
                <a:ext uri="{FF2B5EF4-FFF2-40B4-BE49-F238E27FC236}">
                  <a16:creationId xmlns:a16="http://schemas.microsoft.com/office/drawing/2014/main" id="{BB2B43B1-91D4-7A78-79F8-D29B7BBF27DC}"/>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7" name="Freeform: Shape 346">
              <a:extLst>
                <a:ext uri="{FF2B5EF4-FFF2-40B4-BE49-F238E27FC236}">
                  <a16:creationId xmlns:a16="http://schemas.microsoft.com/office/drawing/2014/main" id="{F372C58F-4CC4-110E-E09E-E1604AAA6E03}"/>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8" name="Freeform: Shape 347">
              <a:extLst>
                <a:ext uri="{FF2B5EF4-FFF2-40B4-BE49-F238E27FC236}">
                  <a16:creationId xmlns:a16="http://schemas.microsoft.com/office/drawing/2014/main" id="{CE1AC039-4BF0-DE5C-3BBC-36856ECB7612}"/>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9" name="Freeform: Shape 348">
              <a:extLst>
                <a:ext uri="{FF2B5EF4-FFF2-40B4-BE49-F238E27FC236}">
                  <a16:creationId xmlns:a16="http://schemas.microsoft.com/office/drawing/2014/main" id="{9A87B0C2-D2AC-525E-0B66-FED7D9080ED4}"/>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350" name="Freeform: Shape 349">
              <a:extLst>
                <a:ext uri="{FF2B5EF4-FFF2-40B4-BE49-F238E27FC236}">
                  <a16:creationId xmlns:a16="http://schemas.microsoft.com/office/drawing/2014/main" id="{D7C70C56-60F7-A2AE-D991-92796F630E6C}"/>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1" name="Freeform: Shape 350">
              <a:extLst>
                <a:ext uri="{FF2B5EF4-FFF2-40B4-BE49-F238E27FC236}">
                  <a16:creationId xmlns:a16="http://schemas.microsoft.com/office/drawing/2014/main" id="{7CABDD3B-EFFA-46CF-CF40-36F90C7C26CF}"/>
                </a:ext>
              </a:extLst>
            </p:cNvPr>
            <p:cNvSpPr/>
            <p:nvPr/>
          </p:nvSpPr>
          <p:spPr>
            <a:xfrm>
              <a:off x="5784287" y="2850534"/>
              <a:ext cx="633705" cy="669283"/>
            </a:xfrm>
            <a:custGeom>
              <a:avLst/>
              <a:gdLst>
                <a:gd name="connsiteX0" fmla="*/ 636930 w 633705"/>
                <a:gd name="connsiteY0" fmla="*/ 612986 h 669283"/>
                <a:gd name="connsiteX1" fmla="*/ 603165 w 633705"/>
                <a:gd name="connsiteY1" fmla="*/ 396697 h 669283"/>
                <a:gd name="connsiteX2" fmla="*/ 591583 w 633705"/>
                <a:gd name="connsiteY2" fmla="*/ 291282 h 669283"/>
                <a:gd name="connsiteX3" fmla="*/ 575100 w 633705"/>
                <a:gd name="connsiteY3" fmla="*/ 193872 h 669283"/>
                <a:gd name="connsiteX4" fmla="*/ 538397 w 633705"/>
                <a:gd name="connsiteY4" fmla="*/ 109402 h 669283"/>
                <a:gd name="connsiteX5" fmla="*/ 478976 w 633705"/>
                <a:gd name="connsiteY5" fmla="*/ 47771 h 669283"/>
                <a:gd name="connsiteX6" fmla="*/ 317635 w 633705"/>
                <a:gd name="connsiteY6" fmla="*/ 1854 h 669283"/>
                <a:gd name="connsiteX7" fmla="*/ 299817 w 633705"/>
                <a:gd name="connsiteY7" fmla="*/ 2681 h 669283"/>
                <a:gd name="connsiteX8" fmla="*/ 8498 w 633705"/>
                <a:gd name="connsiteY8" fmla="*/ 507314 h 669283"/>
                <a:gd name="connsiteX9" fmla="*/ 7606 w 633705"/>
                <a:gd name="connsiteY9" fmla="*/ 526230 h 669283"/>
                <a:gd name="connsiteX10" fmla="*/ 3955 w 633705"/>
                <a:gd name="connsiteY10" fmla="*/ 568572 h 669283"/>
                <a:gd name="connsiteX11" fmla="*/ 5112 w 633705"/>
                <a:gd name="connsiteY11" fmla="*/ 617611 h 669283"/>
                <a:gd name="connsiteX12" fmla="*/ 15358 w 633705"/>
                <a:gd name="connsiteY12" fmla="*/ 666738 h 669283"/>
                <a:gd name="connsiteX13" fmla="*/ 221062 w 633705"/>
                <a:gd name="connsiteY13" fmla="*/ 652090 h 669283"/>
                <a:gd name="connsiteX14" fmla="*/ 226141 w 633705"/>
                <a:gd name="connsiteY14" fmla="*/ 583433 h 669283"/>
                <a:gd name="connsiteX15" fmla="*/ 221954 w 633705"/>
                <a:gd name="connsiteY15" fmla="*/ 550803 h 669283"/>
                <a:gd name="connsiteX16" fmla="*/ 218924 w 633705"/>
                <a:gd name="connsiteY16" fmla="*/ 537996 h 669283"/>
                <a:gd name="connsiteX17" fmla="*/ 277724 w 633705"/>
                <a:gd name="connsiteY17" fmla="*/ 436860 h 669283"/>
                <a:gd name="connsiteX18" fmla="*/ 401201 w 633705"/>
                <a:gd name="connsiteY18" fmla="*/ 226752 h 669283"/>
                <a:gd name="connsiteX19" fmla="*/ 444319 w 633705"/>
                <a:gd name="connsiteY19" fmla="*/ 110532 h 669283"/>
                <a:gd name="connsiteX20" fmla="*/ 445657 w 633705"/>
                <a:gd name="connsiteY20" fmla="*/ 110799 h 669283"/>
                <a:gd name="connsiteX21" fmla="*/ 446100 w 633705"/>
                <a:gd name="connsiteY21" fmla="*/ 112213 h 669283"/>
                <a:gd name="connsiteX22" fmla="*/ 526102 w 633705"/>
                <a:gd name="connsiteY22" fmla="*/ 220909 h 669283"/>
                <a:gd name="connsiteX23" fmla="*/ 553274 w 633705"/>
                <a:gd name="connsiteY23" fmla="*/ 377291 h 669283"/>
                <a:gd name="connsiteX24" fmla="*/ 428283 w 633705"/>
                <a:gd name="connsiteY24" fmla="*/ 592922 h 669283"/>
                <a:gd name="connsiteX25" fmla="*/ 363961 w 633705"/>
                <a:gd name="connsiteY25" fmla="*/ 596284 h 669283"/>
                <a:gd name="connsiteX26" fmla="*/ 335096 w 633705"/>
                <a:gd name="connsiteY26" fmla="*/ 586127 h 669283"/>
                <a:gd name="connsiteX27" fmla="*/ 307480 w 633705"/>
                <a:gd name="connsiteY27" fmla="*/ 567069 h 669283"/>
                <a:gd name="connsiteX28" fmla="*/ 293671 w 633705"/>
                <a:gd name="connsiteY28" fmla="*/ 580845 h 669283"/>
                <a:gd name="connsiteX29" fmla="*/ 348281 w 633705"/>
                <a:gd name="connsiteY29" fmla="*/ 616303 h 669283"/>
                <a:gd name="connsiteX30" fmla="*/ 414476 w 633705"/>
                <a:gd name="connsiteY30" fmla="*/ 618758 h 669283"/>
                <a:gd name="connsiteX31" fmla="*/ 419463 w 633705"/>
                <a:gd name="connsiteY31" fmla="*/ 617806 h 669283"/>
                <a:gd name="connsiteX32" fmla="*/ 426055 w 633705"/>
                <a:gd name="connsiteY32" fmla="*/ 633218 h 669283"/>
                <a:gd name="connsiteX33" fmla="*/ 432204 w 633705"/>
                <a:gd name="connsiteY33" fmla="*/ 638403 h 669283"/>
                <a:gd name="connsiteX34" fmla="*/ 441646 w 633705"/>
                <a:gd name="connsiteY34" fmla="*/ 650329 h 669283"/>
                <a:gd name="connsiteX35" fmla="*/ 626505 w 633705"/>
                <a:gd name="connsiteY35" fmla="*/ 631280 h 669283"/>
                <a:gd name="connsiteX36" fmla="*/ 636930 w 633705"/>
                <a:gd name="connsiteY36" fmla="*/ 612986 h 66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3705" h="669283">
                  <a:moveTo>
                    <a:pt x="636930" y="612986"/>
                  </a:moveTo>
                  <a:cubicBezTo>
                    <a:pt x="621696" y="541536"/>
                    <a:pt x="611895" y="469161"/>
                    <a:pt x="603165" y="396697"/>
                  </a:cubicBezTo>
                  <a:cubicBezTo>
                    <a:pt x="598889" y="361603"/>
                    <a:pt x="595502" y="326412"/>
                    <a:pt x="591583" y="291282"/>
                  </a:cubicBezTo>
                  <a:cubicBezTo>
                    <a:pt x="587931" y="258555"/>
                    <a:pt x="583655" y="225729"/>
                    <a:pt x="575100" y="193872"/>
                  </a:cubicBezTo>
                  <a:cubicBezTo>
                    <a:pt x="567173" y="164266"/>
                    <a:pt x="555591" y="134962"/>
                    <a:pt x="538397" y="109402"/>
                  </a:cubicBezTo>
                  <a:cubicBezTo>
                    <a:pt x="522271" y="85595"/>
                    <a:pt x="502227" y="64748"/>
                    <a:pt x="478976" y="47771"/>
                  </a:cubicBezTo>
                  <a:cubicBezTo>
                    <a:pt x="433183" y="13895"/>
                    <a:pt x="374564" y="-4123"/>
                    <a:pt x="317635" y="1854"/>
                  </a:cubicBezTo>
                  <a:cubicBezTo>
                    <a:pt x="308994" y="2770"/>
                    <a:pt x="300709" y="2601"/>
                    <a:pt x="299817" y="2681"/>
                  </a:cubicBezTo>
                  <a:cubicBezTo>
                    <a:pt x="68009" y="23705"/>
                    <a:pt x="13488" y="426161"/>
                    <a:pt x="8498" y="507314"/>
                  </a:cubicBezTo>
                  <a:cubicBezTo>
                    <a:pt x="8141" y="513628"/>
                    <a:pt x="7785" y="519933"/>
                    <a:pt x="7606" y="526230"/>
                  </a:cubicBezTo>
                  <a:cubicBezTo>
                    <a:pt x="5825" y="540308"/>
                    <a:pt x="4579" y="554422"/>
                    <a:pt x="3955" y="568572"/>
                  </a:cubicBezTo>
                  <a:cubicBezTo>
                    <a:pt x="3241" y="584927"/>
                    <a:pt x="3598" y="601309"/>
                    <a:pt x="5112" y="617611"/>
                  </a:cubicBezTo>
                  <a:cubicBezTo>
                    <a:pt x="6628" y="634294"/>
                    <a:pt x="8409" y="651396"/>
                    <a:pt x="15358" y="666738"/>
                  </a:cubicBezTo>
                  <a:cubicBezTo>
                    <a:pt x="19634" y="676183"/>
                    <a:pt x="219013" y="663243"/>
                    <a:pt x="221062" y="652090"/>
                  </a:cubicBezTo>
                  <a:cubicBezTo>
                    <a:pt x="225517" y="629483"/>
                    <a:pt x="227122" y="606431"/>
                    <a:pt x="226141" y="583433"/>
                  </a:cubicBezTo>
                  <a:cubicBezTo>
                    <a:pt x="225606" y="572467"/>
                    <a:pt x="224271" y="561555"/>
                    <a:pt x="221954" y="550803"/>
                  </a:cubicBezTo>
                  <a:cubicBezTo>
                    <a:pt x="221330" y="547868"/>
                    <a:pt x="220619" y="542354"/>
                    <a:pt x="218924" y="537996"/>
                  </a:cubicBezTo>
                  <a:cubicBezTo>
                    <a:pt x="237099" y="503498"/>
                    <a:pt x="257144" y="469988"/>
                    <a:pt x="277724" y="436860"/>
                  </a:cubicBezTo>
                  <a:cubicBezTo>
                    <a:pt x="320576" y="367891"/>
                    <a:pt x="366188" y="300203"/>
                    <a:pt x="401201" y="226752"/>
                  </a:cubicBezTo>
                  <a:cubicBezTo>
                    <a:pt x="418752" y="189951"/>
                    <a:pt x="436034" y="150864"/>
                    <a:pt x="444319" y="110532"/>
                  </a:cubicBezTo>
                  <a:lnTo>
                    <a:pt x="445657" y="110799"/>
                  </a:lnTo>
                  <a:cubicBezTo>
                    <a:pt x="445478" y="111315"/>
                    <a:pt x="445657" y="111893"/>
                    <a:pt x="446100" y="112213"/>
                  </a:cubicBezTo>
                  <a:cubicBezTo>
                    <a:pt x="484141" y="138475"/>
                    <a:pt x="509622" y="178291"/>
                    <a:pt x="526102" y="220909"/>
                  </a:cubicBezTo>
                  <a:cubicBezTo>
                    <a:pt x="545346" y="270756"/>
                    <a:pt x="554523" y="323895"/>
                    <a:pt x="553274" y="377291"/>
                  </a:cubicBezTo>
                  <a:cubicBezTo>
                    <a:pt x="551136" y="461788"/>
                    <a:pt x="519066" y="566215"/>
                    <a:pt x="428283" y="592922"/>
                  </a:cubicBezTo>
                  <a:cubicBezTo>
                    <a:pt x="407526" y="599014"/>
                    <a:pt x="385165" y="600739"/>
                    <a:pt x="363961" y="596284"/>
                  </a:cubicBezTo>
                  <a:cubicBezTo>
                    <a:pt x="353895" y="594265"/>
                    <a:pt x="344183" y="590850"/>
                    <a:pt x="335096" y="586127"/>
                  </a:cubicBezTo>
                  <a:cubicBezTo>
                    <a:pt x="325119" y="580809"/>
                    <a:pt x="316833" y="573268"/>
                    <a:pt x="307480" y="567069"/>
                  </a:cubicBezTo>
                  <a:cubicBezTo>
                    <a:pt x="298839" y="561395"/>
                    <a:pt x="288771" y="572458"/>
                    <a:pt x="293671" y="580845"/>
                  </a:cubicBezTo>
                  <a:cubicBezTo>
                    <a:pt x="304629" y="599388"/>
                    <a:pt x="328147" y="610727"/>
                    <a:pt x="348281" y="616303"/>
                  </a:cubicBezTo>
                  <a:cubicBezTo>
                    <a:pt x="369842" y="622271"/>
                    <a:pt x="392558" y="622546"/>
                    <a:pt x="414476" y="618758"/>
                  </a:cubicBezTo>
                  <a:cubicBezTo>
                    <a:pt x="416079" y="618473"/>
                    <a:pt x="417771" y="618153"/>
                    <a:pt x="419463" y="617806"/>
                  </a:cubicBezTo>
                  <a:cubicBezTo>
                    <a:pt x="419909" y="623515"/>
                    <a:pt x="422225" y="628923"/>
                    <a:pt x="426055" y="633218"/>
                  </a:cubicBezTo>
                  <a:cubicBezTo>
                    <a:pt x="427839" y="635255"/>
                    <a:pt x="429888" y="637007"/>
                    <a:pt x="432204" y="638403"/>
                  </a:cubicBezTo>
                  <a:cubicBezTo>
                    <a:pt x="432559" y="643766"/>
                    <a:pt x="436034" y="649156"/>
                    <a:pt x="441646" y="650329"/>
                  </a:cubicBezTo>
                  <a:cubicBezTo>
                    <a:pt x="471670" y="656573"/>
                    <a:pt x="596483" y="640200"/>
                    <a:pt x="626505" y="631280"/>
                  </a:cubicBezTo>
                  <a:cubicBezTo>
                    <a:pt x="634524" y="628896"/>
                    <a:pt x="638622" y="621017"/>
                    <a:pt x="636930" y="612986"/>
                  </a:cubicBezTo>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52" name="Freeform: Shape 351">
              <a:extLst>
                <a:ext uri="{FF2B5EF4-FFF2-40B4-BE49-F238E27FC236}">
                  <a16:creationId xmlns:a16="http://schemas.microsoft.com/office/drawing/2014/main" id="{403FB41F-683B-65B9-4EA3-9EE05D258C14}"/>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3" name="Freeform: Shape 352">
              <a:extLst>
                <a:ext uri="{FF2B5EF4-FFF2-40B4-BE49-F238E27FC236}">
                  <a16:creationId xmlns:a16="http://schemas.microsoft.com/office/drawing/2014/main" id="{CBDDC9B4-180D-2B2A-0A7A-2CCCB0A2F73A}"/>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4" name="Freeform: Shape 353">
              <a:extLst>
                <a:ext uri="{FF2B5EF4-FFF2-40B4-BE49-F238E27FC236}">
                  <a16:creationId xmlns:a16="http://schemas.microsoft.com/office/drawing/2014/main" id="{0D47C8AE-DBB7-4D6D-2C83-8DE52C62A93D}"/>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5" name="Freeform: Shape 354">
              <a:extLst>
                <a:ext uri="{FF2B5EF4-FFF2-40B4-BE49-F238E27FC236}">
                  <a16:creationId xmlns:a16="http://schemas.microsoft.com/office/drawing/2014/main" id="{ABB98B4C-4162-4DE0-E6D0-AE7250EF29C6}"/>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356" name="Freeform: Shape 355">
              <a:extLst>
                <a:ext uri="{FF2B5EF4-FFF2-40B4-BE49-F238E27FC236}">
                  <a16:creationId xmlns:a16="http://schemas.microsoft.com/office/drawing/2014/main" id="{0BF4326D-558F-23AE-3C53-B2CBB519FBB6}"/>
                </a:ext>
              </a:extLst>
            </p:cNvPr>
            <p:cNvSpPr/>
            <p:nvPr/>
          </p:nvSpPr>
          <p:spPr>
            <a:xfrm>
              <a:off x="6085133" y="3091446"/>
              <a:ext cx="87269" cy="53555"/>
            </a:xfrm>
            <a:custGeom>
              <a:avLst/>
              <a:gdLst>
                <a:gd name="connsiteX0" fmla="*/ 5340 w 87269"/>
                <a:gd name="connsiteY0" fmla="*/ 52140 h 53555"/>
                <a:gd name="connsiteX1" fmla="*/ 36459 w 87269"/>
                <a:gd name="connsiteY1" fmla="*/ 17020 h 53555"/>
                <a:gd name="connsiteX2" fmla="*/ 63604 w 87269"/>
                <a:gd name="connsiteY2" fmla="*/ 14565 h 53555"/>
                <a:gd name="connsiteX3" fmla="*/ 81395 w 87269"/>
                <a:gd name="connsiteY3" fmla="*/ 30200 h 53555"/>
                <a:gd name="connsiteX4" fmla="*/ 86811 w 87269"/>
                <a:gd name="connsiteY4" fmla="*/ 28768 h 53555"/>
                <a:gd name="connsiteX5" fmla="*/ 73101 w 87269"/>
                <a:gd name="connsiteY5" fmla="*/ 4587 h 53555"/>
                <a:gd name="connsiteX6" fmla="*/ 37430 w 87269"/>
                <a:gd name="connsiteY6" fmla="*/ 3164 h 53555"/>
                <a:gd name="connsiteX7" fmla="*/ 3 w 87269"/>
                <a:gd name="connsiteY7" fmla="*/ 50699 h 53555"/>
                <a:gd name="connsiteX8" fmla="*/ 5340 w 87269"/>
                <a:gd name="connsiteY8" fmla="*/ 52140 h 53555"/>
                <a:gd name="connsiteX9" fmla="*/ 5340 w 87269"/>
                <a:gd name="connsiteY9" fmla="*/ 52140 h 5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69" h="53555">
                  <a:moveTo>
                    <a:pt x="5340" y="52140"/>
                  </a:moveTo>
                  <a:cubicBezTo>
                    <a:pt x="11594" y="37635"/>
                    <a:pt x="21830" y="23797"/>
                    <a:pt x="36459" y="17020"/>
                  </a:cubicBezTo>
                  <a:cubicBezTo>
                    <a:pt x="44681" y="13213"/>
                    <a:pt x="54873" y="11426"/>
                    <a:pt x="63604" y="14565"/>
                  </a:cubicBezTo>
                  <a:cubicBezTo>
                    <a:pt x="71506" y="17402"/>
                    <a:pt x="76192" y="24037"/>
                    <a:pt x="81395" y="30200"/>
                  </a:cubicBezTo>
                  <a:cubicBezTo>
                    <a:pt x="82954" y="32050"/>
                    <a:pt x="86295" y="31027"/>
                    <a:pt x="86811" y="28768"/>
                  </a:cubicBezTo>
                  <a:cubicBezTo>
                    <a:pt x="89199" y="18345"/>
                    <a:pt x="81894" y="9540"/>
                    <a:pt x="73101" y="4587"/>
                  </a:cubicBezTo>
                  <a:cubicBezTo>
                    <a:pt x="62339" y="-1470"/>
                    <a:pt x="48735" y="-1087"/>
                    <a:pt x="37430" y="3164"/>
                  </a:cubicBezTo>
                  <a:cubicBezTo>
                    <a:pt x="17153" y="10785"/>
                    <a:pt x="1117" y="28688"/>
                    <a:pt x="3" y="50699"/>
                  </a:cubicBezTo>
                  <a:cubicBezTo>
                    <a:pt x="-139" y="53394"/>
                    <a:pt x="4200" y="54781"/>
                    <a:pt x="5340" y="52140"/>
                  </a:cubicBezTo>
                  <a:lnTo>
                    <a:pt x="5340" y="5214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7" name="Freeform: Shape 356">
              <a:extLst>
                <a:ext uri="{FF2B5EF4-FFF2-40B4-BE49-F238E27FC236}">
                  <a16:creationId xmlns:a16="http://schemas.microsoft.com/office/drawing/2014/main" id="{9C872F42-DE1A-56EA-D827-F55B7B6DAA1C}"/>
                </a:ext>
              </a:extLst>
            </p:cNvPr>
            <p:cNvSpPr/>
            <p:nvPr/>
          </p:nvSpPr>
          <p:spPr>
            <a:xfrm>
              <a:off x="6254199" y="3114300"/>
              <a:ext cx="71581" cy="45127"/>
            </a:xfrm>
            <a:custGeom>
              <a:avLst/>
              <a:gdLst>
                <a:gd name="connsiteX0" fmla="*/ 7573 w 71581"/>
                <a:gd name="connsiteY0" fmla="*/ 27810 h 45127"/>
                <a:gd name="connsiteX1" fmla="*/ 41944 w 71581"/>
                <a:gd name="connsiteY1" fmla="*/ 12513 h 45127"/>
                <a:gd name="connsiteX2" fmla="*/ 55601 w 71581"/>
                <a:gd name="connsiteY2" fmla="*/ 24163 h 45127"/>
                <a:gd name="connsiteX3" fmla="*/ 64358 w 71581"/>
                <a:gd name="connsiteY3" fmla="*/ 43560 h 45127"/>
                <a:gd name="connsiteX4" fmla="*/ 70452 w 71581"/>
                <a:gd name="connsiteY4" fmla="*/ 42768 h 45127"/>
                <a:gd name="connsiteX5" fmla="*/ 65365 w 71581"/>
                <a:gd name="connsiteY5" fmla="*/ 17138 h 45127"/>
                <a:gd name="connsiteX6" fmla="*/ 45997 w 71581"/>
                <a:gd name="connsiteY6" fmla="*/ 1423 h 45127"/>
                <a:gd name="connsiteX7" fmla="*/ 1248 w 71581"/>
                <a:gd name="connsiteY7" fmla="*/ 21513 h 45127"/>
                <a:gd name="connsiteX8" fmla="*/ 7573 w 71581"/>
                <a:gd name="connsiteY8" fmla="*/ 27810 h 45127"/>
                <a:gd name="connsiteX9" fmla="*/ 7573 w 71581"/>
                <a:gd name="connsiteY9" fmla="*/ 27810 h 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81" h="45127">
                  <a:moveTo>
                    <a:pt x="7573" y="27810"/>
                  </a:moveTo>
                  <a:cubicBezTo>
                    <a:pt x="16553" y="19210"/>
                    <a:pt x="28393" y="7951"/>
                    <a:pt x="41944" y="12513"/>
                  </a:cubicBezTo>
                  <a:cubicBezTo>
                    <a:pt x="47868" y="14505"/>
                    <a:pt x="52412" y="18916"/>
                    <a:pt x="55601" y="24163"/>
                  </a:cubicBezTo>
                  <a:cubicBezTo>
                    <a:pt x="59289" y="30229"/>
                    <a:pt x="60144" y="37904"/>
                    <a:pt x="64358" y="43560"/>
                  </a:cubicBezTo>
                  <a:cubicBezTo>
                    <a:pt x="66131" y="45943"/>
                    <a:pt x="69374" y="45552"/>
                    <a:pt x="70452" y="42768"/>
                  </a:cubicBezTo>
                  <a:cubicBezTo>
                    <a:pt x="73570" y="34711"/>
                    <a:pt x="69695" y="24137"/>
                    <a:pt x="65365" y="17138"/>
                  </a:cubicBezTo>
                  <a:cubicBezTo>
                    <a:pt x="60937" y="9978"/>
                    <a:pt x="54051" y="4082"/>
                    <a:pt x="45997" y="1423"/>
                  </a:cubicBezTo>
                  <a:cubicBezTo>
                    <a:pt x="27983" y="-4527"/>
                    <a:pt x="12527" y="9347"/>
                    <a:pt x="1248" y="21513"/>
                  </a:cubicBezTo>
                  <a:cubicBezTo>
                    <a:pt x="-2636" y="25720"/>
                    <a:pt x="3413" y="31803"/>
                    <a:pt x="7573" y="27810"/>
                  </a:cubicBezTo>
                  <a:lnTo>
                    <a:pt x="7573" y="2781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8" name="Freeform: Shape 357">
              <a:extLst>
                <a:ext uri="{FF2B5EF4-FFF2-40B4-BE49-F238E27FC236}">
                  <a16:creationId xmlns:a16="http://schemas.microsoft.com/office/drawing/2014/main" id="{4B1C274E-CEC8-93A3-A27C-D1AB8A42801B}"/>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9" name="Freeform: Shape 358">
              <a:extLst>
                <a:ext uri="{FF2B5EF4-FFF2-40B4-BE49-F238E27FC236}">
                  <a16:creationId xmlns:a16="http://schemas.microsoft.com/office/drawing/2014/main" id="{4EF2D90D-B8DB-0D2F-08AE-0617E4245F1F}"/>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0" name="Freeform: Shape 359">
              <a:extLst>
                <a:ext uri="{FF2B5EF4-FFF2-40B4-BE49-F238E27FC236}">
                  <a16:creationId xmlns:a16="http://schemas.microsoft.com/office/drawing/2014/main" id="{3BA4E66C-BAD7-F0F0-CA3D-7181B890C54E}"/>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1" name="Freeform: Shape 360">
              <a:extLst>
                <a:ext uri="{FF2B5EF4-FFF2-40B4-BE49-F238E27FC236}">
                  <a16:creationId xmlns:a16="http://schemas.microsoft.com/office/drawing/2014/main" id="{A2E34BD8-ECD7-78D4-D05C-1464057D733F}"/>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2" name="Freeform: Shape 361">
              <a:extLst>
                <a:ext uri="{FF2B5EF4-FFF2-40B4-BE49-F238E27FC236}">
                  <a16:creationId xmlns:a16="http://schemas.microsoft.com/office/drawing/2014/main" id="{15AB7566-E681-164B-7904-37E7645C8C81}"/>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3" name="Rounded Rectangle 10">
              <a:extLst>
                <a:ext uri="{FF2B5EF4-FFF2-40B4-BE49-F238E27FC236}">
                  <a16:creationId xmlns:a16="http://schemas.microsoft.com/office/drawing/2014/main" id="{EF4ADD2F-668A-B543-ADF7-EA0827DF6C49}"/>
                </a:ext>
              </a:extLst>
            </p:cNvPr>
            <p:cNvSpPr/>
            <p:nvPr/>
          </p:nvSpPr>
          <p:spPr>
            <a:xfrm>
              <a:off x="7070202"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64" name="TextBox 363">
              <a:extLst>
                <a:ext uri="{FF2B5EF4-FFF2-40B4-BE49-F238E27FC236}">
                  <a16:creationId xmlns:a16="http://schemas.microsoft.com/office/drawing/2014/main" id="{BF144F99-0754-743A-E4F3-0B08DA4EB929}"/>
                </a:ext>
              </a:extLst>
            </p:cNvPr>
            <p:cNvSpPr txBox="1"/>
            <p:nvPr/>
          </p:nvSpPr>
          <p:spPr>
            <a:xfrm>
              <a:off x="7286262"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MO</a:t>
              </a:r>
              <a:endParaRPr lang="en-GB" sz="1600">
                <a:solidFill>
                  <a:schemeClr val="bg1"/>
                </a:solidFill>
                <a:latin typeface="Darker Grotesque" pitchFamily="2" charset="0"/>
              </a:endParaRPr>
            </a:p>
          </p:txBody>
        </p:sp>
        <p:sp>
          <p:nvSpPr>
            <p:cNvPr id="365" name="TextBox 364">
              <a:extLst>
                <a:ext uri="{FF2B5EF4-FFF2-40B4-BE49-F238E27FC236}">
                  <a16:creationId xmlns:a16="http://schemas.microsoft.com/office/drawing/2014/main" id="{405C0D2A-A7A5-64BD-F7DE-A8878A83F302}"/>
                </a:ext>
              </a:extLst>
            </p:cNvPr>
            <p:cNvSpPr txBox="1"/>
            <p:nvPr/>
          </p:nvSpPr>
          <p:spPr>
            <a:xfrm>
              <a:off x="7205172" y="4671889"/>
              <a:ext cx="1096774" cy="275332"/>
            </a:xfrm>
            <a:prstGeom prst="rect">
              <a:avLst/>
            </a:prstGeom>
            <a:noFill/>
          </p:spPr>
          <p:txBody>
            <a:bodyPr wrap="none" rtlCol="0">
              <a:spAutoFit/>
            </a:bodyPr>
            <a:lstStyle/>
            <a:p>
              <a:pPr algn="ctr">
                <a:lnSpc>
                  <a:spcPct val="70000"/>
                </a:lnSpc>
              </a:pPr>
              <a:r>
                <a:rPr lang="en-US" sz="1600">
                  <a:solidFill>
                    <a:schemeClr val="bg1"/>
                  </a:solidFill>
                  <a:latin typeface="+mj-lt"/>
                </a:rPr>
                <a:t>Raminta Art</a:t>
              </a:r>
              <a:endParaRPr lang="en-GB" sz="1600">
                <a:solidFill>
                  <a:schemeClr val="bg1"/>
                </a:solidFill>
                <a:latin typeface="+mj-lt"/>
              </a:endParaRPr>
            </a:p>
          </p:txBody>
        </p:sp>
        <p:sp>
          <p:nvSpPr>
            <p:cNvPr id="366" name="Freeform: Shape 365">
              <a:extLst>
                <a:ext uri="{FF2B5EF4-FFF2-40B4-BE49-F238E27FC236}">
                  <a16:creationId xmlns:a16="http://schemas.microsoft.com/office/drawing/2014/main" id="{FBBE870E-5D53-7265-35FF-C088367E6797}"/>
                </a:ext>
              </a:extLst>
            </p:cNvPr>
            <p:cNvSpPr/>
            <p:nvPr/>
          </p:nvSpPr>
          <p:spPr>
            <a:xfrm>
              <a:off x="7203157" y="3388531"/>
              <a:ext cx="1093374" cy="1055352"/>
            </a:xfrm>
            <a:custGeom>
              <a:avLst/>
              <a:gdLst>
                <a:gd name="connsiteX0" fmla="*/ 1075377 w 1093374"/>
                <a:gd name="connsiteY0" fmla="*/ 942833 h 1055352"/>
                <a:gd name="connsiteX1" fmla="*/ 1066286 w 1093374"/>
                <a:gd name="connsiteY1" fmla="*/ 867022 h 1055352"/>
                <a:gd name="connsiteX2" fmla="*/ 1066286 w 1093374"/>
                <a:gd name="connsiteY2" fmla="*/ 865744 h 1055352"/>
                <a:gd name="connsiteX3" fmla="*/ 1059766 w 1093374"/>
                <a:gd name="connsiteY3" fmla="*/ 780068 h 1055352"/>
                <a:gd name="connsiteX4" fmla="*/ 1040480 w 1093374"/>
                <a:gd name="connsiteY4" fmla="*/ 641234 h 1055352"/>
                <a:gd name="connsiteX5" fmla="*/ 996307 w 1093374"/>
                <a:gd name="connsiteY5" fmla="*/ 414989 h 1055352"/>
                <a:gd name="connsiteX6" fmla="*/ 939462 w 1093374"/>
                <a:gd name="connsiteY6" fmla="*/ 285838 h 1055352"/>
                <a:gd name="connsiteX7" fmla="*/ 822557 w 1093374"/>
                <a:gd name="connsiteY7" fmla="*/ 193768 h 1055352"/>
                <a:gd name="connsiteX8" fmla="*/ 747894 w 1093374"/>
                <a:gd name="connsiteY8" fmla="*/ 164815 h 1055352"/>
                <a:gd name="connsiteX9" fmla="*/ 716120 w 1093374"/>
                <a:gd name="connsiteY9" fmla="*/ 59593 h 1055352"/>
                <a:gd name="connsiteX10" fmla="*/ 701887 w 1093374"/>
                <a:gd name="connsiteY10" fmla="*/ 25796 h 1055352"/>
                <a:gd name="connsiteX11" fmla="*/ 527126 w 1093374"/>
                <a:gd name="connsiteY11" fmla="*/ 23329 h 1055352"/>
                <a:gd name="connsiteX12" fmla="*/ 515922 w 1093374"/>
                <a:gd name="connsiteY12" fmla="*/ 37944 h 1055352"/>
                <a:gd name="connsiteX13" fmla="*/ 512063 w 1093374"/>
                <a:gd name="connsiteY13" fmla="*/ 62331 h 1055352"/>
                <a:gd name="connsiteX14" fmla="*/ 344925 w 1093374"/>
                <a:gd name="connsiteY14" fmla="*/ 171391 h 1055352"/>
                <a:gd name="connsiteX15" fmla="*/ 22677 w 1093374"/>
                <a:gd name="connsiteY15" fmla="*/ 575197 h 1055352"/>
                <a:gd name="connsiteX16" fmla="*/ 14045 w 1093374"/>
                <a:gd name="connsiteY16" fmla="*/ 638128 h 1055352"/>
                <a:gd name="connsiteX17" fmla="*/ 3944 w 1093374"/>
                <a:gd name="connsiteY17" fmla="*/ 816786 h 1055352"/>
                <a:gd name="connsiteX18" fmla="*/ 26903 w 1093374"/>
                <a:gd name="connsiteY18" fmla="*/ 1058832 h 1055352"/>
                <a:gd name="connsiteX19" fmla="*/ 1093836 w 1093374"/>
                <a:gd name="connsiteY19" fmla="*/ 1058466 h 1055352"/>
                <a:gd name="connsiteX20" fmla="*/ 1097049 w 1093374"/>
                <a:gd name="connsiteY20" fmla="*/ 1054631 h 1055352"/>
                <a:gd name="connsiteX21" fmla="*/ 1075377 w 1093374"/>
                <a:gd name="connsiteY21" fmla="*/ 942833 h 105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3374" h="1055352">
                  <a:moveTo>
                    <a:pt x="1075377" y="942833"/>
                  </a:moveTo>
                  <a:cubicBezTo>
                    <a:pt x="1072346" y="927397"/>
                    <a:pt x="1066378" y="878256"/>
                    <a:pt x="1066286" y="867022"/>
                  </a:cubicBezTo>
                  <a:lnTo>
                    <a:pt x="1066286" y="865744"/>
                  </a:lnTo>
                  <a:cubicBezTo>
                    <a:pt x="1066194" y="846196"/>
                    <a:pt x="1063990" y="817334"/>
                    <a:pt x="1059766" y="780068"/>
                  </a:cubicBezTo>
                  <a:cubicBezTo>
                    <a:pt x="1055450" y="742801"/>
                    <a:pt x="1049020" y="696128"/>
                    <a:pt x="1040480" y="641234"/>
                  </a:cubicBezTo>
                  <a:cubicBezTo>
                    <a:pt x="1040480" y="641234"/>
                    <a:pt x="1000899" y="431339"/>
                    <a:pt x="996307" y="414989"/>
                  </a:cubicBezTo>
                  <a:cubicBezTo>
                    <a:pt x="981707" y="374161"/>
                    <a:pt x="960492" y="328583"/>
                    <a:pt x="939462" y="285838"/>
                  </a:cubicBezTo>
                  <a:cubicBezTo>
                    <a:pt x="910259" y="219069"/>
                    <a:pt x="884361" y="212767"/>
                    <a:pt x="822557" y="193768"/>
                  </a:cubicBezTo>
                  <a:cubicBezTo>
                    <a:pt x="791058" y="190113"/>
                    <a:pt x="763048" y="191850"/>
                    <a:pt x="747894" y="164815"/>
                  </a:cubicBezTo>
                  <a:cubicBezTo>
                    <a:pt x="730814" y="137230"/>
                    <a:pt x="721722" y="88912"/>
                    <a:pt x="716120" y="59593"/>
                  </a:cubicBezTo>
                  <a:cubicBezTo>
                    <a:pt x="711252" y="42054"/>
                    <a:pt x="715936" y="35112"/>
                    <a:pt x="701887" y="25796"/>
                  </a:cubicBezTo>
                  <a:cubicBezTo>
                    <a:pt x="649723" y="-3066"/>
                    <a:pt x="580022" y="-3981"/>
                    <a:pt x="527126" y="23329"/>
                  </a:cubicBezTo>
                  <a:cubicBezTo>
                    <a:pt x="520787" y="27167"/>
                    <a:pt x="516288" y="32463"/>
                    <a:pt x="515922" y="37944"/>
                  </a:cubicBezTo>
                  <a:cubicBezTo>
                    <a:pt x="515371" y="47353"/>
                    <a:pt x="512063" y="62331"/>
                    <a:pt x="512063" y="62331"/>
                  </a:cubicBezTo>
                  <a:cubicBezTo>
                    <a:pt x="494248" y="165727"/>
                    <a:pt x="436668" y="150565"/>
                    <a:pt x="344925" y="171391"/>
                  </a:cubicBezTo>
                  <a:cubicBezTo>
                    <a:pt x="141696" y="245007"/>
                    <a:pt x="49862" y="475182"/>
                    <a:pt x="22677" y="575197"/>
                  </a:cubicBezTo>
                  <a:lnTo>
                    <a:pt x="14045" y="638128"/>
                  </a:lnTo>
                  <a:cubicBezTo>
                    <a:pt x="14045" y="638128"/>
                    <a:pt x="2106" y="735496"/>
                    <a:pt x="3944" y="816786"/>
                  </a:cubicBezTo>
                  <a:cubicBezTo>
                    <a:pt x="5781" y="898076"/>
                    <a:pt x="26903" y="1058832"/>
                    <a:pt x="26903" y="1058832"/>
                  </a:cubicBezTo>
                  <a:lnTo>
                    <a:pt x="1093836" y="1058466"/>
                  </a:lnTo>
                  <a:cubicBezTo>
                    <a:pt x="1095856" y="1058466"/>
                    <a:pt x="1097509" y="1056640"/>
                    <a:pt x="1097049" y="1054631"/>
                  </a:cubicBezTo>
                  <a:cubicBezTo>
                    <a:pt x="1093744" y="1037732"/>
                    <a:pt x="1080613" y="969777"/>
                    <a:pt x="1075377" y="942833"/>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367" name="Freeform: Shape 366">
              <a:extLst>
                <a:ext uri="{FF2B5EF4-FFF2-40B4-BE49-F238E27FC236}">
                  <a16:creationId xmlns:a16="http://schemas.microsoft.com/office/drawing/2014/main" id="{A8046EAC-18EA-6CC8-59EA-9CDC563B81A5}"/>
                </a:ext>
              </a:extLst>
            </p:cNvPr>
            <p:cNvSpPr/>
            <p:nvPr/>
          </p:nvSpPr>
          <p:spPr>
            <a:xfrm>
              <a:off x="7192382" y="3420073"/>
              <a:ext cx="1119708" cy="1039155"/>
            </a:xfrm>
            <a:custGeom>
              <a:avLst/>
              <a:gdLst>
                <a:gd name="connsiteX0" fmla="*/ 235672 w 1119708"/>
                <a:gd name="connsiteY0" fmla="*/ 1042634 h 1039155"/>
                <a:gd name="connsiteX1" fmla="*/ 213356 w 1119708"/>
                <a:gd name="connsiteY1" fmla="*/ 942619 h 1039155"/>
                <a:gd name="connsiteX2" fmla="*/ 219968 w 1119708"/>
                <a:gd name="connsiteY2" fmla="*/ 655178 h 1039155"/>
                <a:gd name="connsiteX3" fmla="*/ 219051 w 1119708"/>
                <a:gd name="connsiteY3" fmla="*/ 605856 h 1039155"/>
                <a:gd name="connsiteX4" fmla="*/ 35840 w 1119708"/>
                <a:gd name="connsiteY4" fmla="*/ 551325 h 1039155"/>
                <a:gd name="connsiteX5" fmla="*/ 51911 w 1119708"/>
                <a:gd name="connsiteY5" fmla="*/ 1021171 h 1039155"/>
                <a:gd name="connsiteX6" fmla="*/ 25647 w 1119708"/>
                <a:gd name="connsiteY6" fmla="*/ 1024732 h 1039155"/>
                <a:gd name="connsiteX7" fmla="*/ 4249 w 1119708"/>
                <a:gd name="connsiteY7" fmla="*/ 819495 h 1039155"/>
                <a:gd name="connsiteX8" fmla="*/ 30790 w 1119708"/>
                <a:gd name="connsiteY8" fmla="*/ 547033 h 1039155"/>
                <a:gd name="connsiteX9" fmla="*/ 24176 w 1119708"/>
                <a:gd name="connsiteY9" fmla="*/ 540000 h 1039155"/>
                <a:gd name="connsiteX10" fmla="*/ 32443 w 1119708"/>
                <a:gd name="connsiteY10" fmla="*/ 462362 h 1039155"/>
                <a:gd name="connsiteX11" fmla="*/ 396198 w 1119708"/>
                <a:gd name="connsiteY11" fmla="*/ 120118 h 1039155"/>
                <a:gd name="connsiteX12" fmla="*/ 423107 w 1119708"/>
                <a:gd name="connsiteY12" fmla="*/ 122950 h 1039155"/>
                <a:gd name="connsiteX13" fmla="*/ 425127 w 1119708"/>
                <a:gd name="connsiteY13" fmla="*/ 124411 h 1039155"/>
                <a:gd name="connsiteX14" fmla="*/ 430728 w 1119708"/>
                <a:gd name="connsiteY14" fmla="*/ 140303 h 1039155"/>
                <a:gd name="connsiteX15" fmla="*/ 490972 w 1119708"/>
                <a:gd name="connsiteY15" fmla="*/ 219038 h 1039155"/>
                <a:gd name="connsiteX16" fmla="*/ 769231 w 1119708"/>
                <a:gd name="connsiteY16" fmla="*/ 161586 h 1039155"/>
                <a:gd name="connsiteX17" fmla="*/ 768128 w 1119708"/>
                <a:gd name="connsiteY17" fmla="*/ 160491 h 1039155"/>
                <a:gd name="connsiteX18" fmla="*/ 722762 w 1119708"/>
                <a:gd name="connsiteY18" fmla="*/ 62575 h 1039155"/>
                <a:gd name="connsiteX19" fmla="*/ 734885 w 1119708"/>
                <a:gd name="connsiteY19" fmla="*/ 51980 h 1039155"/>
                <a:gd name="connsiteX20" fmla="*/ 734885 w 1119708"/>
                <a:gd name="connsiteY20" fmla="*/ 51980 h 1039155"/>
                <a:gd name="connsiteX21" fmla="*/ 738833 w 1119708"/>
                <a:gd name="connsiteY21" fmla="*/ 62666 h 1039155"/>
                <a:gd name="connsiteX22" fmla="*/ 738833 w 1119708"/>
                <a:gd name="connsiteY22" fmla="*/ 62666 h 1039155"/>
                <a:gd name="connsiteX23" fmla="*/ 768955 w 1119708"/>
                <a:gd name="connsiteY23" fmla="*/ 128886 h 1039155"/>
                <a:gd name="connsiteX24" fmla="*/ 768955 w 1119708"/>
                <a:gd name="connsiteY24" fmla="*/ 128886 h 1039155"/>
                <a:gd name="connsiteX25" fmla="*/ 768955 w 1119708"/>
                <a:gd name="connsiteY25" fmla="*/ 128886 h 1039155"/>
                <a:gd name="connsiteX26" fmla="*/ 771987 w 1119708"/>
                <a:gd name="connsiteY26" fmla="*/ 132175 h 1039155"/>
                <a:gd name="connsiteX27" fmla="*/ 776303 w 1119708"/>
                <a:gd name="connsiteY27" fmla="*/ 128248 h 1039155"/>
                <a:gd name="connsiteX28" fmla="*/ 848575 w 1119708"/>
                <a:gd name="connsiteY28" fmla="*/ 143044 h 1039155"/>
                <a:gd name="connsiteX29" fmla="*/ 922319 w 1119708"/>
                <a:gd name="connsiteY29" fmla="*/ 178850 h 1039155"/>
                <a:gd name="connsiteX30" fmla="*/ 1066315 w 1119708"/>
                <a:gd name="connsiteY30" fmla="*/ 454600 h 1039155"/>
                <a:gd name="connsiteX31" fmla="*/ 1118203 w 1119708"/>
                <a:gd name="connsiteY31" fmla="*/ 612341 h 1039155"/>
                <a:gd name="connsiteX32" fmla="*/ 1060530 w 1119708"/>
                <a:gd name="connsiteY32" fmla="*/ 648419 h 1039155"/>
                <a:gd name="connsiteX33" fmla="*/ 1110580 w 1119708"/>
                <a:gd name="connsiteY33" fmla="*/ 967006 h 1039155"/>
                <a:gd name="connsiteX34" fmla="*/ 1110580 w 1119708"/>
                <a:gd name="connsiteY34" fmla="*/ 967006 h 1039155"/>
                <a:gd name="connsiteX35" fmla="*/ 1122610 w 1119708"/>
                <a:gd name="connsiteY35" fmla="*/ 1017882 h 1039155"/>
                <a:gd name="connsiteX36" fmla="*/ 1094784 w 1119708"/>
                <a:gd name="connsiteY36" fmla="*/ 1018522 h 1039155"/>
                <a:gd name="connsiteX37" fmla="*/ 1053643 w 1119708"/>
                <a:gd name="connsiteY37" fmla="*/ 801228 h 1039155"/>
                <a:gd name="connsiteX38" fmla="*/ 1051531 w 1119708"/>
                <a:gd name="connsiteY38" fmla="*/ 651251 h 1039155"/>
                <a:gd name="connsiteX39" fmla="*/ 1022144 w 1119708"/>
                <a:gd name="connsiteY39" fmla="*/ 659745 h 1039155"/>
                <a:gd name="connsiteX40" fmla="*/ 1006349 w 1119708"/>
                <a:gd name="connsiteY40" fmla="*/ 662943 h 1039155"/>
                <a:gd name="connsiteX41" fmla="*/ 982011 w 1119708"/>
                <a:gd name="connsiteY41" fmla="*/ 665043 h 1039155"/>
                <a:gd name="connsiteX42" fmla="*/ 1018929 w 1119708"/>
                <a:gd name="connsiteY42" fmla="*/ 1028568 h 1039155"/>
                <a:gd name="connsiteX43" fmla="*/ 1018837 w 1119708"/>
                <a:gd name="connsiteY43" fmla="*/ 1028568 h 1039155"/>
                <a:gd name="connsiteX44" fmla="*/ 995143 w 1119708"/>
                <a:gd name="connsiteY44" fmla="*/ 1030030 h 1039155"/>
                <a:gd name="connsiteX45" fmla="*/ 921034 w 1119708"/>
                <a:gd name="connsiteY45" fmla="*/ 1032680 h 1039155"/>
                <a:gd name="connsiteX46" fmla="*/ 751416 w 1119708"/>
                <a:gd name="connsiteY46" fmla="*/ 1034963 h 1039155"/>
                <a:gd name="connsiteX47" fmla="*/ 242375 w 1119708"/>
                <a:gd name="connsiteY47" fmla="*/ 1038250 h 1039155"/>
                <a:gd name="connsiteX48" fmla="*/ 235672 w 1119708"/>
                <a:gd name="connsiteY48" fmla="*/ 1042634 h 1039155"/>
                <a:gd name="connsiteX49" fmla="*/ 459841 w 1119708"/>
                <a:gd name="connsiteY49" fmla="*/ 139849 h 1039155"/>
                <a:gd name="connsiteX50" fmla="*/ 455249 w 1119708"/>
                <a:gd name="connsiteY50" fmla="*/ 112539 h 1039155"/>
                <a:gd name="connsiteX51" fmla="*/ 520910 w 1119708"/>
                <a:gd name="connsiteY51" fmla="*/ 21383 h 1039155"/>
                <a:gd name="connsiteX52" fmla="*/ 520910 w 1119708"/>
                <a:gd name="connsiteY52" fmla="*/ 21383 h 1039155"/>
                <a:gd name="connsiteX53" fmla="*/ 527246 w 1119708"/>
                <a:gd name="connsiteY53" fmla="*/ 3479 h 1039155"/>
                <a:gd name="connsiteX54" fmla="*/ 532390 w 1119708"/>
                <a:gd name="connsiteY54" fmla="*/ 41203 h 1039155"/>
                <a:gd name="connsiteX55" fmla="*/ 459841 w 1119708"/>
                <a:gd name="connsiteY55" fmla="*/ 139849 h 103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19708" h="1039155">
                  <a:moveTo>
                    <a:pt x="235672" y="1042634"/>
                  </a:moveTo>
                  <a:cubicBezTo>
                    <a:pt x="214368" y="1036241"/>
                    <a:pt x="216572" y="961527"/>
                    <a:pt x="213356" y="942619"/>
                  </a:cubicBezTo>
                  <a:cubicBezTo>
                    <a:pt x="206928" y="847445"/>
                    <a:pt x="207112" y="747431"/>
                    <a:pt x="219968" y="655178"/>
                  </a:cubicBezTo>
                  <a:cubicBezTo>
                    <a:pt x="219876" y="639011"/>
                    <a:pt x="218867" y="622295"/>
                    <a:pt x="219051" y="605856"/>
                  </a:cubicBezTo>
                  <a:cubicBezTo>
                    <a:pt x="158072" y="592611"/>
                    <a:pt x="91216" y="583842"/>
                    <a:pt x="35840" y="551325"/>
                  </a:cubicBezTo>
                  <a:cubicBezTo>
                    <a:pt x="22616" y="715554"/>
                    <a:pt x="26199" y="866808"/>
                    <a:pt x="51911" y="1021171"/>
                  </a:cubicBezTo>
                  <a:cubicBezTo>
                    <a:pt x="53473" y="1036149"/>
                    <a:pt x="28952" y="1038707"/>
                    <a:pt x="25647" y="1024732"/>
                  </a:cubicBezTo>
                  <a:cubicBezTo>
                    <a:pt x="12881" y="958421"/>
                    <a:pt x="6453" y="887908"/>
                    <a:pt x="4249" y="819495"/>
                  </a:cubicBezTo>
                  <a:cubicBezTo>
                    <a:pt x="1402" y="729163"/>
                    <a:pt x="10861" y="638554"/>
                    <a:pt x="30790" y="547033"/>
                  </a:cubicBezTo>
                  <a:cubicBezTo>
                    <a:pt x="28403" y="544932"/>
                    <a:pt x="26107" y="542649"/>
                    <a:pt x="24176" y="540000"/>
                  </a:cubicBezTo>
                  <a:cubicBezTo>
                    <a:pt x="1126" y="536621"/>
                    <a:pt x="29228" y="476794"/>
                    <a:pt x="32443" y="462362"/>
                  </a:cubicBezTo>
                  <a:cubicBezTo>
                    <a:pt x="85156" y="310468"/>
                    <a:pt x="225020" y="134642"/>
                    <a:pt x="396198" y="120118"/>
                  </a:cubicBezTo>
                  <a:cubicBezTo>
                    <a:pt x="404557" y="115005"/>
                    <a:pt x="415484" y="117469"/>
                    <a:pt x="423107" y="122950"/>
                  </a:cubicBezTo>
                  <a:cubicBezTo>
                    <a:pt x="423107" y="122950"/>
                    <a:pt x="425127" y="124319"/>
                    <a:pt x="425127" y="124411"/>
                  </a:cubicBezTo>
                  <a:cubicBezTo>
                    <a:pt x="430360" y="127791"/>
                    <a:pt x="434311" y="134276"/>
                    <a:pt x="430728" y="140303"/>
                  </a:cubicBezTo>
                  <a:cubicBezTo>
                    <a:pt x="454606" y="163687"/>
                    <a:pt x="463054" y="198944"/>
                    <a:pt x="490972" y="219038"/>
                  </a:cubicBezTo>
                  <a:cubicBezTo>
                    <a:pt x="575092" y="292932"/>
                    <a:pt x="737916" y="282152"/>
                    <a:pt x="769231" y="161586"/>
                  </a:cubicBezTo>
                  <a:cubicBezTo>
                    <a:pt x="769415" y="160946"/>
                    <a:pt x="768864" y="160400"/>
                    <a:pt x="768128" y="160491"/>
                  </a:cubicBezTo>
                  <a:cubicBezTo>
                    <a:pt x="739753" y="164601"/>
                    <a:pt x="723774" y="83766"/>
                    <a:pt x="722762" y="62575"/>
                  </a:cubicBezTo>
                  <a:cubicBezTo>
                    <a:pt x="721753" y="45130"/>
                    <a:pt x="723957" y="17637"/>
                    <a:pt x="734885" y="51980"/>
                  </a:cubicBezTo>
                  <a:lnTo>
                    <a:pt x="734885" y="51980"/>
                  </a:lnTo>
                  <a:cubicBezTo>
                    <a:pt x="736262" y="55544"/>
                    <a:pt x="737457" y="58922"/>
                    <a:pt x="738833" y="62666"/>
                  </a:cubicBezTo>
                  <a:lnTo>
                    <a:pt x="738833" y="62666"/>
                  </a:lnTo>
                  <a:cubicBezTo>
                    <a:pt x="746640" y="84771"/>
                    <a:pt x="756649" y="107514"/>
                    <a:pt x="768955" y="128886"/>
                  </a:cubicBezTo>
                  <a:lnTo>
                    <a:pt x="768955" y="128886"/>
                  </a:lnTo>
                  <a:lnTo>
                    <a:pt x="768955" y="128886"/>
                  </a:lnTo>
                  <a:cubicBezTo>
                    <a:pt x="769507" y="130166"/>
                    <a:pt x="771435" y="133090"/>
                    <a:pt x="771987" y="132175"/>
                  </a:cubicBezTo>
                  <a:cubicBezTo>
                    <a:pt x="772812" y="130715"/>
                    <a:pt x="775292" y="128340"/>
                    <a:pt x="776303" y="128248"/>
                  </a:cubicBezTo>
                  <a:cubicBezTo>
                    <a:pt x="795862" y="126056"/>
                    <a:pt x="826628" y="136834"/>
                    <a:pt x="848575" y="143044"/>
                  </a:cubicBezTo>
                  <a:cubicBezTo>
                    <a:pt x="869238" y="149620"/>
                    <a:pt x="906248" y="163047"/>
                    <a:pt x="922319" y="178850"/>
                  </a:cubicBezTo>
                  <a:cubicBezTo>
                    <a:pt x="999735" y="252376"/>
                    <a:pt x="1036287" y="354948"/>
                    <a:pt x="1066315" y="454600"/>
                  </a:cubicBezTo>
                  <a:cubicBezTo>
                    <a:pt x="1083213" y="507485"/>
                    <a:pt x="1101028" y="559547"/>
                    <a:pt x="1118203" y="612341"/>
                  </a:cubicBezTo>
                  <a:cubicBezTo>
                    <a:pt x="1123711" y="638371"/>
                    <a:pt x="1076601" y="639834"/>
                    <a:pt x="1060530" y="648419"/>
                  </a:cubicBezTo>
                  <a:cubicBezTo>
                    <a:pt x="1089000" y="751632"/>
                    <a:pt x="1078529" y="865622"/>
                    <a:pt x="1110580" y="967006"/>
                  </a:cubicBezTo>
                  <a:lnTo>
                    <a:pt x="1110580" y="967006"/>
                  </a:lnTo>
                  <a:cubicBezTo>
                    <a:pt x="1112967" y="984087"/>
                    <a:pt x="1127018" y="1000437"/>
                    <a:pt x="1122610" y="1017882"/>
                  </a:cubicBezTo>
                  <a:cubicBezTo>
                    <a:pt x="1118938" y="1030670"/>
                    <a:pt x="1097264" y="1033226"/>
                    <a:pt x="1094784" y="1018522"/>
                  </a:cubicBezTo>
                  <a:cubicBezTo>
                    <a:pt x="1069438" y="948738"/>
                    <a:pt x="1056306" y="875576"/>
                    <a:pt x="1053643" y="801228"/>
                  </a:cubicBezTo>
                  <a:cubicBezTo>
                    <a:pt x="1049878" y="747794"/>
                    <a:pt x="1047490" y="699750"/>
                    <a:pt x="1051531" y="651251"/>
                  </a:cubicBezTo>
                  <a:cubicBezTo>
                    <a:pt x="1041336" y="654355"/>
                    <a:pt x="1032244" y="657187"/>
                    <a:pt x="1022144" y="659745"/>
                  </a:cubicBezTo>
                  <a:cubicBezTo>
                    <a:pt x="1017001" y="661297"/>
                    <a:pt x="1011765" y="662943"/>
                    <a:pt x="1006349" y="662943"/>
                  </a:cubicBezTo>
                  <a:cubicBezTo>
                    <a:pt x="998266" y="664220"/>
                    <a:pt x="990094" y="664952"/>
                    <a:pt x="982011" y="665043"/>
                  </a:cubicBezTo>
                  <a:cubicBezTo>
                    <a:pt x="987890" y="790542"/>
                    <a:pt x="1004237" y="908550"/>
                    <a:pt x="1018929" y="1028568"/>
                  </a:cubicBezTo>
                  <a:cubicBezTo>
                    <a:pt x="1018929" y="1028568"/>
                    <a:pt x="1018929" y="1028568"/>
                    <a:pt x="1018837" y="1028568"/>
                  </a:cubicBezTo>
                  <a:cubicBezTo>
                    <a:pt x="1016449" y="1039985"/>
                    <a:pt x="999185" y="1040716"/>
                    <a:pt x="995143" y="1030030"/>
                  </a:cubicBezTo>
                  <a:cubicBezTo>
                    <a:pt x="989542" y="1033866"/>
                    <a:pt x="928655" y="1031948"/>
                    <a:pt x="921034" y="1032680"/>
                  </a:cubicBezTo>
                  <a:cubicBezTo>
                    <a:pt x="868045" y="1033226"/>
                    <a:pt x="805781" y="1034140"/>
                    <a:pt x="751416" y="1034963"/>
                  </a:cubicBezTo>
                  <a:cubicBezTo>
                    <a:pt x="582991" y="1038067"/>
                    <a:pt x="410525" y="1039985"/>
                    <a:pt x="242375" y="1038250"/>
                  </a:cubicBezTo>
                  <a:cubicBezTo>
                    <a:pt x="241183" y="1040899"/>
                    <a:pt x="238611" y="1042543"/>
                    <a:pt x="235672" y="1042634"/>
                  </a:cubicBezTo>
                  <a:close/>
                  <a:moveTo>
                    <a:pt x="459841" y="139849"/>
                  </a:moveTo>
                  <a:cubicBezTo>
                    <a:pt x="446158" y="139483"/>
                    <a:pt x="440739" y="116283"/>
                    <a:pt x="455249" y="112539"/>
                  </a:cubicBezTo>
                  <a:cubicBezTo>
                    <a:pt x="489687" y="94362"/>
                    <a:pt x="510350" y="57553"/>
                    <a:pt x="520910" y="21383"/>
                  </a:cubicBezTo>
                  <a:lnTo>
                    <a:pt x="520910" y="21383"/>
                  </a:lnTo>
                  <a:cubicBezTo>
                    <a:pt x="522930" y="15628"/>
                    <a:pt x="523942" y="8503"/>
                    <a:pt x="527246" y="3479"/>
                  </a:cubicBezTo>
                  <a:cubicBezTo>
                    <a:pt x="533674" y="14441"/>
                    <a:pt x="533858" y="28688"/>
                    <a:pt x="532390" y="41203"/>
                  </a:cubicBezTo>
                  <a:cubicBezTo>
                    <a:pt x="526421" y="82214"/>
                    <a:pt x="497676" y="122676"/>
                    <a:pt x="459841" y="13984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68" name="Freeform: Shape 367">
              <a:extLst>
                <a:ext uri="{FF2B5EF4-FFF2-40B4-BE49-F238E27FC236}">
                  <a16:creationId xmlns:a16="http://schemas.microsoft.com/office/drawing/2014/main" id="{8617E6A4-4B83-B624-2874-18E2418DF6FA}"/>
                </a:ext>
              </a:extLst>
            </p:cNvPr>
            <p:cNvSpPr/>
            <p:nvPr/>
          </p:nvSpPr>
          <p:spPr>
            <a:xfrm>
              <a:off x="7507693" y="2931718"/>
              <a:ext cx="527542" cy="546603"/>
            </a:xfrm>
            <a:custGeom>
              <a:avLst/>
              <a:gdLst>
                <a:gd name="connsiteX0" fmla="*/ 320846 w 527542"/>
                <a:gd name="connsiteY0" fmla="*/ 1322 h 546603"/>
                <a:gd name="connsiteX1" fmla="*/ 57061 w 527542"/>
                <a:gd name="connsiteY1" fmla="*/ 179057 h 546603"/>
                <a:gd name="connsiteX2" fmla="*/ 4090 w 527542"/>
                <a:gd name="connsiteY2" fmla="*/ 422482 h 546603"/>
                <a:gd name="connsiteX3" fmla="*/ 176739 w 527542"/>
                <a:gd name="connsiteY3" fmla="*/ 489707 h 546603"/>
                <a:gd name="connsiteX4" fmla="*/ 315658 w 527542"/>
                <a:gd name="connsiteY4" fmla="*/ 546328 h 546603"/>
                <a:gd name="connsiteX5" fmla="*/ 452978 w 527542"/>
                <a:gd name="connsiteY5" fmla="*/ 511628 h 546603"/>
                <a:gd name="connsiteX6" fmla="*/ 526133 w 527542"/>
                <a:gd name="connsiteY6" fmla="*/ 367624 h 546603"/>
                <a:gd name="connsiteX7" fmla="*/ 498693 w 527542"/>
                <a:gd name="connsiteY7" fmla="*/ 50644 h 546603"/>
                <a:gd name="connsiteX8" fmla="*/ 320846 w 527542"/>
                <a:gd name="connsiteY8" fmla="*/ 1322 h 54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542" h="546603">
                  <a:moveTo>
                    <a:pt x="320846" y="1322"/>
                  </a:moveTo>
                  <a:cubicBezTo>
                    <a:pt x="234044" y="8172"/>
                    <a:pt x="101215" y="119047"/>
                    <a:pt x="57061" y="179057"/>
                  </a:cubicBezTo>
                  <a:cubicBezTo>
                    <a:pt x="12907" y="239066"/>
                    <a:pt x="-9868" y="369871"/>
                    <a:pt x="4090" y="422482"/>
                  </a:cubicBezTo>
                  <a:cubicBezTo>
                    <a:pt x="18049" y="475093"/>
                    <a:pt x="176739" y="489707"/>
                    <a:pt x="176739" y="489707"/>
                  </a:cubicBezTo>
                  <a:cubicBezTo>
                    <a:pt x="176739" y="489707"/>
                    <a:pt x="223805" y="543112"/>
                    <a:pt x="315658" y="546328"/>
                  </a:cubicBezTo>
                  <a:cubicBezTo>
                    <a:pt x="354301" y="547679"/>
                    <a:pt x="416244" y="545241"/>
                    <a:pt x="452978" y="511628"/>
                  </a:cubicBezTo>
                  <a:cubicBezTo>
                    <a:pt x="489711" y="478016"/>
                    <a:pt x="523488" y="402397"/>
                    <a:pt x="526133" y="367624"/>
                  </a:cubicBezTo>
                  <a:cubicBezTo>
                    <a:pt x="528778" y="332852"/>
                    <a:pt x="531193" y="86540"/>
                    <a:pt x="498693" y="50644"/>
                  </a:cubicBezTo>
                  <a:cubicBezTo>
                    <a:pt x="466202" y="14748"/>
                    <a:pt x="407648" y="-5529"/>
                    <a:pt x="320846" y="1322"/>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grpSp>
          <p:nvGrpSpPr>
            <p:cNvPr id="369" name="Graphic 42" descr="Woman with long wavy hair">
              <a:extLst>
                <a:ext uri="{FF2B5EF4-FFF2-40B4-BE49-F238E27FC236}">
                  <a16:creationId xmlns:a16="http://schemas.microsoft.com/office/drawing/2014/main" id="{2FC46E33-0BA9-BCDA-96AD-5F7CF5BDA659}"/>
                </a:ext>
              </a:extLst>
            </p:cNvPr>
            <p:cNvGrpSpPr/>
            <p:nvPr/>
          </p:nvGrpSpPr>
          <p:grpSpPr>
            <a:xfrm>
              <a:off x="7367021" y="2855779"/>
              <a:ext cx="766599" cy="876721"/>
              <a:chOff x="7367021" y="2972723"/>
              <a:chExt cx="766599" cy="876721"/>
            </a:xfrm>
            <a:solidFill>
              <a:srgbClr val="191246"/>
            </a:solidFill>
          </p:grpSpPr>
          <p:sp>
            <p:nvSpPr>
              <p:cNvPr id="378" name="Freeform: Shape 377">
                <a:extLst>
                  <a:ext uri="{FF2B5EF4-FFF2-40B4-BE49-F238E27FC236}">
                    <a16:creationId xmlns:a16="http://schemas.microsoft.com/office/drawing/2014/main" id="{549F5C42-7505-DD93-5C3D-88D638217455}"/>
                  </a:ext>
                </a:extLst>
              </p:cNvPr>
              <p:cNvSpPr/>
              <p:nvPr/>
            </p:nvSpPr>
            <p:spPr>
              <a:xfrm>
                <a:off x="7581438" y="3350162"/>
                <a:ext cx="39237" cy="47093"/>
              </a:xfrm>
              <a:custGeom>
                <a:avLst/>
                <a:gdLst>
                  <a:gd name="connsiteX0" fmla="*/ 18902 w 39237"/>
                  <a:gd name="connsiteY0" fmla="*/ 21350 h 47093"/>
                  <a:gd name="connsiteX1" fmla="*/ 30216 w 39237"/>
                  <a:gd name="connsiteY1" fmla="*/ 43892 h 47093"/>
                  <a:gd name="connsiteX2" fmla="*/ 39161 w 39237"/>
                  <a:gd name="connsiteY2" fmla="*/ 42687 h 47093"/>
                  <a:gd name="connsiteX3" fmla="*/ 4567 w 39237"/>
                  <a:gd name="connsiteY3" fmla="*/ 205 h 47093"/>
                  <a:gd name="connsiteX4" fmla="*/ 1077 w 39237"/>
                  <a:gd name="connsiteY4" fmla="*/ 6161 h 47093"/>
                  <a:gd name="connsiteX5" fmla="*/ 18902 w 39237"/>
                  <a:gd name="connsiteY5" fmla="*/ 21350 h 4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37" h="47093">
                    <a:moveTo>
                      <a:pt x="18902" y="21350"/>
                    </a:moveTo>
                    <a:cubicBezTo>
                      <a:pt x="25046" y="27908"/>
                      <a:pt x="27204" y="35718"/>
                      <a:pt x="30216" y="43892"/>
                    </a:cubicBezTo>
                    <a:cubicBezTo>
                      <a:pt x="32007" y="48742"/>
                      <a:pt x="38757" y="47875"/>
                      <a:pt x="39161" y="42687"/>
                    </a:cubicBezTo>
                    <a:cubicBezTo>
                      <a:pt x="40630" y="23698"/>
                      <a:pt x="20776" y="6499"/>
                      <a:pt x="4567" y="205"/>
                    </a:cubicBezTo>
                    <a:cubicBezTo>
                      <a:pt x="1279" y="-1073"/>
                      <a:pt x="-1650" y="3950"/>
                      <a:pt x="1077" y="6161"/>
                    </a:cubicBezTo>
                    <a:cubicBezTo>
                      <a:pt x="7221" y="11129"/>
                      <a:pt x="13465" y="15550"/>
                      <a:pt x="18902" y="21350"/>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79" name="Freeform: Shape 378">
                <a:extLst>
                  <a:ext uri="{FF2B5EF4-FFF2-40B4-BE49-F238E27FC236}">
                    <a16:creationId xmlns:a16="http://schemas.microsoft.com/office/drawing/2014/main" id="{F0E05A1A-294F-C4A1-8320-BFE618F95377}"/>
                  </a:ext>
                </a:extLst>
              </p:cNvPr>
              <p:cNvSpPr/>
              <p:nvPr/>
            </p:nvSpPr>
            <p:spPr>
              <a:xfrm>
                <a:off x="7367021" y="2972723"/>
                <a:ext cx="766599" cy="876721"/>
              </a:xfrm>
              <a:custGeom>
                <a:avLst/>
                <a:gdLst>
                  <a:gd name="connsiteX0" fmla="*/ 766170 w 766599"/>
                  <a:gd name="connsiteY0" fmla="*/ 533586 h 876721"/>
                  <a:gd name="connsiteX1" fmla="*/ 749043 w 766599"/>
                  <a:gd name="connsiteY1" fmla="*/ 484008 h 876721"/>
                  <a:gd name="connsiteX2" fmla="*/ 725313 w 766599"/>
                  <a:gd name="connsiteY2" fmla="*/ 440942 h 876721"/>
                  <a:gd name="connsiteX3" fmla="*/ 738721 w 766599"/>
                  <a:gd name="connsiteY3" fmla="*/ 394670 h 876721"/>
                  <a:gd name="connsiteX4" fmla="*/ 759365 w 766599"/>
                  <a:gd name="connsiteY4" fmla="*/ 349448 h 876721"/>
                  <a:gd name="connsiteX5" fmla="*/ 741504 w 766599"/>
                  <a:gd name="connsiteY5" fmla="*/ 281593 h 876721"/>
                  <a:gd name="connsiteX6" fmla="*/ 694833 w 766599"/>
                  <a:gd name="connsiteY6" fmla="*/ 234746 h 876721"/>
                  <a:gd name="connsiteX7" fmla="*/ 683923 w 766599"/>
                  <a:gd name="connsiteY7" fmla="*/ 197781 h 876721"/>
                  <a:gd name="connsiteX8" fmla="*/ 694686 w 766599"/>
                  <a:gd name="connsiteY8" fmla="*/ 144942 h 876721"/>
                  <a:gd name="connsiteX9" fmla="*/ 663564 w 766599"/>
                  <a:gd name="connsiteY9" fmla="*/ 50636 h 876721"/>
                  <a:gd name="connsiteX10" fmla="*/ 433435 w 766599"/>
                  <a:gd name="connsiteY10" fmla="*/ 31993 h 876721"/>
                  <a:gd name="connsiteX11" fmla="*/ 256333 w 766599"/>
                  <a:gd name="connsiteY11" fmla="*/ 41200 h 876721"/>
                  <a:gd name="connsiteX12" fmla="*/ 166583 w 766599"/>
                  <a:gd name="connsiteY12" fmla="*/ 87582 h 876721"/>
                  <a:gd name="connsiteX13" fmla="*/ 123696 w 766599"/>
                  <a:gd name="connsiteY13" fmla="*/ 187277 h 876721"/>
                  <a:gd name="connsiteX14" fmla="*/ 101086 w 766599"/>
                  <a:gd name="connsiteY14" fmla="*/ 287759 h 876721"/>
                  <a:gd name="connsiteX15" fmla="*/ 114127 w 766599"/>
                  <a:gd name="connsiteY15" fmla="*/ 341365 h 876721"/>
                  <a:gd name="connsiteX16" fmla="*/ 115128 w 766599"/>
                  <a:gd name="connsiteY16" fmla="*/ 366465 h 876721"/>
                  <a:gd name="connsiteX17" fmla="*/ 110205 w 766599"/>
                  <a:gd name="connsiteY17" fmla="*/ 385975 h 876721"/>
                  <a:gd name="connsiteX18" fmla="*/ 109048 w 766599"/>
                  <a:gd name="connsiteY18" fmla="*/ 388715 h 876721"/>
                  <a:gd name="connsiteX19" fmla="*/ 58154 w 766599"/>
                  <a:gd name="connsiteY19" fmla="*/ 459063 h 876721"/>
                  <a:gd name="connsiteX20" fmla="*/ 22531 w 766599"/>
                  <a:gd name="connsiteY20" fmla="*/ 529348 h 876721"/>
                  <a:gd name="connsiteX21" fmla="*/ 59155 w 766599"/>
                  <a:gd name="connsiteY21" fmla="*/ 605305 h 876721"/>
                  <a:gd name="connsiteX22" fmla="*/ 64637 w 766599"/>
                  <a:gd name="connsiteY22" fmla="*/ 626432 h 876721"/>
                  <a:gd name="connsiteX23" fmla="*/ 54104 w 766599"/>
                  <a:gd name="connsiteY23" fmla="*/ 645275 h 876721"/>
                  <a:gd name="connsiteX24" fmla="*/ 50816 w 766599"/>
                  <a:gd name="connsiteY24" fmla="*/ 648207 h 876721"/>
                  <a:gd name="connsiteX25" fmla="*/ 10813 w 766599"/>
                  <a:gd name="connsiteY25" fmla="*/ 682924 h 876721"/>
                  <a:gd name="connsiteX26" fmla="*/ 316 w 766599"/>
                  <a:gd name="connsiteY26" fmla="*/ 734667 h 876721"/>
                  <a:gd name="connsiteX27" fmla="*/ 9619 w 766599"/>
                  <a:gd name="connsiteY27" fmla="*/ 765677 h 876721"/>
                  <a:gd name="connsiteX28" fmla="*/ 11612 w 766599"/>
                  <a:gd name="connsiteY28" fmla="*/ 769778 h 876721"/>
                  <a:gd name="connsiteX29" fmla="*/ 29951 w 766599"/>
                  <a:gd name="connsiteY29" fmla="*/ 818635 h 876721"/>
                  <a:gd name="connsiteX30" fmla="*/ 106137 w 766599"/>
                  <a:gd name="connsiteY30" fmla="*/ 875675 h 876721"/>
                  <a:gd name="connsiteX31" fmla="*/ 119389 w 766599"/>
                  <a:gd name="connsiteY31" fmla="*/ 868113 h 876721"/>
                  <a:gd name="connsiteX32" fmla="*/ 135065 w 766599"/>
                  <a:gd name="connsiteY32" fmla="*/ 813465 h 876721"/>
                  <a:gd name="connsiteX33" fmla="*/ 149235 w 766599"/>
                  <a:gd name="connsiteY33" fmla="*/ 796111 h 876721"/>
                  <a:gd name="connsiteX34" fmla="*/ 221518 w 766599"/>
                  <a:gd name="connsiteY34" fmla="*/ 864514 h 876721"/>
                  <a:gd name="connsiteX35" fmla="*/ 223309 w 766599"/>
                  <a:gd name="connsiteY35" fmla="*/ 864249 h 876721"/>
                  <a:gd name="connsiteX36" fmla="*/ 235431 w 766599"/>
                  <a:gd name="connsiteY36" fmla="*/ 860404 h 876721"/>
                  <a:gd name="connsiteX37" fmla="*/ 242493 w 766599"/>
                  <a:gd name="connsiteY37" fmla="*/ 856440 h 876721"/>
                  <a:gd name="connsiteX38" fmla="*/ 244119 w 766599"/>
                  <a:gd name="connsiteY38" fmla="*/ 855353 h 876721"/>
                  <a:gd name="connsiteX39" fmla="*/ 237369 w 766599"/>
                  <a:gd name="connsiteY39" fmla="*/ 843871 h 876721"/>
                  <a:gd name="connsiteX40" fmla="*/ 234008 w 766599"/>
                  <a:gd name="connsiteY40" fmla="*/ 845205 h 876721"/>
                  <a:gd name="connsiteX41" fmla="*/ 232299 w 766599"/>
                  <a:gd name="connsiteY41" fmla="*/ 845689 h 876721"/>
                  <a:gd name="connsiteX42" fmla="*/ 218634 w 766599"/>
                  <a:gd name="connsiteY42" fmla="*/ 825430 h 876721"/>
                  <a:gd name="connsiteX43" fmla="*/ 215154 w 766599"/>
                  <a:gd name="connsiteY43" fmla="*/ 810058 h 876721"/>
                  <a:gd name="connsiteX44" fmla="*/ 220407 w 766599"/>
                  <a:gd name="connsiteY44" fmla="*/ 785588 h 876721"/>
                  <a:gd name="connsiteX45" fmla="*/ 230747 w 766599"/>
                  <a:gd name="connsiteY45" fmla="*/ 770207 h 876721"/>
                  <a:gd name="connsiteX46" fmla="*/ 245671 w 766599"/>
                  <a:gd name="connsiteY46" fmla="*/ 759036 h 876721"/>
                  <a:gd name="connsiteX47" fmla="*/ 284884 w 766599"/>
                  <a:gd name="connsiteY47" fmla="*/ 734722 h 876721"/>
                  <a:gd name="connsiteX48" fmla="*/ 289485 w 766599"/>
                  <a:gd name="connsiteY48" fmla="*/ 731398 h 876721"/>
                  <a:gd name="connsiteX49" fmla="*/ 301478 w 766599"/>
                  <a:gd name="connsiteY49" fmla="*/ 724702 h 876721"/>
                  <a:gd name="connsiteX50" fmla="*/ 314326 w 766599"/>
                  <a:gd name="connsiteY50" fmla="*/ 710773 h 876721"/>
                  <a:gd name="connsiteX51" fmla="*/ 316705 w 766599"/>
                  <a:gd name="connsiteY51" fmla="*/ 707366 h 876721"/>
                  <a:gd name="connsiteX52" fmla="*/ 340793 w 766599"/>
                  <a:gd name="connsiteY52" fmla="*/ 673708 h 876721"/>
                  <a:gd name="connsiteX53" fmla="*/ 357810 w 766599"/>
                  <a:gd name="connsiteY53" fmla="*/ 605095 h 876721"/>
                  <a:gd name="connsiteX54" fmla="*/ 480914 w 766599"/>
                  <a:gd name="connsiteY54" fmla="*/ 630195 h 876721"/>
                  <a:gd name="connsiteX55" fmla="*/ 523544 w 766599"/>
                  <a:gd name="connsiteY55" fmla="*/ 626770 h 876721"/>
                  <a:gd name="connsiteX56" fmla="*/ 530780 w 766599"/>
                  <a:gd name="connsiteY56" fmla="*/ 625372 h 876721"/>
                  <a:gd name="connsiteX57" fmla="*/ 530881 w 766599"/>
                  <a:gd name="connsiteY57" fmla="*/ 628468 h 876721"/>
                  <a:gd name="connsiteX58" fmla="*/ 526133 w 766599"/>
                  <a:gd name="connsiteY58" fmla="*/ 669717 h 876721"/>
                  <a:gd name="connsiteX59" fmla="*/ 534867 w 766599"/>
                  <a:gd name="connsiteY59" fmla="*/ 696515 h 876721"/>
                  <a:gd name="connsiteX60" fmla="*/ 548807 w 766599"/>
                  <a:gd name="connsiteY60" fmla="*/ 708846 h 876721"/>
                  <a:gd name="connsiteX61" fmla="*/ 562858 w 766599"/>
                  <a:gd name="connsiteY61" fmla="*/ 723625 h 876721"/>
                  <a:gd name="connsiteX62" fmla="*/ 580215 w 766599"/>
                  <a:gd name="connsiteY62" fmla="*/ 737051 h 876721"/>
                  <a:gd name="connsiteX63" fmla="*/ 596148 w 766599"/>
                  <a:gd name="connsiteY63" fmla="*/ 756607 h 876721"/>
                  <a:gd name="connsiteX64" fmla="*/ 611549 w 766599"/>
                  <a:gd name="connsiteY64" fmla="*/ 810524 h 876721"/>
                  <a:gd name="connsiteX65" fmla="*/ 610841 w 766599"/>
                  <a:gd name="connsiteY65" fmla="*/ 822900 h 876721"/>
                  <a:gd name="connsiteX66" fmla="*/ 611301 w 766599"/>
                  <a:gd name="connsiteY66" fmla="*/ 826334 h 876721"/>
                  <a:gd name="connsiteX67" fmla="*/ 603531 w 766599"/>
                  <a:gd name="connsiteY67" fmla="*/ 863546 h 876721"/>
                  <a:gd name="connsiteX68" fmla="*/ 617472 w 766599"/>
                  <a:gd name="connsiteY68" fmla="*/ 874205 h 876721"/>
                  <a:gd name="connsiteX69" fmla="*/ 647438 w 766599"/>
                  <a:gd name="connsiteY69" fmla="*/ 840309 h 876721"/>
                  <a:gd name="connsiteX70" fmla="*/ 663297 w 766599"/>
                  <a:gd name="connsiteY70" fmla="*/ 813976 h 876721"/>
                  <a:gd name="connsiteX71" fmla="*/ 674354 w 766599"/>
                  <a:gd name="connsiteY71" fmla="*/ 799572 h 876721"/>
                  <a:gd name="connsiteX72" fmla="*/ 688065 w 766599"/>
                  <a:gd name="connsiteY72" fmla="*/ 760955 h 876721"/>
                  <a:gd name="connsiteX73" fmla="*/ 675098 w 766599"/>
                  <a:gd name="connsiteY73" fmla="*/ 706837 h 876721"/>
                  <a:gd name="connsiteX74" fmla="*/ 673647 w 766599"/>
                  <a:gd name="connsiteY74" fmla="*/ 705156 h 876721"/>
                  <a:gd name="connsiteX75" fmla="*/ 679093 w 766599"/>
                  <a:gd name="connsiteY75" fmla="*/ 698991 h 876721"/>
                  <a:gd name="connsiteX76" fmla="*/ 704908 w 766599"/>
                  <a:gd name="connsiteY76" fmla="*/ 669479 h 876721"/>
                  <a:gd name="connsiteX77" fmla="*/ 737472 w 766599"/>
                  <a:gd name="connsiteY77" fmla="*/ 626724 h 876721"/>
                  <a:gd name="connsiteX78" fmla="*/ 766170 w 766599"/>
                  <a:gd name="connsiteY78" fmla="*/ 533586 h 876721"/>
                  <a:gd name="connsiteX79" fmla="*/ 189275 w 766599"/>
                  <a:gd name="connsiteY79" fmla="*/ 400315 h 876721"/>
                  <a:gd name="connsiteX80" fmla="*/ 205576 w 766599"/>
                  <a:gd name="connsiteY80" fmla="*/ 362912 h 876721"/>
                  <a:gd name="connsiteX81" fmla="*/ 233980 w 766599"/>
                  <a:gd name="connsiteY81" fmla="*/ 361313 h 876721"/>
                  <a:gd name="connsiteX82" fmla="*/ 249968 w 766599"/>
                  <a:gd name="connsiteY82" fmla="*/ 373818 h 876721"/>
                  <a:gd name="connsiteX83" fmla="*/ 259115 w 766599"/>
                  <a:gd name="connsiteY83" fmla="*/ 390633 h 876721"/>
                  <a:gd name="connsiteX84" fmla="*/ 263982 w 766599"/>
                  <a:gd name="connsiteY84" fmla="*/ 390003 h 876721"/>
                  <a:gd name="connsiteX85" fmla="*/ 264561 w 766599"/>
                  <a:gd name="connsiteY85" fmla="*/ 386203 h 876721"/>
                  <a:gd name="connsiteX86" fmla="*/ 266967 w 766599"/>
                  <a:gd name="connsiteY86" fmla="*/ 390414 h 876721"/>
                  <a:gd name="connsiteX87" fmla="*/ 240206 w 766599"/>
                  <a:gd name="connsiteY87" fmla="*/ 462754 h 876721"/>
                  <a:gd name="connsiteX88" fmla="*/ 233512 w 766599"/>
                  <a:gd name="connsiteY88" fmla="*/ 467430 h 876721"/>
                  <a:gd name="connsiteX89" fmla="*/ 228351 w 766599"/>
                  <a:gd name="connsiteY89" fmla="*/ 462242 h 876721"/>
                  <a:gd name="connsiteX90" fmla="*/ 199110 w 766599"/>
                  <a:gd name="connsiteY90" fmla="*/ 445819 h 876721"/>
                  <a:gd name="connsiteX91" fmla="*/ 189275 w 766599"/>
                  <a:gd name="connsiteY91" fmla="*/ 400315 h 876721"/>
                  <a:gd name="connsiteX92" fmla="*/ 500814 w 766599"/>
                  <a:gd name="connsiteY92" fmla="*/ 612722 h 876721"/>
                  <a:gd name="connsiteX93" fmla="*/ 362576 w 766599"/>
                  <a:gd name="connsiteY93" fmla="*/ 590216 h 876721"/>
                  <a:gd name="connsiteX94" fmla="*/ 357846 w 766599"/>
                  <a:gd name="connsiteY94" fmla="*/ 587613 h 876721"/>
                  <a:gd name="connsiteX95" fmla="*/ 345109 w 766599"/>
                  <a:gd name="connsiteY95" fmla="*/ 579703 h 876721"/>
                  <a:gd name="connsiteX96" fmla="*/ 335751 w 766599"/>
                  <a:gd name="connsiteY96" fmla="*/ 572990 h 876721"/>
                  <a:gd name="connsiteX97" fmla="*/ 270842 w 766599"/>
                  <a:gd name="connsiteY97" fmla="*/ 498138 h 876721"/>
                  <a:gd name="connsiteX98" fmla="*/ 268308 w 766599"/>
                  <a:gd name="connsiteY98" fmla="*/ 494210 h 876721"/>
                  <a:gd name="connsiteX99" fmla="*/ 324382 w 766599"/>
                  <a:gd name="connsiteY99" fmla="*/ 395730 h 876721"/>
                  <a:gd name="connsiteX100" fmla="*/ 329102 w 766599"/>
                  <a:gd name="connsiteY100" fmla="*/ 333455 h 876721"/>
                  <a:gd name="connsiteX101" fmla="*/ 317017 w 766599"/>
                  <a:gd name="connsiteY101" fmla="*/ 294984 h 876721"/>
                  <a:gd name="connsiteX102" fmla="*/ 331674 w 766599"/>
                  <a:gd name="connsiteY102" fmla="*/ 241341 h 876721"/>
                  <a:gd name="connsiteX103" fmla="*/ 417814 w 766599"/>
                  <a:gd name="connsiteY103" fmla="*/ 161748 h 876721"/>
                  <a:gd name="connsiteX104" fmla="*/ 611328 w 766599"/>
                  <a:gd name="connsiteY104" fmla="*/ 187643 h 876721"/>
                  <a:gd name="connsiteX105" fmla="*/ 618739 w 766599"/>
                  <a:gd name="connsiteY105" fmla="*/ 241213 h 876721"/>
                  <a:gd name="connsiteX106" fmla="*/ 631210 w 766599"/>
                  <a:gd name="connsiteY106" fmla="*/ 263481 h 876721"/>
                  <a:gd name="connsiteX107" fmla="*/ 636922 w 766599"/>
                  <a:gd name="connsiteY107" fmla="*/ 294061 h 876721"/>
                  <a:gd name="connsiteX108" fmla="*/ 651809 w 766599"/>
                  <a:gd name="connsiteY108" fmla="*/ 367963 h 876721"/>
                  <a:gd name="connsiteX109" fmla="*/ 633947 w 766599"/>
                  <a:gd name="connsiteY109" fmla="*/ 514743 h 876721"/>
                  <a:gd name="connsiteX110" fmla="*/ 568093 w 766599"/>
                  <a:gd name="connsiteY110" fmla="*/ 591157 h 876721"/>
                  <a:gd name="connsiteX111" fmla="*/ 541111 w 766599"/>
                  <a:gd name="connsiteY111" fmla="*/ 604721 h 876721"/>
                  <a:gd name="connsiteX112" fmla="*/ 500814 w 766599"/>
                  <a:gd name="connsiteY112" fmla="*/ 612722 h 87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66599" h="876721">
                    <a:moveTo>
                      <a:pt x="766170" y="533586"/>
                    </a:moveTo>
                    <a:cubicBezTo>
                      <a:pt x="764563" y="515949"/>
                      <a:pt x="758263" y="499079"/>
                      <a:pt x="749043" y="484008"/>
                    </a:cubicBezTo>
                    <a:cubicBezTo>
                      <a:pt x="740448" y="469969"/>
                      <a:pt x="729381" y="457218"/>
                      <a:pt x="725313" y="440942"/>
                    </a:cubicBezTo>
                    <a:cubicBezTo>
                      <a:pt x="720969" y="423597"/>
                      <a:pt x="729721" y="408782"/>
                      <a:pt x="738721" y="394670"/>
                    </a:cubicBezTo>
                    <a:cubicBezTo>
                      <a:pt x="747941" y="380229"/>
                      <a:pt x="755729" y="366337"/>
                      <a:pt x="759365" y="349448"/>
                    </a:cubicBezTo>
                    <a:cubicBezTo>
                      <a:pt x="764802" y="324139"/>
                      <a:pt x="758181" y="301085"/>
                      <a:pt x="741504" y="281593"/>
                    </a:cubicBezTo>
                    <a:cubicBezTo>
                      <a:pt x="727159" y="264824"/>
                      <a:pt x="707911" y="252667"/>
                      <a:pt x="694833" y="234746"/>
                    </a:cubicBezTo>
                    <a:cubicBezTo>
                      <a:pt x="686816" y="223758"/>
                      <a:pt x="681912" y="211537"/>
                      <a:pt x="683923" y="197781"/>
                    </a:cubicBezTo>
                    <a:cubicBezTo>
                      <a:pt x="686568" y="179760"/>
                      <a:pt x="693842" y="163347"/>
                      <a:pt x="694686" y="144942"/>
                    </a:cubicBezTo>
                    <a:cubicBezTo>
                      <a:pt x="696229" y="111549"/>
                      <a:pt x="687872" y="73543"/>
                      <a:pt x="663564" y="50636"/>
                    </a:cubicBezTo>
                    <a:cubicBezTo>
                      <a:pt x="560957" y="-46046"/>
                      <a:pt x="439947" y="23983"/>
                      <a:pt x="433435" y="31993"/>
                    </a:cubicBezTo>
                    <a:cubicBezTo>
                      <a:pt x="415831" y="5432"/>
                      <a:pt x="311626" y="-14543"/>
                      <a:pt x="256333" y="41200"/>
                    </a:cubicBezTo>
                    <a:cubicBezTo>
                      <a:pt x="222785" y="47987"/>
                      <a:pt x="190928" y="63624"/>
                      <a:pt x="166583" y="87582"/>
                    </a:cubicBezTo>
                    <a:cubicBezTo>
                      <a:pt x="139565" y="114179"/>
                      <a:pt x="125230" y="149938"/>
                      <a:pt x="123696" y="187277"/>
                    </a:cubicBezTo>
                    <a:cubicBezTo>
                      <a:pt x="105632" y="217794"/>
                      <a:pt x="95999" y="252502"/>
                      <a:pt x="101086" y="287759"/>
                    </a:cubicBezTo>
                    <a:cubicBezTo>
                      <a:pt x="103713" y="305990"/>
                      <a:pt x="110619" y="323308"/>
                      <a:pt x="114127" y="341365"/>
                    </a:cubicBezTo>
                    <a:cubicBezTo>
                      <a:pt x="115752" y="349732"/>
                      <a:pt x="116101" y="358180"/>
                      <a:pt x="115128" y="366465"/>
                    </a:cubicBezTo>
                    <a:cubicBezTo>
                      <a:pt x="114035" y="372539"/>
                      <a:pt x="112455" y="379115"/>
                      <a:pt x="110205" y="385975"/>
                    </a:cubicBezTo>
                    <a:cubicBezTo>
                      <a:pt x="109838" y="386897"/>
                      <a:pt x="109452" y="387811"/>
                      <a:pt x="109048" y="388715"/>
                    </a:cubicBezTo>
                    <a:cubicBezTo>
                      <a:pt x="97293" y="415139"/>
                      <a:pt x="76080" y="436759"/>
                      <a:pt x="58154" y="459063"/>
                    </a:cubicBezTo>
                    <a:cubicBezTo>
                      <a:pt x="41734" y="479487"/>
                      <a:pt x="24441" y="502321"/>
                      <a:pt x="22531" y="529348"/>
                    </a:cubicBezTo>
                    <a:cubicBezTo>
                      <a:pt x="20382" y="559618"/>
                      <a:pt x="45995" y="580744"/>
                      <a:pt x="59155" y="605305"/>
                    </a:cubicBezTo>
                    <a:cubicBezTo>
                      <a:pt x="62617" y="611772"/>
                      <a:pt x="65023" y="619079"/>
                      <a:pt x="64637" y="626432"/>
                    </a:cubicBezTo>
                    <a:cubicBezTo>
                      <a:pt x="62525" y="631994"/>
                      <a:pt x="59155" y="638260"/>
                      <a:pt x="54104" y="645275"/>
                    </a:cubicBezTo>
                    <a:cubicBezTo>
                      <a:pt x="52992" y="646298"/>
                      <a:pt x="51881" y="647275"/>
                      <a:pt x="50816" y="648207"/>
                    </a:cubicBezTo>
                    <a:cubicBezTo>
                      <a:pt x="37353" y="659871"/>
                      <a:pt x="21153" y="667945"/>
                      <a:pt x="10813" y="682924"/>
                    </a:cubicBezTo>
                    <a:cubicBezTo>
                      <a:pt x="1170" y="696890"/>
                      <a:pt x="-905" y="718281"/>
                      <a:pt x="316" y="734667"/>
                    </a:cubicBezTo>
                    <a:cubicBezTo>
                      <a:pt x="1134" y="745573"/>
                      <a:pt x="4026" y="756488"/>
                      <a:pt x="9619" y="765677"/>
                    </a:cubicBezTo>
                    <a:cubicBezTo>
                      <a:pt x="10244" y="767029"/>
                      <a:pt x="10914" y="768399"/>
                      <a:pt x="11612" y="769778"/>
                    </a:cubicBezTo>
                    <a:cubicBezTo>
                      <a:pt x="12245" y="787260"/>
                      <a:pt x="19445" y="804888"/>
                      <a:pt x="29951" y="818635"/>
                    </a:cubicBezTo>
                    <a:cubicBezTo>
                      <a:pt x="49383" y="844072"/>
                      <a:pt x="77650" y="861792"/>
                      <a:pt x="106137" y="875675"/>
                    </a:cubicBezTo>
                    <a:cubicBezTo>
                      <a:pt x="112217" y="878644"/>
                      <a:pt x="119086" y="875036"/>
                      <a:pt x="119389" y="868113"/>
                    </a:cubicBezTo>
                    <a:cubicBezTo>
                      <a:pt x="120261" y="848621"/>
                      <a:pt x="124293" y="829997"/>
                      <a:pt x="135065" y="813465"/>
                    </a:cubicBezTo>
                    <a:cubicBezTo>
                      <a:pt x="139133" y="807217"/>
                      <a:pt x="143991" y="801509"/>
                      <a:pt x="149235" y="796111"/>
                    </a:cubicBezTo>
                    <a:cubicBezTo>
                      <a:pt x="157427" y="830006"/>
                      <a:pt x="186961" y="868898"/>
                      <a:pt x="221518" y="864514"/>
                    </a:cubicBezTo>
                    <a:cubicBezTo>
                      <a:pt x="221619" y="864505"/>
                      <a:pt x="223226" y="864267"/>
                      <a:pt x="223309" y="864249"/>
                    </a:cubicBezTo>
                    <a:cubicBezTo>
                      <a:pt x="227294" y="863573"/>
                      <a:pt x="231344" y="862322"/>
                      <a:pt x="235431" y="860404"/>
                    </a:cubicBezTo>
                    <a:cubicBezTo>
                      <a:pt x="238002" y="859499"/>
                      <a:pt x="240408" y="858148"/>
                      <a:pt x="242493" y="856440"/>
                    </a:cubicBezTo>
                    <a:cubicBezTo>
                      <a:pt x="243035" y="856083"/>
                      <a:pt x="243577" y="855727"/>
                      <a:pt x="244119" y="855353"/>
                    </a:cubicBezTo>
                    <a:cubicBezTo>
                      <a:pt x="251245" y="850393"/>
                      <a:pt x="245202" y="840364"/>
                      <a:pt x="237369" y="843871"/>
                    </a:cubicBezTo>
                    <a:cubicBezTo>
                      <a:pt x="236239" y="844374"/>
                      <a:pt x="235119" y="844812"/>
                      <a:pt x="234008" y="845205"/>
                    </a:cubicBezTo>
                    <a:cubicBezTo>
                      <a:pt x="233420" y="845378"/>
                      <a:pt x="232850" y="845543"/>
                      <a:pt x="232299" y="845689"/>
                    </a:cubicBezTo>
                    <a:cubicBezTo>
                      <a:pt x="223777" y="844803"/>
                      <a:pt x="220930" y="832756"/>
                      <a:pt x="218634" y="825430"/>
                    </a:cubicBezTo>
                    <a:cubicBezTo>
                      <a:pt x="217064" y="820425"/>
                      <a:pt x="215788" y="815255"/>
                      <a:pt x="215154" y="810058"/>
                    </a:cubicBezTo>
                    <a:cubicBezTo>
                      <a:pt x="215374" y="801774"/>
                      <a:pt x="216577" y="792868"/>
                      <a:pt x="220407" y="785588"/>
                    </a:cubicBezTo>
                    <a:cubicBezTo>
                      <a:pt x="223309" y="780072"/>
                      <a:pt x="226863" y="775021"/>
                      <a:pt x="230747" y="770207"/>
                    </a:cubicBezTo>
                    <a:cubicBezTo>
                      <a:pt x="235367" y="766015"/>
                      <a:pt x="240546" y="762361"/>
                      <a:pt x="245671" y="759036"/>
                    </a:cubicBezTo>
                    <a:cubicBezTo>
                      <a:pt x="258601" y="750661"/>
                      <a:pt x="272266" y="743609"/>
                      <a:pt x="284884" y="734722"/>
                    </a:cubicBezTo>
                    <a:cubicBezTo>
                      <a:pt x="286427" y="733635"/>
                      <a:pt x="287960" y="732521"/>
                      <a:pt x="289485" y="731398"/>
                    </a:cubicBezTo>
                    <a:cubicBezTo>
                      <a:pt x="293700" y="729918"/>
                      <a:pt x="297732" y="727680"/>
                      <a:pt x="301478" y="724702"/>
                    </a:cubicBezTo>
                    <a:cubicBezTo>
                      <a:pt x="306511" y="720702"/>
                      <a:pt x="310487" y="715879"/>
                      <a:pt x="314326" y="710773"/>
                    </a:cubicBezTo>
                    <a:cubicBezTo>
                      <a:pt x="315198" y="709613"/>
                      <a:pt x="315970" y="708490"/>
                      <a:pt x="316705" y="707366"/>
                    </a:cubicBezTo>
                    <a:cubicBezTo>
                      <a:pt x="326145" y="697283"/>
                      <a:pt x="334364" y="686103"/>
                      <a:pt x="340793" y="673708"/>
                    </a:cubicBezTo>
                    <a:cubicBezTo>
                      <a:pt x="351831" y="652445"/>
                      <a:pt x="356781" y="628843"/>
                      <a:pt x="357810" y="605095"/>
                    </a:cubicBezTo>
                    <a:cubicBezTo>
                      <a:pt x="395517" y="624459"/>
                      <a:pt x="438523" y="631282"/>
                      <a:pt x="480914" y="630195"/>
                    </a:cubicBezTo>
                    <a:cubicBezTo>
                      <a:pt x="495112" y="629829"/>
                      <a:pt x="509484" y="628898"/>
                      <a:pt x="523544" y="626770"/>
                    </a:cubicBezTo>
                    <a:cubicBezTo>
                      <a:pt x="525968" y="626404"/>
                      <a:pt x="528383" y="625920"/>
                      <a:pt x="530780" y="625372"/>
                    </a:cubicBezTo>
                    <a:cubicBezTo>
                      <a:pt x="530808" y="626368"/>
                      <a:pt x="530844" y="627391"/>
                      <a:pt x="530881" y="628468"/>
                    </a:cubicBezTo>
                    <a:cubicBezTo>
                      <a:pt x="527327" y="641941"/>
                      <a:pt x="525086" y="655815"/>
                      <a:pt x="526133" y="669717"/>
                    </a:cubicBezTo>
                    <a:cubicBezTo>
                      <a:pt x="526850" y="679225"/>
                      <a:pt x="529449" y="688560"/>
                      <a:pt x="534867" y="696515"/>
                    </a:cubicBezTo>
                    <a:cubicBezTo>
                      <a:pt x="538164" y="701366"/>
                      <a:pt x="543132" y="706645"/>
                      <a:pt x="548807" y="708846"/>
                    </a:cubicBezTo>
                    <a:cubicBezTo>
                      <a:pt x="552618" y="714445"/>
                      <a:pt x="557752" y="719377"/>
                      <a:pt x="562858" y="723625"/>
                    </a:cubicBezTo>
                    <a:cubicBezTo>
                      <a:pt x="568478" y="728301"/>
                      <a:pt x="574594" y="732366"/>
                      <a:pt x="580215" y="737051"/>
                    </a:cubicBezTo>
                    <a:cubicBezTo>
                      <a:pt x="586845" y="742577"/>
                      <a:pt x="591749" y="749245"/>
                      <a:pt x="596148" y="756607"/>
                    </a:cubicBezTo>
                    <a:cubicBezTo>
                      <a:pt x="605910" y="772947"/>
                      <a:pt x="610750" y="791599"/>
                      <a:pt x="611549" y="810524"/>
                    </a:cubicBezTo>
                    <a:cubicBezTo>
                      <a:pt x="611383" y="814680"/>
                      <a:pt x="611145" y="818808"/>
                      <a:pt x="610841" y="822900"/>
                    </a:cubicBezTo>
                    <a:cubicBezTo>
                      <a:pt x="610750" y="824142"/>
                      <a:pt x="610933" y="825284"/>
                      <a:pt x="611301" y="826334"/>
                    </a:cubicBezTo>
                    <a:cubicBezTo>
                      <a:pt x="610355" y="839085"/>
                      <a:pt x="607682" y="851699"/>
                      <a:pt x="603531" y="863546"/>
                    </a:cubicBezTo>
                    <a:cubicBezTo>
                      <a:pt x="600887" y="871099"/>
                      <a:pt x="610750" y="878954"/>
                      <a:pt x="617472" y="874205"/>
                    </a:cubicBezTo>
                    <a:cubicBezTo>
                      <a:pt x="629787" y="865509"/>
                      <a:pt x="639025" y="852576"/>
                      <a:pt x="647438" y="840309"/>
                    </a:cubicBezTo>
                    <a:cubicBezTo>
                      <a:pt x="653232" y="831851"/>
                      <a:pt x="658531" y="823046"/>
                      <a:pt x="663297" y="813976"/>
                    </a:cubicBezTo>
                    <a:cubicBezTo>
                      <a:pt x="667917" y="809912"/>
                      <a:pt x="671709" y="804039"/>
                      <a:pt x="674354" y="799572"/>
                    </a:cubicBezTo>
                    <a:cubicBezTo>
                      <a:pt x="681279" y="787890"/>
                      <a:pt x="685898" y="774308"/>
                      <a:pt x="688065" y="760955"/>
                    </a:cubicBezTo>
                    <a:cubicBezTo>
                      <a:pt x="690940" y="743208"/>
                      <a:pt x="689525" y="718711"/>
                      <a:pt x="675098" y="706837"/>
                    </a:cubicBezTo>
                    <a:cubicBezTo>
                      <a:pt x="674621" y="706270"/>
                      <a:pt x="674143" y="705704"/>
                      <a:pt x="673647" y="705156"/>
                    </a:cubicBezTo>
                    <a:cubicBezTo>
                      <a:pt x="675530" y="703183"/>
                      <a:pt x="677348" y="701128"/>
                      <a:pt x="679093" y="698991"/>
                    </a:cubicBezTo>
                    <a:cubicBezTo>
                      <a:pt x="688221" y="689656"/>
                      <a:pt x="696514" y="679399"/>
                      <a:pt x="704908" y="669479"/>
                    </a:cubicBezTo>
                    <a:cubicBezTo>
                      <a:pt x="716479" y="655797"/>
                      <a:pt x="727582" y="641667"/>
                      <a:pt x="737472" y="626724"/>
                    </a:cubicBezTo>
                    <a:cubicBezTo>
                      <a:pt x="755637" y="599249"/>
                      <a:pt x="769219" y="567071"/>
                      <a:pt x="766170" y="533586"/>
                    </a:cubicBezTo>
                    <a:close/>
                    <a:moveTo>
                      <a:pt x="189275" y="400315"/>
                    </a:moveTo>
                    <a:cubicBezTo>
                      <a:pt x="189890" y="387043"/>
                      <a:pt x="194004" y="370968"/>
                      <a:pt x="205576" y="362912"/>
                    </a:cubicBezTo>
                    <a:cubicBezTo>
                      <a:pt x="213960" y="357075"/>
                      <a:pt x="224833" y="357285"/>
                      <a:pt x="233980" y="361313"/>
                    </a:cubicBezTo>
                    <a:cubicBezTo>
                      <a:pt x="240280" y="364090"/>
                      <a:pt x="245459" y="368748"/>
                      <a:pt x="249968" y="373818"/>
                    </a:cubicBezTo>
                    <a:cubicBezTo>
                      <a:pt x="254450" y="378859"/>
                      <a:pt x="255938" y="384943"/>
                      <a:pt x="259115" y="390633"/>
                    </a:cubicBezTo>
                    <a:cubicBezTo>
                      <a:pt x="260226" y="392633"/>
                      <a:pt x="263422" y="392204"/>
                      <a:pt x="263982" y="390003"/>
                    </a:cubicBezTo>
                    <a:cubicBezTo>
                      <a:pt x="264304" y="388742"/>
                      <a:pt x="264487" y="387473"/>
                      <a:pt x="264561" y="386203"/>
                    </a:cubicBezTo>
                    <a:lnTo>
                      <a:pt x="266967" y="390414"/>
                    </a:lnTo>
                    <a:cubicBezTo>
                      <a:pt x="262568" y="413741"/>
                      <a:pt x="254386" y="438659"/>
                      <a:pt x="240206" y="462754"/>
                    </a:cubicBezTo>
                    <a:cubicBezTo>
                      <a:pt x="238002" y="464352"/>
                      <a:pt x="235771" y="465905"/>
                      <a:pt x="233512" y="467430"/>
                    </a:cubicBezTo>
                    <a:cubicBezTo>
                      <a:pt x="233337" y="464818"/>
                      <a:pt x="231289" y="462178"/>
                      <a:pt x="228351" y="462242"/>
                    </a:cubicBezTo>
                    <a:cubicBezTo>
                      <a:pt x="215071" y="462516"/>
                      <a:pt x="205906" y="457200"/>
                      <a:pt x="199110" y="445819"/>
                    </a:cubicBezTo>
                    <a:cubicBezTo>
                      <a:pt x="191075" y="432365"/>
                      <a:pt x="188568" y="415733"/>
                      <a:pt x="189275" y="400315"/>
                    </a:cubicBezTo>
                    <a:close/>
                    <a:moveTo>
                      <a:pt x="500814" y="612722"/>
                    </a:moveTo>
                    <a:cubicBezTo>
                      <a:pt x="453758" y="616668"/>
                      <a:pt x="404893" y="612594"/>
                      <a:pt x="362576" y="590216"/>
                    </a:cubicBezTo>
                    <a:cubicBezTo>
                      <a:pt x="360978" y="589376"/>
                      <a:pt x="359408" y="588499"/>
                      <a:pt x="357846" y="587613"/>
                    </a:cubicBezTo>
                    <a:cubicBezTo>
                      <a:pt x="357057" y="580854"/>
                      <a:pt x="350399" y="578214"/>
                      <a:pt x="345109" y="579703"/>
                    </a:cubicBezTo>
                    <a:cubicBezTo>
                      <a:pt x="341932" y="577547"/>
                      <a:pt x="338800" y="575319"/>
                      <a:pt x="335751" y="572990"/>
                    </a:cubicBezTo>
                    <a:cubicBezTo>
                      <a:pt x="322591" y="539733"/>
                      <a:pt x="294802" y="508514"/>
                      <a:pt x="270842" y="498138"/>
                    </a:cubicBezTo>
                    <a:cubicBezTo>
                      <a:pt x="269998" y="496832"/>
                      <a:pt x="269153" y="495526"/>
                      <a:pt x="268308" y="494210"/>
                    </a:cubicBezTo>
                    <a:cubicBezTo>
                      <a:pt x="280439" y="481624"/>
                      <a:pt x="321544" y="434768"/>
                      <a:pt x="324382" y="395730"/>
                    </a:cubicBezTo>
                    <a:cubicBezTo>
                      <a:pt x="331600" y="376064"/>
                      <a:pt x="331811" y="352892"/>
                      <a:pt x="329102" y="333455"/>
                    </a:cubicBezTo>
                    <a:cubicBezTo>
                      <a:pt x="327247" y="320138"/>
                      <a:pt x="323179" y="306976"/>
                      <a:pt x="317017" y="294984"/>
                    </a:cubicBezTo>
                    <a:cubicBezTo>
                      <a:pt x="322169" y="285247"/>
                      <a:pt x="330278" y="266267"/>
                      <a:pt x="331674" y="241341"/>
                    </a:cubicBezTo>
                    <a:cubicBezTo>
                      <a:pt x="331674" y="241341"/>
                      <a:pt x="408062" y="227969"/>
                      <a:pt x="417814" y="161748"/>
                    </a:cubicBezTo>
                    <a:cubicBezTo>
                      <a:pt x="470050" y="200567"/>
                      <a:pt x="578874" y="206047"/>
                      <a:pt x="611328" y="187643"/>
                    </a:cubicBezTo>
                    <a:cubicBezTo>
                      <a:pt x="611328" y="187643"/>
                      <a:pt x="613982" y="227786"/>
                      <a:pt x="618739" y="241213"/>
                    </a:cubicBezTo>
                    <a:cubicBezTo>
                      <a:pt x="621623" y="249333"/>
                      <a:pt x="626013" y="256685"/>
                      <a:pt x="631210" y="263481"/>
                    </a:cubicBezTo>
                    <a:cubicBezTo>
                      <a:pt x="632340" y="273638"/>
                      <a:pt x="634223" y="283758"/>
                      <a:pt x="636922" y="294061"/>
                    </a:cubicBezTo>
                    <a:cubicBezTo>
                      <a:pt x="643314" y="318439"/>
                      <a:pt x="649329" y="342836"/>
                      <a:pt x="651809" y="367963"/>
                    </a:cubicBezTo>
                    <a:cubicBezTo>
                      <a:pt x="656593" y="416600"/>
                      <a:pt x="653379" y="469175"/>
                      <a:pt x="633947" y="514743"/>
                    </a:cubicBezTo>
                    <a:cubicBezTo>
                      <a:pt x="618693" y="539121"/>
                      <a:pt x="596726" y="568185"/>
                      <a:pt x="568093" y="591157"/>
                    </a:cubicBezTo>
                    <a:cubicBezTo>
                      <a:pt x="559497" y="596454"/>
                      <a:pt x="550488" y="601131"/>
                      <a:pt x="541111" y="604721"/>
                    </a:cubicBezTo>
                    <a:cubicBezTo>
                      <a:pt x="527997" y="609744"/>
                      <a:pt x="514737" y="611553"/>
                      <a:pt x="500814" y="612722"/>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sp>
          <p:nvSpPr>
            <p:cNvPr id="370" name="Freeform: Shape 369">
              <a:extLst>
                <a:ext uri="{FF2B5EF4-FFF2-40B4-BE49-F238E27FC236}">
                  <a16:creationId xmlns:a16="http://schemas.microsoft.com/office/drawing/2014/main" id="{C0C51ABF-03BA-FFE5-65AE-0A2708A44772}"/>
                </a:ext>
              </a:extLst>
            </p:cNvPr>
            <p:cNvSpPr/>
            <p:nvPr/>
          </p:nvSpPr>
          <p:spPr>
            <a:xfrm>
              <a:off x="7809199" y="3352496"/>
              <a:ext cx="114058" cy="67585"/>
            </a:xfrm>
            <a:custGeom>
              <a:avLst/>
              <a:gdLst>
                <a:gd name="connsiteX0" fmla="*/ 0 w 114058"/>
                <a:gd name="connsiteY0" fmla="*/ 11386 h 67585"/>
                <a:gd name="connsiteX1" fmla="*/ 53723 w 114058"/>
                <a:gd name="connsiteY1" fmla="*/ 700 h 67585"/>
                <a:gd name="connsiteX2" fmla="*/ 71355 w 114058"/>
                <a:gd name="connsiteY2" fmla="*/ 13579 h 67585"/>
                <a:gd name="connsiteX3" fmla="*/ 85131 w 114058"/>
                <a:gd name="connsiteY3" fmla="*/ 6454 h 67585"/>
                <a:gd name="connsiteX4" fmla="*/ 114058 w 114058"/>
                <a:gd name="connsiteY4" fmla="*/ 26731 h 67585"/>
                <a:gd name="connsiteX5" fmla="*/ 58682 w 114058"/>
                <a:gd name="connsiteY5" fmla="*/ 67285 h 67585"/>
                <a:gd name="connsiteX6" fmla="*/ 0 w 114058"/>
                <a:gd name="connsiteY6" fmla="*/ 11386 h 6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58" h="67585">
                  <a:moveTo>
                    <a:pt x="0" y="11386"/>
                  </a:moveTo>
                  <a:cubicBezTo>
                    <a:pt x="0" y="6509"/>
                    <a:pt x="41601" y="-2588"/>
                    <a:pt x="53723" y="700"/>
                  </a:cubicBezTo>
                  <a:cubicBezTo>
                    <a:pt x="63072" y="3239"/>
                    <a:pt x="69151" y="13579"/>
                    <a:pt x="71355" y="13579"/>
                  </a:cubicBezTo>
                  <a:cubicBezTo>
                    <a:pt x="73559" y="13579"/>
                    <a:pt x="80172" y="7002"/>
                    <a:pt x="85131" y="6454"/>
                  </a:cubicBezTo>
                  <a:cubicBezTo>
                    <a:pt x="90090" y="5906"/>
                    <a:pt x="114058" y="16867"/>
                    <a:pt x="114058" y="26731"/>
                  </a:cubicBezTo>
                  <a:cubicBezTo>
                    <a:pt x="114058" y="37144"/>
                    <a:pt x="93396" y="71122"/>
                    <a:pt x="58682" y="67285"/>
                  </a:cubicBezTo>
                  <a:cubicBezTo>
                    <a:pt x="23969" y="63449"/>
                    <a:pt x="0" y="26457"/>
                    <a:pt x="0" y="11386"/>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371" name="Freeform: Shape 370">
              <a:extLst>
                <a:ext uri="{FF2B5EF4-FFF2-40B4-BE49-F238E27FC236}">
                  <a16:creationId xmlns:a16="http://schemas.microsoft.com/office/drawing/2014/main" id="{02C3EF88-B438-0C9A-037E-2E9BF901E0DA}"/>
                </a:ext>
              </a:extLst>
            </p:cNvPr>
            <p:cNvSpPr/>
            <p:nvPr/>
          </p:nvSpPr>
          <p:spPr>
            <a:xfrm>
              <a:off x="7803097" y="3348243"/>
              <a:ext cx="125240" cy="74636"/>
            </a:xfrm>
            <a:custGeom>
              <a:avLst/>
              <a:gdLst>
                <a:gd name="connsiteX0" fmla="*/ 123034 w 125240"/>
                <a:gd name="connsiteY0" fmla="*/ 26106 h 74636"/>
                <a:gd name="connsiteX1" fmla="*/ 114476 w 125240"/>
                <a:gd name="connsiteY1" fmla="*/ 18105 h 74636"/>
                <a:gd name="connsiteX2" fmla="*/ 100654 w 125240"/>
                <a:gd name="connsiteY2" fmla="*/ 9401 h 74636"/>
                <a:gd name="connsiteX3" fmla="*/ 78550 w 125240"/>
                <a:gd name="connsiteY3" fmla="*/ 13547 h 74636"/>
                <a:gd name="connsiteX4" fmla="*/ 49760 w 125240"/>
                <a:gd name="connsiteY4" fmla="*/ 66 h 74636"/>
                <a:gd name="connsiteX5" fmla="*/ 3144 w 125240"/>
                <a:gd name="connsiteY5" fmla="*/ 11237 h 74636"/>
                <a:gd name="connsiteX6" fmla="*/ 2869 w 125240"/>
                <a:gd name="connsiteY6" fmla="*/ 11392 h 74636"/>
                <a:gd name="connsiteX7" fmla="*/ 1519 w 125240"/>
                <a:gd name="connsiteY7" fmla="*/ 17530 h 74636"/>
                <a:gd name="connsiteX8" fmla="*/ 43644 w 125240"/>
                <a:gd name="connsiteY8" fmla="*/ 69099 h 74636"/>
                <a:gd name="connsiteX9" fmla="*/ 116441 w 125240"/>
                <a:gd name="connsiteY9" fmla="*/ 49772 h 74636"/>
                <a:gd name="connsiteX10" fmla="*/ 123402 w 125240"/>
                <a:gd name="connsiteY10" fmla="*/ 36620 h 74636"/>
                <a:gd name="connsiteX11" fmla="*/ 124449 w 125240"/>
                <a:gd name="connsiteY11" fmla="*/ 31815 h 74636"/>
                <a:gd name="connsiteX12" fmla="*/ 124559 w 125240"/>
                <a:gd name="connsiteY12" fmla="*/ 31130 h 74636"/>
                <a:gd name="connsiteX13" fmla="*/ 124761 w 125240"/>
                <a:gd name="connsiteY13" fmla="*/ 30883 h 74636"/>
                <a:gd name="connsiteX14" fmla="*/ 123034 w 125240"/>
                <a:gd name="connsiteY14" fmla="*/ 26106 h 74636"/>
                <a:gd name="connsiteX15" fmla="*/ 60109 w 125240"/>
                <a:gd name="connsiteY15" fmla="*/ 12159 h 74636"/>
                <a:gd name="connsiteX16" fmla="*/ 75776 w 125240"/>
                <a:gd name="connsiteY16" fmla="*/ 22051 h 74636"/>
                <a:gd name="connsiteX17" fmla="*/ 80047 w 125240"/>
                <a:gd name="connsiteY17" fmla="*/ 20644 h 74636"/>
                <a:gd name="connsiteX18" fmla="*/ 104842 w 125240"/>
                <a:gd name="connsiteY18" fmla="*/ 20882 h 74636"/>
                <a:gd name="connsiteX19" fmla="*/ 114439 w 125240"/>
                <a:gd name="connsiteY19" fmla="*/ 27559 h 74636"/>
                <a:gd name="connsiteX20" fmla="*/ 104355 w 125240"/>
                <a:gd name="connsiteY20" fmla="*/ 30482 h 74636"/>
                <a:gd name="connsiteX21" fmla="*/ 84987 w 125240"/>
                <a:gd name="connsiteY21" fmla="*/ 32400 h 74636"/>
                <a:gd name="connsiteX22" fmla="*/ 47363 w 125240"/>
                <a:gd name="connsiteY22" fmla="*/ 26664 h 74636"/>
                <a:gd name="connsiteX23" fmla="*/ 16653 w 125240"/>
                <a:gd name="connsiteY23" fmla="*/ 16827 h 74636"/>
                <a:gd name="connsiteX24" fmla="*/ 16589 w 125240"/>
                <a:gd name="connsiteY24" fmla="*/ 16753 h 74636"/>
                <a:gd name="connsiteX25" fmla="*/ 16470 w 125240"/>
                <a:gd name="connsiteY25" fmla="*/ 16753 h 74636"/>
                <a:gd name="connsiteX26" fmla="*/ 14909 w 125240"/>
                <a:gd name="connsiteY26" fmla="*/ 16132 h 74636"/>
                <a:gd name="connsiteX27" fmla="*/ 42624 w 125240"/>
                <a:gd name="connsiteY27" fmla="*/ 11967 h 74636"/>
                <a:gd name="connsiteX28" fmla="*/ 60109 w 125240"/>
                <a:gd name="connsiteY28" fmla="*/ 12159 h 74636"/>
                <a:gd name="connsiteX29" fmla="*/ 108644 w 125240"/>
                <a:gd name="connsiteY29" fmla="*/ 46603 h 74636"/>
                <a:gd name="connsiteX30" fmla="*/ 67906 w 125240"/>
                <a:gd name="connsiteY30" fmla="*/ 66725 h 74636"/>
                <a:gd name="connsiteX31" fmla="*/ 10455 w 125240"/>
                <a:gd name="connsiteY31" fmla="*/ 22672 h 74636"/>
                <a:gd name="connsiteX32" fmla="*/ 47592 w 125240"/>
                <a:gd name="connsiteY32" fmla="*/ 38017 h 74636"/>
                <a:gd name="connsiteX33" fmla="*/ 88395 w 125240"/>
                <a:gd name="connsiteY33" fmla="*/ 43790 h 74636"/>
                <a:gd name="connsiteX34" fmla="*/ 113135 w 125240"/>
                <a:gd name="connsiteY34" fmla="*/ 39360 h 74636"/>
                <a:gd name="connsiteX35" fmla="*/ 108644 w 125240"/>
                <a:gd name="connsiteY35" fmla="*/ 46603 h 7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240" h="74636">
                  <a:moveTo>
                    <a:pt x="123034" y="26106"/>
                  </a:moveTo>
                  <a:cubicBezTo>
                    <a:pt x="120959" y="23001"/>
                    <a:pt x="117249" y="20279"/>
                    <a:pt x="114476" y="18105"/>
                  </a:cubicBezTo>
                  <a:cubicBezTo>
                    <a:pt x="110214" y="14781"/>
                    <a:pt x="105659" y="11511"/>
                    <a:pt x="100654" y="9401"/>
                  </a:cubicBezTo>
                  <a:cubicBezTo>
                    <a:pt x="92022" y="5775"/>
                    <a:pt x="84345" y="7620"/>
                    <a:pt x="78550" y="13547"/>
                  </a:cubicBezTo>
                  <a:cubicBezTo>
                    <a:pt x="73820" y="3400"/>
                    <a:pt x="60771" y="-573"/>
                    <a:pt x="49760" y="66"/>
                  </a:cubicBezTo>
                  <a:cubicBezTo>
                    <a:pt x="34295" y="970"/>
                    <a:pt x="17599" y="5912"/>
                    <a:pt x="3144" y="11237"/>
                  </a:cubicBezTo>
                  <a:cubicBezTo>
                    <a:pt x="3044" y="11273"/>
                    <a:pt x="2961" y="11337"/>
                    <a:pt x="2869" y="11392"/>
                  </a:cubicBezTo>
                  <a:cubicBezTo>
                    <a:pt x="187" y="11894"/>
                    <a:pt x="-1300" y="15648"/>
                    <a:pt x="1519" y="17530"/>
                  </a:cubicBezTo>
                  <a:cubicBezTo>
                    <a:pt x="7250" y="38939"/>
                    <a:pt x="23440" y="59874"/>
                    <a:pt x="43644" y="69099"/>
                  </a:cubicBezTo>
                  <a:cubicBezTo>
                    <a:pt x="69816" y="81046"/>
                    <a:pt x="100076" y="73237"/>
                    <a:pt x="116441" y="49772"/>
                  </a:cubicBezTo>
                  <a:cubicBezTo>
                    <a:pt x="119251" y="45744"/>
                    <a:pt x="121887" y="41305"/>
                    <a:pt x="123402" y="36620"/>
                  </a:cubicBezTo>
                  <a:cubicBezTo>
                    <a:pt x="123916" y="35021"/>
                    <a:pt x="124219" y="33468"/>
                    <a:pt x="124449" y="31815"/>
                  </a:cubicBezTo>
                  <a:cubicBezTo>
                    <a:pt x="124467" y="31696"/>
                    <a:pt x="124513" y="31431"/>
                    <a:pt x="124559" y="31130"/>
                  </a:cubicBezTo>
                  <a:cubicBezTo>
                    <a:pt x="124623" y="31048"/>
                    <a:pt x="124697" y="30966"/>
                    <a:pt x="124761" y="30883"/>
                  </a:cubicBezTo>
                  <a:cubicBezTo>
                    <a:pt x="125927" y="29276"/>
                    <a:pt x="124816" y="26755"/>
                    <a:pt x="123034" y="26106"/>
                  </a:cubicBezTo>
                  <a:close/>
                  <a:moveTo>
                    <a:pt x="60109" y="12159"/>
                  </a:moveTo>
                  <a:cubicBezTo>
                    <a:pt x="66281" y="13931"/>
                    <a:pt x="70386" y="18872"/>
                    <a:pt x="75776" y="22051"/>
                  </a:cubicBezTo>
                  <a:cubicBezTo>
                    <a:pt x="77218" y="22901"/>
                    <a:pt x="79422" y="22179"/>
                    <a:pt x="80047" y="20644"/>
                  </a:cubicBezTo>
                  <a:cubicBezTo>
                    <a:pt x="88532" y="12990"/>
                    <a:pt x="95723" y="14516"/>
                    <a:pt x="104842" y="20882"/>
                  </a:cubicBezTo>
                  <a:cubicBezTo>
                    <a:pt x="107386" y="22654"/>
                    <a:pt x="110821" y="25659"/>
                    <a:pt x="114439" y="27559"/>
                  </a:cubicBezTo>
                  <a:cubicBezTo>
                    <a:pt x="111059" y="28545"/>
                    <a:pt x="107680" y="29733"/>
                    <a:pt x="104355" y="30482"/>
                  </a:cubicBezTo>
                  <a:cubicBezTo>
                    <a:pt x="98037" y="31916"/>
                    <a:pt x="91453" y="32418"/>
                    <a:pt x="84987" y="32400"/>
                  </a:cubicBezTo>
                  <a:cubicBezTo>
                    <a:pt x="72259" y="32372"/>
                    <a:pt x="59623" y="29915"/>
                    <a:pt x="47363" y="26664"/>
                  </a:cubicBezTo>
                  <a:cubicBezTo>
                    <a:pt x="37142" y="23951"/>
                    <a:pt x="26654" y="20809"/>
                    <a:pt x="16653" y="16827"/>
                  </a:cubicBezTo>
                  <a:cubicBezTo>
                    <a:pt x="16653" y="16790"/>
                    <a:pt x="16635" y="16753"/>
                    <a:pt x="16589" y="16753"/>
                  </a:cubicBezTo>
                  <a:cubicBezTo>
                    <a:pt x="16552" y="16753"/>
                    <a:pt x="16516" y="16753"/>
                    <a:pt x="16470" y="16753"/>
                  </a:cubicBezTo>
                  <a:cubicBezTo>
                    <a:pt x="15946" y="16543"/>
                    <a:pt x="15423" y="16342"/>
                    <a:pt x="14909" y="16132"/>
                  </a:cubicBezTo>
                  <a:cubicBezTo>
                    <a:pt x="24211" y="15931"/>
                    <a:pt x="33716" y="13410"/>
                    <a:pt x="42624" y="11967"/>
                  </a:cubicBezTo>
                  <a:cubicBezTo>
                    <a:pt x="48373" y="11036"/>
                    <a:pt x="54434" y="10533"/>
                    <a:pt x="60109" y="12159"/>
                  </a:cubicBezTo>
                  <a:close/>
                  <a:moveTo>
                    <a:pt x="108644" y="46603"/>
                  </a:moveTo>
                  <a:cubicBezTo>
                    <a:pt x="98992" y="59774"/>
                    <a:pt x="84335" y="67072"/>
                    <a:pt x="67906" y="66725"/>
                  </a:cubicBezTo>
                  <a:cubicBezTo>
                    <a:pt x="40007" y="66140"/>
                    <a:pt x="22347" y="45306"/>
                    <a:pt x="10455" y="22672"/>
                  </a:cubicBezTo>
                  <a:cubicBezTo>
                    <a:pt x="22255" y="29057"/>
                    <a:pt x="34699" y="34236"/>
                    <a:pt x="47592" y="38017"/>
                  </a:cubicBezTo>
                  <a:cubicBezTo>
                    <a:pt x="60725" y="41871"/>
                    <a:pt x="74665" y="44155"/>
                    <a:pt x="88395" y="43790"/>
                  </a:cubicBezTo>
                  <a:cubicBezTo>
                    <a:pt x="95760" y="43589"/>
                    <a:pt x="105237" y="42593"/>
                    <a:pt x="113135" y="39360"/>
                  </a:cubicBezTo>
                  <a:cubicBezTo>
                    <a:pt x="111766" y="41844"/>
                    <a:pt x="110343" y="44292"/>
                    <a:pt x="108644" y="46603"/>
                  </a:cubicBezTo>
                  <a:close/>
                </a:path>
              </a:pathLst>
            </a:custGeom>
            <a:solidFill>
              <a:srgbClr val="191246"/>
            </a:solidFill>
            <a:ln w="9164" cap="flat">
              <a:noFill/>
              <a:prstDash val="solid"/>
              <a:miter/>
            </a:ln>
          </p:spPr>
          <p:txBody>
            <a:bodyPr rtlCol="0" anchor="ctr"/>
            <a:lstStyle/>
            <a:p>
              <a:endParaRPr lang="en-GB">
                <a:solidFill>
                  <a:schemeClr val="bg1"/>
                </a:solidFill>
              </a:endParaRPr>
            </a:p>
          </p:txBody>
        </p:sp>
        <p:sp>
          <p:nvSpPr>
            <p:cNvPr id="372" name="Freeform: Shape 371">
              <a:extLst>
                <a:ext uri="{FF2B5EF4-FFF2-40B4-BE49-F238E27FC236}">
                  <a16:creationId xmlns:a16="http://schemas.microsoft.com/office/drawing/2014/main" id="{7D17CCBB-9EC1-92BD-8464-727440DC0E5D}"/>
                </a:ext>
              </a:extLst>
            </p:cNvPr>
            <p:cNvSpPr/>
            <p:nvPr/>
          </p:nvSpPr>
          <p:spPr>
            <a:xfrm>
              <a:off x="7859227" y="3245678"/>
              <a:ext cx="58539" cy="71856"/>
            </a:xfrm>
            <a:custGeom>
              <a:avLst/>
              <a:gdLst>
                <a:gd name="connsiteX0" fmla="*/ 4182 w 58539"/>
                <a:gd name="connsiteY0" fmla="*/ 66306 h 71856"/>
                <a:gd name="connsiteX1" fmla="*/ 57097 w 58539"/>
                <a:gd name="connsiteY1" fmla="*/ 55857 h 71856"/>
                <a:gd name="connsiteX2" fmla="*/ 54847 w 58539"/>
                <a:gd name="connsiteY2" fmla="*/ 41773 h 71856"/>
                <a:gd name="connsiteX3" fmla="*/ 46527 w 58539"/>
                <a:gd name="connsiteY3" fmla="*/ 26218 h 71856"/>
                <a:gd name="connsiteX4" fmla="*/ 33091 w 58539"/>
                <a:gd name="connsiteY4" fmla="*/ 1401 h 71856"/>
                <a:gd name="connsiteX5" fmla="*/ 28013 w 58539"/>
                <a:gd name="connsiteY5" fmla="*/ 1401 h 71856"/>
                <a:gd name="connsiteX6" fmla="*/ 29785 w 58539"/>
                <a:gd name="connsiteY6" fmla="*/ 17184 h 71856"/>
                <a:gd name="connsiteX7" fmla="*/ 41503 w 58539"/>
                <a:gd name="connsiteY7" fmla="*/ 40786 h 71856"/>
                <a:gd name="connsiteX8" fmla="*/ 41265 w 58539"/>
                <a:gd name="connsiteY8" fmla="*/ 48760 h 71856"/>
                <a:gd name="connsiteX9" fmla="*/ 32963 w 58539"/>
                <a:gd name="connsiteY9" fmla="*/ 53345 h 71856"/>
                <a:gd name="connsiteX10" fmla="*/ 12869 w 58539"/>
                <a:gd name="connsiteY10" fmla="*/ 51518 h 71856"/>
                <a:gd name="connsiteX11" fmla="*/ 4182 w 58539"/>
                <a:gd name="connsiteY11" fmla="*/ 66306 h 7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39" h="71856">
                  <a:moveTo>
                    <a:pt x="4182" y="66306"/>
                  </a:moveTo>
                  <a:cubicBezTo>
                    <a:pt x="20170" y="75595"/>
                    <a:pt x="47399" y="73942"/>
                    <a:pt x="57097" y="55857"/>
                  </a:cubicBezTo>
                  <a:cubicBezTo>
                    <a:pt x="60017" y="50413"/>
                    <a:pt x="58116" y="46303"/>
                    <a:pt x="54847" y="41773"/>
                  </a:cubicBezTo>
                  <a:cubicBezTo>
                    <a:pt x="51412" y="37014"/>
                    <a:pt x="49006" y="31497"/>
                    <a:pt x="46527" y="26218"/>
                  </a:cubicBezTo>
                  <a:cubicBezTo>
                    <a:pt x="42532" y="17678"/>
                    <a:pt x="38390" y="8827"/>
                    <a:pt x="33091" y="1401"/>
                  </a:cubicBezTo>
                  <a:cubicBezTo>
                    <a:pt x="31723" y="-517"/>
                    <a:pt x="29400" y="-416"/>
                    <a:pt x="28013" y="1401"/>
                  </a:cubicBezTo>
                  <a:cubicBezTo>
                    <a:pt x="24101" y="6516"/>
                    <a:pt x="27324" y="11905"/>
                    <a:pt x="29785" y="17184"/>
                  </a:cubicBezTo>
                  <a:cubicBezTo>
                    <a:pt x="33486" y="25149"/>
                    <a:pt x="37959" y="32748"/>
                    <a:pt x="41503" y="40786"/>
                  </a:cubicBezTo>
                  <a:cubicBezTo>
                    <a:pt x="43285" y="44842"/>
                    <a:pt x="44773" y="45983"/>
                    <a:pt x="41265" y="48760"/>
                  </a:cubicBezTo>
                  <a:cubicBezTo>
                    <a:pt x="38767" y="50733"/>
                    <a:pt x="36003" y="52359"/>
                    <a:pt x="32963" y="53345"/>
                  </a:cubicBezTo>
                  <a:cubicBezTo>
                    <a:pt x="26176" y="55537"/>
                    <a:pt x="19087" y="55008"/>
                    <a:pt x="12869" y="51518"/>
                  </a:cubicBezTo>
                  <a:cubicBezTo>
                    <a:pt x="3199" y="46111"/>
                    <a:pt x="-5406" y="60744"/>
                    <a:pt x="4182" y="6630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3" name="Freeform: Shape 372">
              <a:extLst>
                <a:ext uri="{FF2B5EF4-FFF2-40B4-BE49-F238E27FC236}">
                  <a16:creationId xmlns:a16="http://schemas.microsoft.com/office/drawing/2014/main" id="{6CBB54AB-6356-499D-297C-9310EF5C6012}"/>
                </a:ext>
              </a:extLst>
            </p:cNvPr>
            <p:cNvSpPr/>
            <p:nvPr/>
          </p:nvSpPr>
          <p:spPr>
            <a:xfrm>
              <a:off x="7737416" y="3150760"/>
              <a:ext cx="90248" cy="35029"/>
            </a:xfrm>
            <a:custGeom>
              <a:avLst/>
              <a:gdLst>
                <a:gd name="connsiteX0" fmla="*/ 8785 w 90248"/>
                <a:gd name="connsiteY0" fmla="*/ 33688 h 35029"/>
                <a:gd name="connsiteX1" fmla="*/ 50092 w 90248"/>
                <a:gd name="connsiteY1" fmla="*/ 12333 h 35029"/>
                <a:gd name="connsiteX2" fmla="*/ 70452 w 90248"/>
                <a:gd name="connsiteY2" fmla="*/ 15850 h 35029"/>
                <a:gd name="connsiteX3" fmla="*/ 82620 w 90248"/>
                <a:gd name="connsiteY3" fmla="*/ 27888 h 35029"/>
                <a:gd name="connsiteX4" fmla="*/ 89590 w 90248"/>
                <a:gd name="connsiteY4" fmla="*/ 25066 h 35029"/>
                <a:gd name="connsiteX5" fmla="*/ 80003 w 90248"/>
                <a:gd name="connsiteY5" fmla="*/ 7273 h 35029"/>
                <a:gd name="connsiteX6" fmla="*/ 53655 w 90248"/>
                <a:gd name="connsiteY6" fmla="*/ 48 h 35029"/>
                <a:gd name="connsiteX7" fmla="*/ 1585 w 90248"/>
                <a:gd name="connsiteY7" fmla="*/ 26527 h 35029"/>
                <a:gd name="connsiteX8" fmla="*/ 8785 w 90248"/>
                <a:gd name="connsiteY8" fmla="*/ 33688 h 35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48" h="35029">
                  <a:moveTo>
                    <a:pt x="8785" y="33688"/>
                  </a:moveTo>
                  <a:cubicBezTo>
                    <a:pt x="20558" y="23367"/>
                    <a:pt x="33911" y="13657"/>
                    <a:pt x="50092" y="12333"/>
                  </a:cubicBezTo>
                  <a:cubicBezTo>
                    <a:pt x="56998" y="11776"/>
                    <a:pt x="64280" y="12516"/>
                    <a:pt x="70452" y="15850"/>
                  </a:cubicBezTo>
                  <a:cubicBezTo>
                    <a:pt x="76026" y="18864"/>
                    <a:pt x="77734" y="24481"/>
                    <a:pt x="82620" y="27888"/>
                  </a:cubicBezTo>
                  <a:cubicBezTo>
                    <a:pt x="85412" y="29833"/>
                    <a:pt x="88516" y="27614"/>
                    <a:pt x="89590" y="25066"/>
                  </a:cubicBezTo>
                  <a:cubicBezTo>
                    <a:pt x="92492" y="18170"/>
                    <a:pt x="85164" y="10890"/>
                    <a:pt x="80003" y="7273"/>
                  </a:cubicBezTo>
                  <a:cubicBezTo>
                    <a:pt x="72417" y="1957"/>
                    <a:pt x="62857" y="-372"/>
                    <a:pt x="53655" y="48"/>
                  </a:cubicBezTo>
                  <a:cubicBezTo>
                    <a:pt x="32891" y="1007"/>
                    <a:pt x="16168" y="12808"/>
                    <a:pt x="1585" y="26527"/>
                  </a:cubicBezTo>
                  <a:cubicBezTo>
                    <a:pt x="-3200" y="31048"/>
                    <a:pt x="3918" y="37963"/>
                    <a:pt x="8785" y="33688"/>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4" name="Freeform: Shape 373">
              <a:extLst>
                <a:ext uri="{FF2B5EF4-FFF2-40B4-BE49-F238E27FC236}">
                  <a16:creationId xmlns:a16="http://schemas.microsoft.com/office/drawing/2014/main" id="{23E3A1B5-54B4-B15D-222A-62CECF66C768}"/>
                </a:ext>
              </a:extLst>
            </p:cNvPr>
            <p:cNvSpPr/>
            <p:nvPr/>
          </p:nvSpPr>
          <p:spPr>
            <a:xfrm>
              <a:off x="7905787" y="3150691"/>
              <a:ext cx="78640" cy="45409"/>
            </a:xfrm>
            <a:custGeom>
              <a:avLst/>
              <a:gdLst>
                <a:gd name="connsiteX0" fmla="*/ 7506 w 78640"/>
                <a:gd name="connsiteY0" fmla="*/ 19801 h 45409"/>
                <a:gd name="connsiteX1" fmla="*/ 47023 w 78640"/>
                <a:gd name="connsiteY1" fmla="*/ 15682 h 45409"/>
                <a:gd name="connsiteX2" fmla="*/ 62524 w 78640"/>
                <a:gd name="connsiteY2" fmla="*/ 28350 h 45409"/>
                <a:gd name="connsiteX3" fmla="*/ 71451 w 78640"/>
                <a:gd name="connsiteY3" fmla="*/ 44864 h 45409"/>
                <a:gd name="connsiteX4" fmla="*/ 76557 w 78640"/>
                <a:gd name="connsiteY4" fmla="*/ 43531 h 45409"/>
                <a:gd name="connsiteX5" fmla="*/ 70615 w 78640"/>
                <a:gd name="connsiteY5" fmla="*/ 18239 h 45409"/>
                <a:gd name="connsiteX6" fmla="*/ 49153 w 78640"/>
                <a:gd name="connsiteY6" fmla="*/ 3260 h 45409"/>
                <a:gd name="connsiteX7" fmla="*/ 518 w 78640"/>
                <a:gd name="connsiteY7" fmla="*/ 14421 h 45409"/>
                <a:gd name="connsiteX8" fmla="*/ 7506 w 78640"/>
                <a:gd name="connsiteY8" fmla="*/ 19801 h 4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40" h="45409">
                  <a:moveTo>
                    <a:pt x="7506" y="19801"/>
                  </a:moveTo>
                  <a:cubicBezTo>
                    <a:pt x="15680" y="9443"/>
                    <a:pt x="36269" y="11151"/>
                    <a:pt x="47023" y="15682"/>
                  </a:cubicBezTo>
                  <a:cubicBezTo>
                    <a:pt x="53332" y="18340"/>
                    <a:pt x="58897" y="22486"/>
                    <a:pt x="62524" y="28350"/>
                  </a:cubicBezTo>
                  <a:cubicBezTo>
                    <a:pt x="65941" y="33876"/>
                    <a:pt x="65830" y="40946"/>
                    <a:pt x="71451" y="44864"/>
                  </a:cubicBezTo>
                  <a:cubicBezTo>
                    <a:pt x="73242" y="46116"/>
                    <a:pt x="75418" y="45020"/>
                    <a:pt x="76557" y="43531"/>
                  </a:cubicBezTo>
                  <a:cubicBezTo>
                    <a:pt x="82113" y="36278"/>
                    <a:pt x="75317" y="24341"/>
                    <a:pt x="70615" y="18239"/>
                  </a:cubicBezTo>
                  <a:cubicBezTo>
                    <a:pt x="65160" y="11179"/>
                    <a:pt x="57510" y="6292"/>
                    <a:pt x="49153" y="3260"/>
                  </a:cubicBezTo>
                  <a:cubicBezTo>
                    <a:pt x="33688" y="-2358"/>
                    <a:pt x="9518" y="-1947"/>
                    <a:pt x="518" y="14421"/>
                  </a:cubicBezTo>
                  <a:cubicBezTo>
                    <a:pt x="-1806" y="18641"/>
                    <a:pt x="4255" y="23911"/>
                    <a:pt x="7506" y="19801"/>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5" name="Freeform: Shape 374">
              <a:extLst>
                <a:ext uri="{FF2B5EF4-FFF2-40B4-BE49-F238E27FC236}">
                  <a16:creationId xmlns:a16="http://schemas.microsoft.com/office/drawing/2014/main" id="{90F8C9E1-5512-609F-51E5-2D176A58A9A7}"/>
                </a:ext>
              </a:extLst>
            </p:cNvPr>
            <p:cNvSpPr/>
            <p:nvPr/>
          </p:nvSpPr>
          <p:spPr>
            <a:xfrm>
              <a:off x="7739788" y="3215285"/>
              <a:ext cx="91938" cy="37394"/>
            </a:xfrm>
            <a:custGeom>
              <a:avLst/>
              <a:gdLst>
                <a:gd name="connsiteX0" fmla="*/ 91662 w 91938"/>
                <a:gd name="connsiteY0" fmla="*/ 32726 h 37394"/>
                <a:gd name="connsiteX1" fmla="*/ 50116 w 91938"/>
                <a:gd name="connsiteY1" fmla="*/ 11618 h 37394"/>
                <a:gd name="connsiteX2" fmla="*/ 32502 w 91938"/>
                <a:gd name="connsiteY2" fmla="*/ 15052 h 37394"/>
                <a:gd name="connsiteX3" fmla="*/ 30105 w 91938"/>
                <a:gd name="connsiteY3" fmla="*/ 13225 h 37394"/>
                <a:gd name="connsiteX4" fmla="*/ 24705 w 91938"/>
                <a:gd name="connsiteY4" fmla="*/ 3260 h 37394"/>
                <a:gd name="connsiteX5" fmla="*/ 15926 w 91938"/>
                <a:gd name="connsiteY5" fmla="*/ 5672 h 37394"/>
                <a:gd name="connsiteX6" fmla="*/ 20251 w 91938"/>
                <a:gd name="connsiteY6" fmla="*/ 15865 h 37394"/>
                <a:gd name="connsiteX7" fmla="*/ 6320 w 91938"/>
                <a:gd name="connsiteY7" fmla="*/ 5946 h 37394"/>
                <a:gd name="connsiteX8" fmla="*/ 213 w 91938"/>
                <a:gd name="connsiteY8" fmla="*/ 8503 h 37394"/>
                <a:gd name="connsiteX9" fmla="*/ 17368 w 91938"/>
                <a:gd name="connsiteY9" fmla="*/ 25218 h 37394"/>
                <a:gd name="connsiteX10" fmla="*/ 33705 w 91938"/>
                <a:gd name="connsiteY10" fmla="*/ 25802 h 37394"/>
                <a:gd name="connsiteX11" fmla="*/ 36607 w 91938"/>
                <a:gd name="connsiteY11" fmla="*/ 25327 h 37394"/>
                <a:gd name="connsiteX12" fmla="*/ 42503 w 91938"/>
                <a:gd name="connsiteY12" fmla="*/ 24295 h 37394"/>
                <a:gd name="connsiteX13" fmla="*/ 59088 w 91938"/>
                <a:gd name="connsiteY13" fmla="*/ 23154 h 37394"/>
                <a:gd name="connsiteX14" fmla="*/ 85968 w 91938"/>
                <a:gd name="connsiteY14" fmla="*/ 37074 h 37394"/>
                <a:gd name="connsiteX15" fmla="*/ 91662 w 91938"/>
                <a:gd name="connsiteY15" fmla="*/ 32726 h 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938" h="37394">
                  <a:moveTo>
                    <a:pt x="91662" y="32726"/>
                  </a:moveTo>
                  <a:cubicBezTo>
                    <a:pt x="85445" y="17463"/>
                    <a:pt x="65783" y="10001"/>
                    <a:pt x="50116" y="11618"/>
                  </a:cubicBezTo>
                  <a:cubicBezTo>
                    <a:pt x="44597" y="12184"/>
                    <a:pt x="38490" y="13928"/>
                    <a:pt x="32502" y="15052"/>
                  </a:cubicBezTo>
                  <a:cubicBezTo>
                    <a:pt x="31657" y="14513"/>
                    <a:pt x="30840" y="13938"/>
                    <a:pt x="30105" y="13225"/>
                  </a:cubicBezTo>
                  <a:cubicBezTo>
                    <a:pt x="27249" y="10467"/>
                    <a:pt x="25541" y="7096"/>
                    <a:pt x="24705" y="3260"/>
                  </a:cubicBezTo>
                  <a:cubicBezTo>
                    <a:pt x="23466" y="-2458"/>
                    <a:pt x="14806" y="-19"/>
                    <a:pt x="15926" y="5672"/>
                  </a:cubicBezTo>
                  <a:cubicBezTo>
                    <a:pt x="16652" y="9343"/>
                    <a:pt x="18148" y="12796"/>
                    <a:pt x="20251" y="15865"/>
                  </a:cubicBezTo>
                  <a:cubicBezTo>
                    <a:pt x="14686" y="15189"/>
                    <a:pt x="9792" y="12522"/>
                    <a:pt x="6320" y="5946"/>
                  </a:cubicBezTo>
                  <a:cubicBezTo>
                    <a:pt x="4594" y="2676"/>
                    <a:pt x="-1174" y="4950"/>
                    <a:pt x="213" y="8503"/>
                  </a:cubicBezTo>
                  <a:cubicBezTo>
                    <a:pt x="3262" y="16340"/>
                    <a:pt x="9296" y="22432"/>
                    <a:pt x="17368" y="25218"/>
                  </a:cubicBezTo>
                  <a:cubicBezTo>
                    <a:pt x="22556" y="27008"/>
                    <a:pt x="28177" y="26643"/>
                    <a:pt x="33705" y="25802"/>
                  </a:cubicBezTo>
                  <a:cubicBezTo>
                    <a:pt x="34679" y="25857"/>
                    <a:pt x="35652" y="25720"/>
                    <a:pt x="36607" y="25327"/>
                  </a:cubicBezTo>
                  <a:cubicBezTo>
                    <a:pt x="38609" y="24980"/>
                    <a:pt x="40584" y="24606"/>
                    <a:pt x="42503" y="24295"/>
                  </a:cubicBezTo>
                  <a:cubicBezTo>
                    <a:pt x="48059" y="23391"/>
                    <a:pt x="53431" y="22286"/>
                    <a:pt x="59088" y="23154"/>
                  </a:cubicBezTo>
                  <a:cubicBezTo>
                    <a:pt x="69833" y="24798"/>
                    <a:pt x="76427" y="33009"/>
                    <a:pt x="85968" y="37074"/>
                  </a:cubicBezTo>
                  <a:cubicBezTo>
                    <a:pt x="88622" y="38206"/>
                    <a:pt x="93095" y="36242"/>
                    <a:pt x="91662" y="3272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6" name="Freeform: Shape 375">
              <a:extLst>
                <a:ext uri="{FF2B5EF4-FFF2-40B4-BE49-F238E27FC236}">
                  <a16:creationId xmlns:a16="http://schemas.microsoft.com/office/drawing/2014/main" id="{73CE3620-BDD6-D69A-8898-5BBD4C224577}"/>
                </a:ext>
              </a:extLst>
            </p:cNvPr>
            <p:cNvSpPr/>
            <p:nvPr/>
          </p:nvSpPr>
          <p:spPr>
            <a:xfrm>
              <a:off x="7908466" y="3217522"/>
              <a:ext cx="76286" cy="37535"/>
            </a:xfrm>
            <a:custGeom>
              <a:avLst/>
              <a:gdLst>
                <a:gd name="connsiteX0" fmla="*/ 70039 w 76286"/>
                <a:gd name="connsiteY0" fmla="*/ 5964 h 37535"/>
                <a:gd name="connsiteX1" fmla="*/ 59790 w 76286"/>
                <a:gd name="connsiteY1" fmla="*/ 16039 h 37535"/>
                <a:gd name="connsiteX2" fmla="*/ 63518 w 76286"/>
                <a:gd name="connsiteY2" fmla="*/ 5690 h 37535"/>
                <a:gd name="connsiteX3" fmla="*/ 54739 w 76286"/>
                <a:gd name="connsiteY3" fmla="*/ 3279 h 37535"/>
                <a:gd name="connsiteX4" fmla="*/ 50414 w 76286"/>
                <a:gd name="connsiteY4" fmla="*/ 13362 h 37535"/>
                <a:gd name="connsiteX5" fmla="*/ 49174 w 76286"/>
                <a:gd name="connsiteY5" fmla="*/ 14577 h 37535"/>
                <a:gd name="connsiteX6" fmla="*/ 46520 w 76286"/>
                <a:gd name="connsiteY6" fmla="*/ 13874 h 37535"/>
                <a:gd name="connsiteX7" fmla="*/ 34701 w 76286"/>
                <a:gd name="connsiteY7" fmla="*/ 11627 h 37535"/>
                <a:gd name="connsiteX8" fmla="*/ 125 w 76286"/>
                <a:gd name="connsiteY8" fmla="*/ 32744 h 37535"/>
                <a:gd name="connsiteX9" fmla="*/ 5819 w 76286"/>
                <a:gd name="connsiteY9" fmla="*/ 37092 h 37535"/>
                <a:gd name="connsiteX10" fmla="*/ 27528 w 76286"/>
                <a:gd name="connsiteY10" fmla="*/ 23200 h 37535"/>
                <a:gd name="connsiteX11" fmla="*/ 41193 w 76286"/>
                <a:gd name="connsiteY11" fmla="*/ 24405 h 37535"/>
                <a:gd name="connsiteX12" fmla="*/ 45216 w 76286"/>
                <a:gd name="connsiteY12" fmla="*/ 25209 h 37535"/>
                <a:gd name="connsiteX13" fmla="*/ 48402 w 76286"/>
                <a:gd name="connsiteY13" fmla="*/ 25821 h 37535"/>
                <a:gd name="connsiteX14" fmla="*/ 61305 w 76286"/>
                <a:gd name="connsiteY14" fmla="*/ 25510 h 37535"/>
                <a:gd name="connsiteX15" fmla="*/ 76155 w 76286"/>
                <a:gd name="connsiteY15" fmla="*/ 8522 h 37535"/>
                <a:gd name="connsiteX16" fmla="*/ 70039 w 76286"/>
                <a:gd name="connsiteY16" fmla="*/ 5964 h 3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86" h="37535">
                  <a:moveTo>
                    <a:pt x="70039" y="5964"/>
                  </a:moveTo>
                  <a:cubicBezTo>
                    <a:pt x="67963" y="10531"/>
                    <a:pt x="64850" y="14678"/>
                    <a:pt x="59790" y="16039"/>
                  </a:cubicBezTo>
                  <a:cubicBezTo>
                    <a:pt x="61663" y="12860"/>
                    <a:pt x="62921" y="9371"/>
                    <a:pt x="63518" y="5690"/>
                  </a:cubicBezTo>
                  <a:cubicBezTo>
                    <a:pt x="64428" y="18"/>
                    <a:pt x="55795" y="-2494"/>
                    <a:pt x="54739" y="3279"/>
                  </a:cubicBezTo>
                  <a:cubicBezTo>
                    <a:pt x="54069" y="6941"/>
                    <a:pt x="52810" y="10449"/>
                    <a:pt x="50414" y="13362"/>
                  </a:cubicBezTo>
                  <a:cubicBezTo>
                    <a:pt x="50055" y="13792"/>
                    <a:pt x="49633" y="14194"/>
                    <a:pt x="49174" y="14577"/>
                  </a:cubicBezTo>
                  <a:cubicBezTo>
                    <a:pt x="48301" y="14312"/>
                    <a:pt x="47420" y="14057"/>
                    <a:pt x="46520" y="13874"/>
                  </a:cubicBezTo>
                  <a:cubicBezTo>
                    <a:pt x="43443" y="13235"/>
                    <a:pt x="38594" y="12056"/>
                    <a:pt x="34701" y="11627"/>
                  </a:cubicBezTo>
                  <a:cubicBezTo>
                    <a:pt x="20962" y="10111"/>
                    <a:pt x="3587" y="18687"/>
                    <a:pt x="125" y="32744"/>
                  </a:cubicBezTo>
                  <a:cubicBezTo>
                    <a:pt x="-711" y="36151"/>
                    <a:pt x="2807" y="38572"/>
                    <a:pt x="5819" y="37092"/>
                  </a:cubicBezTo>
                  <a:cubicBezTo>
                    <a:pt x="13680" y="33238"/>
                    <a:pt x="18492" y="24972"/>
                    <a:pt x="27528" y="23200"/>
                  </a:cubicBezTo>
                  <a:cubicBezTo>
                    <a:pt x="32313" y="22259"/>
                    <a:pt x="36547" y="23547"/>
                    <a:pt x="41193" y="24405"/>
                  </a:cubicBezTo>
                  <a:cubicBezTo>
                    <a:pt x="42507" y="24652"/>
                    <a:pt x="43857" y="24926"/>
                    <a:pt x="45216" y="25209"/>
                  </a:cubicBezTo>
                  <a:cubicBezTo>
                    <a:pt x="46272" y="25748"/>
                    <a:pt x="47346" y="25921"/>
                    <a:pt x="48402" y="25821"/>
                  </a:cubicBezTo>
                  <a:cubicBezTo>
                    <a:pt x="52755" y="26579"/>
                    <a:pt x="57173" y="26944"/>
                    <a:pt x="61305" y="25510"/>
                  </a:cubicBezTo>
                  <a:cubicBezTo>
                    <a:pt x="68882" y="22871"/>
                    <a:pt x="73932" y="15892"/>
                    <a:pt x="76155" y="8522"/>
                  </a:cubicBezTo>
                  <a:cubicBezTo>
                    <a:pt x="77211" y="5005"/>
                    <a:pt x="71627" y="2475"/>
                    <a:pt x="70039" y="5964"/>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7" name="TextBox 376">
              <a:extLst>
                <a:ext uri="{FF2B5EF4-FFF2-40B4-BE49-F238E27FC236}">
                  <a16:creationId xmlns:a16="http://schemas.microsoft.com/office/drawing/2014/main" id="{778A22CC-CFAC-3758-B7EB-E7773DC7CAB8}"/>
                </a:ext>
              </a:extLst>
            </p:cNvPr>
            <p:cNvSpPr txBox="1"/>
            <p:nvPr/>
          </p:nvSpPr>
          <p:spPr>
            <a:xfrm>
              <a:off x="234547" y="1150379"/>
              <a:ext cx="4256528" cy="1472326"/>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Our top experts are ready to reach the goals</a:t>
              </a:r>
            </a:p>
          </p:txBody>
        </p:sp>
      </p:grpSp>
    </p:spTree>
    <p:extLst>
      <p:ext uri="{BB962C8B-B14F-4D97-AF65-F5344CB8AC3E}">
        <p14:creationId xmlns:p14="http://schemas.microsoft.com/office/powerpoint/2010/main" val="3234984323"/>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F3D4A"/>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90938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1300" b="0" i="0" u="none" strike="noStrike" kern="0" cap="none" spc="0" normalizeH="0" baseline="0" noProof="0">
                <a:ln>
                  <a:noFill/>
                </a:ln>
                <a:solidFill>
                  <a:prstClr val="white"/>
                </a:solidFill>
                <a:effectLst/>
                <a:uLnTx/>
                <a:uFillTx/>
                <a:latin typeface="Century Gothic" panose="020B0502020202020204" pitchFamily="34" charset="0"/>
              </a:rPr>
              <a:t>Our </a:t>
            </a:r>
            <a:r>
              <a:rPr lang="en-US" sz="11300" kern="0">
                <a:solidFill>
                  <a:prstClr val="white"/>
                </a:solidFill>
                <a:latin typeface="Century Gothic" panose="020B0502020202020204" pitchFamily="34" charset="0"/>
              </a:rPr>
              <a:t>Engineering Team</a:t>
            </a:r>
            <a:endParaRPr kumimoji="0" lang="en-US" sz="11300" b="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287" name="Group 286">
            <a:extLst>
              <a:ext uri="{FF2B5EF4-FFF2-40B4-BE49-F238E27FC236}">
                <a16:creationId xmlns:a16="http://schemas.microsoft.com/office/drawing/2014/main" id="{40BD55C2-330E-3359-E607-0612210362C1}"/>
              </a:ext>
            </a:extLst>
          </p:cNvPr>
          <p:cNvGrpSpPr/>
          <p:nvPr/>
        </p:nvGrpSpPr>
        <p:grpSpPr>
          <a:xfrm>
            <a:off x="234547" y="7342788"/>
            <a:ext cx="11709360" cy="4900966"/>
            <a:chOff x="234547" y="338873"/>
            <a:chExt cx="11709360" cy="4900966"/>
          </a:xfrm>
        </p:grpSpPr>
        <p:cxnSp>
          <p:nvCxnSpPr>
            <p:cNvPr id="288" name="Straight Connector 287">
              <a:extLst>
                <a:ext uri="{FF2B5EF4-FFF2-40B4-BE49-F238E27FC236}">
                  <a16:creationId xmlns:a16="http://schemas.microsoft.com/office/drawing/2014/main" id="{C6CDAFE0-B504-DD58-BB39-D68A4869552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289" name="Oval 288">
              <a:extLst>
                <a:ext uri="{FF2B5EF4-FFF2-40B4-BE49-F238E27FC236}">
                  <a16:creationId xmlns:a16="http://schemas.microsoft.com/office/drawing/2014/main" id="{7276CCCD-6AB5-9637-F89D-F0390F47439A}"/>
                </a:ext>
              </a:extLst>
            </p:cNvPr>
            <p:cNvSpPr/>
            <p:nvPr/>
          </p:nvSpPr>
          <p:spPr>
            <a:xfrm>
              <a:off x="5842207" y="338873"/>
              <a:ext cx="507586" cy="507586"/>
            </a:xfrm>
            <a:prstGeom prst="ellipse">
              <a:avLst/>
            </a:prstGeom>
            <a:blipFill dpi="0" rotWithShape="0">
              <a:blip r:embed="rId2">
                <a:lum/>
              </a:blip>
              <a:srcRect/>
              <a:stretch>
                <a:fillRect l="-1922467" t="-367961" r="-379491"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290" name="Graphic 289">
              <a:extLst>
                <a:ext uri="{FF2B5EF4-FFF2-40B4-BE49-F238E27FC236}">
                  <a16:creationId xmlns:a16="http://schemas.microsoft.com/office/drawing/2014/main" id="{FD372D03-EECF-FBBE-B46F-948E892C94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291" name="TextBox 290">
              <a:extLst>
                <a:ext uri="{FF2B5EF4-FFF2-40B4-BE49-F238E27FC236}">
                  <a16:creationId xmlns:a16="http://schemas.microsoft.com/office/drawing/2014/main" id="{2BD64E14-F291-FCCC-2A7B-B732C0E89E46}"/>
                </a:ext>
              </a:extLst>
            </p:cNvPr>
            <p:cNvSpPr txBox="1"/>
            <p:nvPr/>
          </p:nvSpPr>
          <p:spPr>
            <a:xfrm>
              <a:off x="2359185"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EO</a:t>
              </a:r>
              <a:endParaRPr lang="en-GB" sz="1600">
                <a:solidFill>
                  <a:schemeClr val="bg1"/>
                </a:solidFill>
                <a:latin typeface="Darker Grotesque" pitchFamily="2" charset="0"/>
              </a:endParaRPr>
            </a:p>
          </p:txBody>
        </p:sp>
        <p:sp>
          <p:nvSpPr>
            <p:cNvPr id="292" name="TextBox 291">
              <a:extLst>
                <a:ext uri="{FF2B5EF4-FFF2-40B4-BE49-F238E27FC236}">
                  <a16:creationId xmlns:a16="http://schemas.microsoft.com/office/drawing/2014/main" id="{1D6ACFF2-4AB2-29B4-8CBF-7F0716EA29D4}"/>
                </a:ext>
              </a:extLst>
            </p:cNvPr>
            <p:cNvSpPr txBox="1"/>
            <p:nvPr/>
          </p:nvSpPr>
          <p:spPr>
            <a:xfrm>
              <a:off x="2403123" y="4671889"/>
              <a:ext cx="846706" cy="275332"/>
            </a:xfrm>
            <a:prstGeom prst="rect">
              <a:avLst/>
            </a:prstGeom>
            <a:noFill/>
          </p:spPr>
          <p:txBody>
            <a:bodyPr wrap="none" rtlCol="0">
              <a:spAutoFit/>
            </a:bodyPr>
            <a:lstStyle/>
            <a:p>
              <a:pPr algn="ctr">
                <a:lnSpc>
                  <a:spcPct val="70000"/>
                </a:lnSpc>
              </a:pPr>
              <a:r>
                <a:rPr lang="en-US" sz="1600">
                  <a:solidFill>
                    <a:schemeClr val="bg1"/>
                  </a:solidFill>
                  <a:latin typeface="+mj-lt"/>
                </a:rPr>
                <a:t>Obi Wan</a:t>
              </a:r>
              <a:endParaRPr lang="en-GB" sz="1600">
                <a:solidFill>
                  <a:schemeClr val="bg1"/>
                </a:solidFill>
                <a:latin typeface="+mj-lt"/>
              </a:endParaRPr>
            </a:p>
          </p:txBody>
        </p:sp>
        <p:sp>
          <p:nvSpPr>
            <p:cNvPr id="293" name="Rounded Rectangle 24">
              <a:extLst>
                <a:ext uri="{FF2B5EF4-FFF2-40B4-BE49-F238E27FC236}">
                  <a16:creationId xmlns:a16="http://schemas.microsoft.com/office/drawing/2014/main" id="{340780BC-6989-5F24-8C34-BCE8F38A435C}"/>
                </a:ext>
              </a:extLst>
            </p:cNvPr>
            <p:cNvSpPr/>
            <p:nvPr/>
          </p:nvSpPr>
          <p:spPr>
            <a:xfrm>
              <a:off x="2143125"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294" name="Freeform: Shape 293">
              <a:extLst>
                <a:ext uri="{FF2B5EF4-FFF2-40B4-BE49-F238E27FC236}">
                  <a16:creationId xmlns:a16="http://schemas.microsoft.com/office/drawing/2014/main" id="{CA81D347-D0B1-35F7-EA5C-1C58B907967E}"/>
                </a:ext>
              </a:extLst>
            </p:cNvPr>
            <p:cNvSpPr/>
            <p:nvPr/>
          </p:nvSpPr>
          <p:spPr>
            <a:xfrm>
              <a:off x="2728339" y="3422713"/>
              <a:ext cx="272746" cy="137467"/>
            </a:xfrm>
            <a:custGeom>
              <a:avLst/>
              <a:gdLst>
                <a:gd name="connsiteX0" fmla="*/ 269204 w 272746"/>
                <a:gd name="connsiteY0" fmla="*/ 135867 h 137467"/>
                <a:gd name="connsiteX1" fmla="*/ 255799 w 272746"/>
                <a:gd name="connsiteY1" fmla="*/ 65825 h 137467"/>
                <a:gd name="connsiteX2" fmla="*/ 234748 w 272746"/>
                <a:gd name="connsiteY2" fmla="*/ 26021 h 137467"/>
                <a:gd name="connsiteX3" fmla="*/ 133084 w 272746"/>
                <a:gd name="connsiteY3" fmla="*/ 2192 h 137467"/>
                <a:gd name="connsiteX4" fmla="*/ 55350 w 272746"/>
                <a:gd name="connsiteY4" fmla="*/ 11850 h 137467"/>
                <a:gd name="connsiteX5" fmla="*/ 6679 w 272746"/>
                <a:gd name="connsiteY5" fmla="*/ 56619 h 137467"/>
                <a:gd name="connsiteX6" fmla="*/ 19543 w 272746"/>
                <a:gd name="connsiteY6" fmla="*/ 89294 h 137467"/>
                <a:gd name="connsiteX7" fmla="*/ 269204 w 272746"/>
                <a:gd name="connsiteY7" fmla="*/ 135867 h 1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746" h="137467">
                  <a:moveTo>
                    <a:pt x="269204" y="135867"/>
                  </a:moveTo>
                  <a:cubicBezTo>
                    <a:pt x="288098" y="126841"/>
                    <a:pt x="265426" y="71061"/>
                    <a:pt x="255799" y="65825"/>
                  </a:cubicBezTo>
                  <a:cubicBezTo>
                    <a:pt x="248781" y="62035"/>
                    <a:pt x="248871" y="35408"/>
                    <a:pt x="234748" y="26021"/>
                  </a:cubicBezTo>
                  <a:cubicBezTo>
                    <a:pt x="215674" y="13385"/>
                    <a:pt x="155126" y="3997"/>
                    <a:pt x="133084" y="2192"/>
                  </a:cubicBezTo>
                  <a:cubicBezTo>
                    <a:pt x="111941" y="477"/>
                    <a:pt x="75143" y="4088"/>
                    <a:pt x="55350" y="11850"/>
                  </a:cubicBezTo>
                  <a:cubicBezTo>
                    <a:pt x="31420" y="21147"/>
                    <a:pt x="17835" y="36671"/>
                    <a:pt x="6679" y="56619"/>
                  </a:cubicBezTo>
                  <a:cubicBezTo>
                    <a:pt x="-339" y="69166"/>
                    <a:pt x="5778" y="85050"/>
                    <a:pt x="19543" y="89294"/>
                  </a:cubicBezTo>
                  <a:cubicBezTo>
                    <a:pt x="80002" y="107887"/>
                    <a:pt x="231328" y="151662"/>
                    <a:pt x="269204" y="13586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295" name="Freeform: Shape 294">
              <a:extLst>
                <a:ext uri="{FF2B5EF4-FFF2-40B4-BE49-F238E27FC236}">
                  <a16:creationId xmlns:a16="http://schemas.microsoft.com/office/drawing/2014/main" id="{A51F89A1-85B5-CD2F-0079-23EB5B06185C}"/>
                </a:ext>
              </a:extLst>
            </p:cNvPr>
            <p:cNvSpPr/>
            <p:nvPr/>
          </p:nvSpPr>
          <p:spPr>
            <a:xfrm>
              <a:off x="2230908" y="3454441"/>
              <a:ext cx="1115774" cy="1010020"/>
            </a:xfrm>
            <a:custGeom>
              <a:avLst/>
              <a:gdLst>
                <a:gd name="connsiteX0" fmla="*/ 644100 w 1115774"/>
                <a:gd name="connsiteY0" fmla="*/ 1011793 h 1010020"/>
                <a:gd name="connsiteX1" fmla="*/ 496821 w 1115774"/>
                <a:gd name="connsiteY1" fmla="*/ 1007551 h 1010020"/>
                <a:gd name="connsiteX2" fmla="*/ 385890 w 1115774"/>
                <a:gd name="connsiteY2" fmla="*/ 1002948 h 1010020"/>
                <a:gd name="connsiteX3" fmla="*/ 297904 w 1115774"/>
                <a:gd name="connsiteY3" fmla="*/ 1002858 h 1010020"/>
                <a:gd name="connsiteX4" fmla="*/ 282339 w 1115774"/>
                <a:gd name="connsiteY4" fmla="*/ 1001865 h 1010020"/>
                <a:gd name="connsiteX5" fmla="*/ 64885 w 1115774"/>
                <a:gd name="connsiteY5" fmla="*/ 990763 h 1010020"/>
                <a:gd name="connsiteX6" fmla="*/ 40775 w 1115774"/>
                <a:gd name="connsiteY6" fmla="*/ 996269 h 1010020"/>
                <a:gd name="connsiteX7" fmla="*/ 10364 w 1115774"/>
                <a:gd name="connsiteY7" fmla="*/ 902308 h 1010020"/>
                <a:gd name="connsiteX8" fmla="*/ 12794 w 1115774"/>
                <a:gd name="connsiteY8" fmla="*/ 637666 h 1010020"/>
                <a:gd name="connsiteX9" fmla="*/ 90077 w 1115774"/>
                <a:gd name="connsiteY9" fmla="*/ 307495 h 1010020"/>
                <a:gd name="connsiteX10" fmla="*/ 155304 w 1115774"/>
                <a:gd name="connsiteY10" fmla="*/ 202341 h 1010020"/>
                <a:gd name="connsiteX11" fmla="*/ 212972 w 1115774"/>
                <a:gd name="connsiteY11" fmla="*/ 160281 h 1010020"/>
                <a:gd name="connsiteX12" fmla="*/ 236185 w 1115774"/>
                <a:gd name="connsiteY12" fmla="*/ 131037 h 1010020"/>
                <a:gd name="connsiteX13" fmla="*/ 271992 w 1115774"/>
                <a:gd name="connsiteY13" fmla="*/ 116866 h 1010020"/>
                <a:gd name="connsiteX14" fmla="*/ 298802 w 1115774"/>
                <a:gd name="connsiteY14" fmla="*/ 93489 h 1010020"/>
                <a:gd name="connsiteX15" fmla="*/ 327771 w 1115774"/>
                <a:gd name="connsiteY15" fmla="*/ 84643 h 1010020"/>
                <a:gd name="connsiteX16" fmla="*/ 440051 w 1115774"/>
                <a:gd name="connsiteY16" fmla="*/ 46463 h 1010020"/>
                <a:gd name="connsiteX17" fmla="*/ 473699 w 1115774"/>
                <a:gd name="connsiteY17" fmla="*/ 36444 h 1010020"/>
                <a:gd name="connsiteX18" fmla="*/ 499521 w 1115774"/>
                <a:gd name="connsiteY18" fmla="*/ 13879 h 1010020"/>
                <a:gd name="connsiteX19" fmla="*/ 546484 w 1115774"/>
                <a:gd name="connsiteY19" fmla="*/ 11803 h 1010020"/>
                <a:gd name="connsiteX20" fmla="*/ 737576 w 1115774"/>
                <a:gd name="connsiteY20" fmla="*/ 33194 h 1010020"/>
                <a:gd name="connsiteX21" fmla="*/ 780671 w 1115774"/>
                <a:gd name="connsiteY21" fmla="*/ 35541 h 1010020"/>
                <a:gd name="connsiteX22" fmla="*/ 803073 w 1115774"/>
                <a:gd name="connsiteY22" fmla="*/ 86087 h 1010020"/>
                <a:gd name="connsiteX23" fmla="*/ 826195 w 1115774"/>
                <a:gd name="connsiteY23" fmla="*/ 91593 h 1010020"/>
                <a:gd name="connsiteX24" fmla="*/ 846976 w 1115774"/>
                <a:gd name="connsiteY24" fmla="*/ 102334 h 1010020"/>
                <a:gd name="connsiteX25" fmla="*/ 859393 w 1115774"/>
                <a:gd name="connsiteY25" fmla="*/ 109915 h 1010020"/>
                <a:gd name="connsiteX26" fmla="*/ 1042836 w 1115774"/>
                <a:gd name="connsiteY26" fmla="*/ 313452 h 1010020"/>
                <a:gd name="connsiteX27" fmla="*/ 1062899 w 1115774"/>
                <a:gd name="connsiteY27" fmla="*/ 384938 h 1010020"/>
                <a:gd name="connsiteX28" fmla="*/ 1078555 w 1115774"/>
                <a:gd name="connsiteY28" fmla="*/ 492527 h 1010020"/>
                <a:gd name="connsiteX29" fmla="*/ 1077655 w 1115774"/>
                <a:gd name="connsiteY29" fmla="*/ 553453 h 1010020"/>
                <a:gd name="connsiteX30" fmla="*/ 1088270 w 1115774"/>
                <a:gd name="connsiteY30" fmla="*/ 586579 h 1010020"/>
                <a:gd name="connsiteX31" fmla="*/ 1085213 w 1115774"/>
                <a:gd name="connsiteY31" fmla="*/ 640373 h 1010020"/>
                <a:gd name="connsiteX32" fmla="*/ 1106264 w 1115774"/>
                <a:gd name="connsiteY32" fmla="*/ 807354 h 1010020"/>
                <a:gd name="connsiteX33" fmla="*/ 1106264 w 1115774"/>
                <a:gd name="connsiteY33" fmla="*/ 911965 h 1010020"/>
                <a:gd name="connsiteX34" fmla="*/ 1107615 w 1115774"/>
                <a:gd name="connsiteY34" fmla="*/ 921895 h 1010020"/>
                <a:gd name="connsiteX35" fmla="*/ 1112381 w 1115774"/>
                <a:gd name="connsiteY35" fmla="*/ 930740 h 1010020"/>
                <a:gd name="connsiteX36" fmla="*/ 1112381 w 1115774"/>
                <a:gd name="connsiteY36" fmla="*/ 930740 h 1010020"/>
                <a:gd name="connsiteX37" fmla="*/ 1091510 w 1115774"/>
                <a:gd name="connsiteY37" fmla="*/ 977313 h 1010020"/>
                <a:gd name="connsiteX38" fmla="*/ 994434 w 1115774"/>
                <a:gd name="connsiteY38" fmla="*/ 990852 h 1010020"/>
                <a:gd name="connsiteX39" fmla="*/ 979859 w 1115774"/>
                <a:gd name="connsiteY39" fmla="*/ 992568 h 1010020"/>
                <a:gd name="connsiteX40" fmla="*/ 949270 w 1115774"/>
                <a:gd name="connsiteY40" fmla="*/ 996449 h 1010020"/>
                <a:gd name="connsiteX41" fmla="*/ 949270 w 1115774"/>
                <a:gd name="connsiteY41" fmla="*/ 996449 h 1010020"/>
                <a:gd name="connsiteX42" fmla="*/ 883864 w 1115774"/>
                <a:gd name="connsiteY42" fmla="*/ 996900 h 1010020"/>
                <a:gd name="connsiteX43" fmla="*/ 819447 w 1115774"/>
                <a:gd name="connsiteY43" fmla="*/ 999066 h 1010020"/>
                <a:gd name="connsiteX44" fmla="*/ 819447 w 1115774"/>
                <a:gd name="connsiteY44" fmla="*/ 999066 h 1010020"/>
                <a:gd name="connsiteX45" fmla="*/ 644100 w 1115774"/>
                <a:gd name="connsiteY45" fmla="*/ 1011793 h 10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5774" h="1010020">
                  <a:moveTo>
                    <a:pt x="644100" y="1011793"/>
                  </a:moveTo>
                  <a:cubicBezTo>
                    <a:pt x="595966" y="1011793"/>
                    <a:pt x="549454" y="1009898"/>
                    <a:pt x="496821" y="1007551"/>
                  </a:cubicBezTo>
                  <a:cubicBezTo>
                    <a:pt x="455976" y="1007551"/>
                    <a:pt x="424577" y="996178"/>
                    <a:pt x="385890" y="1002948"/>
                  </a:cubicBezTo>
                  <a:cubicBezTo>
                    <a:pt x="355482" y="1011793"/>
                    <a:pt x="329660" y="1004843"/>
                    <a:pt x="297904" y="1002858"/>
                  </a:cubicBezTo>
                  <a:cubicBezTo>
                    <a:pt x="297453" y="1002767"/>
                    <a:pt x="283058" y="1001955"/>
                    <a:pt x="282339" y="1001865"/>
                  </a:cubicBezTo>
                  <a:cubicBezTo>
                    <a:pt x="209645" y="999066"/>
                    <a:pt x="137760" y="991846"/>
                    <a:pt x="64885" y="990763"/>
                  </a:cubicBezTo>
                  <a:cubicBezTo>
                    <a:pt x="63086" y="1001955"/>
                    <a:pt x="46442" y="1007732"/>
                    <a:pt x="40775" y="996269"/>
                  </a:cubicBezTo>
                  <a:cubicBezTo>
                    <a:pt x="26739" y="965580"/>
                    <a:pt x="16664" y="935163"/>
                    <a:pt x="10364" y="902308"/>
                  </a:cubicBezTo>
                  <a:cubicBezTo>
                    <a:pt x="-5380" y="814936"/>
                    <a:pt x="11805" y="725670"/>
                    <a:pt x="12794" y="637666"/>
                  </a:cubicBezTo>
                  <a:cubicBezTo>
                    <a:pt x="13784" y="520960"/>
                    <a:pt x="35105" y="412286"/>
                    <a:pt x="90077" y="307495"/>
                  </a:cubicBezTo>
                  <a:cubicBezTo>
                    <a:pt x="107890" y="270579"/>
                    <a:pt x="125974" y="231857"/>
                    <a:pt x="155304" y="202341"/>
                  </a:cubicBezTo>
                  <a:cubicBezTo>
                    <a:pt x="171949" y="184922"/>
                    <a:pt x="192549" y="172647"/>
                    <a:pt x="212972" y="160281"/>
                  </a:cubicBezTo>
                  <a:cubicBezTo>
                    <a:pt x="223500" y="152970"/>
                    <a:pt x="227188" y="139792"/>
                    <a:pt x="236185" y="131037"/>
                  </a:cubicBezTo>
                  <a:cubicBezTo>
                    <a:pt x="245452" y="120476"/>
                    <a:pt x="260115" y="121650"/>
                    <a:pt x="271992" y="116866"/>
                  </a:cubicBezTo>
                  <a:cubicBezTo>
                    <a:pt x="282427" y="110818"/>
                    <a:pt x="288366" y="99806"/>
                    <a:pt x="298802" y="93489"/>
                  </a:cubicBezTo>
                  <a:cubicBezTo>
                    <a:pt x="307529" y="87802"/>
                    <a:pt x="317876" y="86177"/>
                    <a:pt x="327771" y="84643"/>
                  </a:cubicBezTo>
                  <a:cubicBezTo>
                    <a:pt x="366728" y="78595"/>
                    <a:pt x="404064" y="62259"/>
                    <a:pt x="440051" y="46463"/>
                  </a:cubicBezTo>
                  <a:cubicBezTo>
                    <a:pt x="450759" y="41950"/>
                    <a:pt x="461645" y="35541"/>
                    <a:pt x="473699" y="36444"/>
                  </a:cubicBezTo>
                  <a:cubicBezTo>
                    <a:pt x="488815" y="40145"/>
                    <a:pt x="488815" y="19655"/>
                    <a:pt x="499521" y="13879"/>
                  </a:cubicBezTo>
                  <a:cubicBezTo>
                    <a:pt x="508968" y="1694"/>
                    <a:pt x="537487" y="-4895"/>
                    <a:pt x="546484" y="11803"/>
                  </a:cubicBezTo>
                  <a:cubicBezTo>
                    <a:pt x="608831" y="27057"/>
                    <a:pt x="673069" y="41228"/>
                    <a:pt x="737576" y="33194"/>
                  </a:cubicBezTo>
                  <a:cubicBezTo>
                    <a:pt x="745762" y="13609"/>
                    <a:pt x="776172" y="11803"/>
                    <a:pt x="780671" y="35541"/>
                  </a:cubicBezTo>
                  <a:cubicBezTo>
                    <a:pt x="794346" y="48900"/>
                    <a:pt x="791827" y="71645"/>
                    <a:pt x="803073" y="86087"/>
                  </a:cubicBezTo>
                  <a:cubicBezTo>
                    <a:pt x="809010" y="91322"/>
                    <a:pt x="818817" y="89247"/>
                    <a:pt x="826195" y="91593"/>
                  </a:cubicBezTo>
                  <a:cubicBezTo>
                    <a:pt x="833661" y="93939"/>
                    <a:pt x="840408" y="98182"/>
                    <a:pt x="846976" y="102334"/>
                  </a:cubicBezTo>
                  <a:cubicBezTo>
                    <a:pt x="847516" y="102695"/>
                    <a:pt x="858852" y="109645"/>
                    <a:pt x="859393" y="109915"/>
                  </a:cubicBezTo>
                  <a:cubicBezTo>
                    <a:pt x="936766" y="154324"/>
                    <a:pt x="1029251" y="218137"/>
                    <a:pt x="1042836" y="313452"/>
                  </a:cubicBezTo>
                  <a:cubicBezTo>
                    <a:pt x="1041668" y="339808"/>
                    <a:pt x="1061640" y="359394"/>
                    <a:pt x="1062899" y="384938"/>
                  </a:cubicBezTo>
                  <a:cubicBezTo>
                    <a:pt x="1067757" y="421042"/>
                    <a:pt x="1058400" y="460395"/>
                    <a:pt x="1078555" y="492527"/>
                  </a:cubicBezTo>
                  <a:cubicBezTo>
                    <a:pt x="1086922" y="512295"/>
                    <a:pt x="1077745" y="533235"/>
                    <a:pt x="1077655" y="553453"/>
                  </a:cubicBezTo>
                  <a:cubicBezTo>
                    <a:pt x="1077655" y="565458"/>
                    <a:pt x="1084853" y="575567"/>
                    <a:pt x="1088270" y="586579"/>
                  </a:cubicBezTo>
                  <a:cubicBezTo>
                    <a:pt x="1093759" y="604450"/>
                    <a:pt x="1086021" y="622412"/>
                    <a:pt x="1085213" y="640373"/>
                  </a:cubicBezTo>
                  <a:cubicBezTo>
                    <a:pt x="1087372" y="696245"/>
                    <a:pt x="1104285" y="753198"/>
                    <a:pt x="1106264" y="807354"/>
                  </a:cubicBezTo>
                  <a:cubicBezTo>
                    <a:pt x="1108603" y="842375"/>
                    <a:pt x="1108693" y="877306"/>
                    <a:pt x="1106264" y="911965"/>
                  </a:cubicBezTo>
                  <a:cubicBezTo>
                    <a:pt x="1106264" y="912507"/>
                    <a:pt x="1106264" y="918103"/>
                    <a:pt x="1107615" y="921895"/>
                  </a:cubicBezTo>
                  <a:cubicBezTo>
                    <a:pt x="1108783" y="925053"/>
                    <a:pt x="1110582" y="927941"/>
                    <a:pt x="1112381" y="930740"/>
                  </a:cubicBezTo>
                  <a:lnTo>
                    <a:pt x="1112381" y="930740"/>
                  </a:lnTo>
                  <a:cubicBezTo>
                    <a:pt x="1127858" y="951680"/>
                    <a:pt x="1116970" y="974787"/>
                    <a:pt x="1091510" y="977313"/>
                  </a:cubicBezTo>
                  <a:cubicBezTo>
                    <a:pt x="1058761" y="983361"/>
                    <a:pt x="1024662" y="987333"/>
                    <a:pt x="994434" y="990852"/>
                  </a:cubicBezTo>
                  <a:cubicBezTo>
                    <a:pt x="993804" y="990943"/>
                    <a:pt x="980489" y="992477"/>
                    <a:pt x="979859" y="992568"/>
                  </a:cubicBezTo>
                  <a:cubicBezTo>
                    <a:pt x="971312" y="993560"/>
                    <a:pt x="958447" y="995095"/>
                    <a:pt x="949270" y="996449"/>
                  </a:cubicBezTo>
                  <a:lnTo>
                    <a:pt x="949270" y="996449"/>
                  </a:lnTo>
                  <a:cubicBezTo>
                    <a:pt x="927589" y="999969"/>
                    <a:pt x="905455" y="1001684"/>
                    <a:pt x="883864" y="996900"/>
                  </a:cubicBezTo>
                  <a:cubicBezTo>
                    <a:pt x="862720" y="991665"/>
                    <a:pt x="840498" y="995005"/>
                    <a:pt x="819447" y="999066"/>
                  </a:cubicBezTo>
                  <a:lnTo>
                    <a:pt x="819447" y="999066"/>
                  </a:lnTo>
                  <a:cubicBezTo>
                    <a:pt x="760518" y="1009266"/>
                    <a:pt x="706627" y="1011522"/>
                    <a:pt x="644100" y="1011793"/>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nvGrpSpPr>
            <p:cNvPr id="296" name="Graphic 33" descr="Person wearing sweater">
              <a:extLst>
                <a:ext uri="{FF2B5EF4-FFF2-40B4-BE49-F238E27FC236}">
                  <a16:creationId xmlns:a16="http://schemas.microsoft.com/office/drawing/2014/main" id="{B5BD1296-93C0-1684-AE9F-A4424EFE165A}"/>
                </a:ext>
              </a:extLst>
            </p:cNvPr>
            <p:cNvGrpSpPr/>
            <p:nvPr/>
          </p:nvGrpSpPr>
          <p:grpSpPr>
            <a:xfrm>
              <a:off x="2484484" y="4181716"/>
              <a:ext cx="735341" cy="278725"/>
              <a:chOff x="2484484" y="4298660"/>
              <a:chExt cx="735341" cy="278725"/>
            </a:xfrm>
            <a:solidFill>
              <a:srgbClr val="FFFFFF"/>
            </a:solidFill>
          </p:grpSpPr>
          <p:sp>
            <p:nvSpPr>
              <p:cNvPr id="423" name="Freeform: Shape 422">
                <a:extLst>
                  <a:ext uri="{FF2B5EF4-FFF2-40B4-BE49-F238E27FC236}">
                    <a16:creationId xmlns:a16="http://schemas.microsoft.com/office/drawing/2014/main" id="{33D7DF37-2D48-D90C-1B78-03ED279E922B}"/>
                  </a:ext>
                </a:extLst>
              </p:cNvPr>
              <p:cNvSpPr/>
              <p:nvPr/>
            </p:nvSpPr>
            <p:spPr>
              <a:xfrm>
                <a:off x="2484484" y="4298660"/>
                <a:ext cx="39170" cy="278725"/>
              </a:xfrm>
              <a:custGeom>
                <a:avLst/>
                <a:gdLst>
                  <a:gd name="connsiteX0" fmla="*/ 42887 w 39170"/>
                  <a:gd name="connsiteY0" fmla="*/ 275492 h 278725"/>
                  <a:gd name="connsiteX1" fmla="*/ 13647 w 39170"/>
                  <a:gd name="connsiteY1" fmla="*/ 7149 h 278725"/>
                  <a:gd name="connsiteX2" fmla="*/ 3752 w 39170"/>
                  <a:gd name="connsiteY2" fmla="*/ 3358 h 278725"/>
                  <a:gd name="connsiteX3" fmla="*/ 30922 w 39170"/>
                  <a:gd name="connsiteY3" fmla="*/ 274680 h 278725"/>
                  <a:gd name="connsiteX4" fmla="*/ 37580 w 39170"/>
                  <a:gd name="connsiteY4" fmla="*/ 280366 h 278725"/>
                  <a:gd name="connsiteX5" fmla="*/ 42887 w 39170"/>
                  <a:gd name="connsiteY5" fmla="*/ 275492 h 27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70" h="278725">
                    <a:moveTo>
                      <a:pt x="42887" y="275492"/>
                    </a:moveTo>
                    <a:cubicBezTo>
                      <a:pt x="14368" y="189835"/>
                      <a:pt x="17965" y="96507"/>
                      <a:pt x="13647" y="7149"/>
                    </a:cubicBezTo>
                    <a:cubicBezTo>
                      <a:pt x="13647" y="2275"/>
                      <a:pt x="7080" y="19"/>
                      <a:pt x="3752" y="3358"/>
                    </a:cubicBezTo>
                    <a:cubicBezTo>
                      <a:pt x="4200" y="92987"/>
                      <a:pt x="4380" y="187579"/>
                      <a:pt x="30922" y="274680"/>
                    </a:cubicBezTo>
                    <a:cubicBezTo>
                      <a:pt x="30922" y="274680"/>
                      <a:pt x="32811" y="279553"/>
                      <a:pt x="37580" y="280366"/>
                    </a:cubicBezTo>
                    <a:cubicBezTo>
                      <a:pt x="43697" y="281450"/>
                      <a:pt x="42887" y="275492"/>
                      <a:pt x="42887" y="27549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4" name="Freeform: Shape 423">
                <a:extLst>
                  <a:ext uri="{FF2B5EF4-FFF2-40B4-BE49-F238E27FC236}">
                    <a16:creationId xmlns:a16="http://schemas.microsoft.com/office/drawing/2014/main" id="{523103AF-36A9-E157-4C6E-39E1D696CD3B}"/>
                  </a:ext>
                </a:extLst>
              </p:cNvPr>
              <p:cNvSpPr/>
              <p:nvPr/>
            </p:nvSpPr>
            <p:spPr>
              <a:xfrm>
                <a:off x="3191779" y="4390311"/>
                <a:ext cx="28046" cy="175771"/>
              </a:xfrm>
              <a:custGeom>
                <a:avLst/>
                <a:gdLst>
                  <a:gd name="connsiteX0" fmla="*/ 31765 w 28046"/>
                  <a:gd name="connsiteY0" fmla="*/ 172107 h 175771"/>
                  <a:gd name="connsiteX1" fmla="*/ 14940 w 28046"/>
                  <a:gd name="connsiteY1" fmla="*/ 7022 h 175771"/>
                  <a:gd name="connsiteX2" fmla="*/ 3784 w 28046"/>
                  <a:gd name="connsiteY2" fmla="*/ 7022 h 175771"/>
                  <a:gd name="connsiteX3" fmla="*/ 20789 w 28046"/>
                  <a:gd name="connsiteY3" fmla="*/ 173461 h 175771"/>
                  <a:gd name="connsiteX4" fmla="*/ 27266 w 28046"/>
                  <a:gd name="connsiteY4" fmla="*/ 177433 h 175771"/>
                  <a:gd name="connsiteX5" fmla="*/ 31765 w 28046"/>
                  <a:gd name="connsiteY5" fmla="*/ 172107 h 17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6" h="175771">
                    <a:moveTo>
                      <a:pt x="31765" y="172107"/>
                    </a:moveTo>
                    <a:cubicBezTo>
                      <a:pt x="24477" y="123908"/>
                      <a:pt x="18808" y="57206"/>
                      <a:pt x="14940" y="7022"/>
                    </a:cubicBezTo>
                    <a:cubicBezTo>
                      <a:pt x="14850" y="343"/>
                      <a:pt x="3063" y="-289"/>
                      <a:pt x="3784" y="7022"/>
                    </a:cubicBezTo>
                    <a:cubicBezTo>
                      <a:pt x="8012" y="61269"/>
                      <a:pt x="13321" y="122916"/>
                      <a:pt x="20789" y="173461"/>
                    </a:cubicBezTo>
                    <a:cubicBezTo>
                      <a:pt x="20789" y="173461"/>
                      <a:pt x="22047" y="178335"/>
                      <a:pt x="27266" y="177433"/>
                    </a:cubicBezTo>
                    <a:cubicBezTo>
                      <a:pt x="32483" y="176620"/>
                      <a:pt x="31765" y="172107"/>
                      <a:pt x="31765" y="17210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grpSp>
          <p:nvGrpSpPr>
            <p:cNvPr id="297" name="Graphic 33" descr="Person wearing sweater">
              <a:extLst>
                <a:ext uri="{FF2B5EF4-FFF2-40B4-BE49-F238E27FC236}">
                  <a16:creationId xmlns:a16="http://schemas.microsoft.com/office/drawing/2014/main" id="{3721D15E-F9F1-D125-4B8A-4352084BAC67}"/>
                </a:ext>
              </a:extLst>
            </p:cNvPr>
            <p:cNvGrpSpPr/>
            <p:nvPr/>
          </p:nvGrpSpPr>
          <p:grpSpPr>
            <a:xfrm>
              <a:off x="2322462" y="3555546"/>
              <a:ext cx="1012449" cy="848997"/>
              <a:chOff x="2322462" y="3672490"/>
              <a:chExt cx="1012449" cy="848997"/>
            </a:xfrm>
            <a:solidFill>
              <a:srgbClr val="FFFFFF"/>
            </a:solidFill>
          </p:grpSpPr>
          <p:sp>
            <p:nvSpPr>
              <p:cNvPr id="388" name="Freeform: Shape 387">
                <a:extLst>
                  <a:ext uri="{FF2B5EF4-FFF2-40B4-BE49-F238E27FC236}">
                    <a16:creationId xmlns:a16="http://schemas.microsoft.com/office/drawing/2014/main" id="{87188363-4734-D9C3-5642-3CA684202B23}"/>
                  </a:ext>
                </a:extLst>
              </p:cNvPr>
              <p:cNvSpPr/>
              <p:nvPr/>
            </p:nvSpPr>
            <p:spPr>
              <a:xfrm>
                <a:off x="2637042" y="4503330"/>
                <a:ext cx="22938" cy="18157"/>
              </a:xfrm>
              <a:custGeom>
                <a:avLst/>
                <a:gdLst>
                  <a:gd name="connsiteX0" fmla="*/ 21323 w 22938"/>
                  <a:gd name="connsiteY0" fmla="*/ 1773 h 18157"/>
                  <a:gd name="connsiteX1" fmla="*/ 17275 w 22938"/>
                  <a:gd name="connsiteY1" fmla="*/ 3037 h 18157"/>
                  <a:gd name="connsiteX2" fmla="*/ 3960 w 22938"/>
                  <a:gd name="connsiteY2" fmla="*/ 16214 h 18157"/>
                  <a:gd name="connsiteX3" fmla="*/ 21863 w 22938"/>
                  <a:gd name="connsiteY3" fmla="*/ 13146 h 18157"/>
                  <a:gd name="connsiteX4" fmla="*/ 21323 w 22938"/>
                  <a:gd name="connsiteY4" fmla="*/ 1773 h 18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8" h="18157">
                    <a:moveTo>
                      <a:pt x="21323" y="1773"/>
                    </a:moveTo>
                    <a:cubicBezTo>
                      <a:pt x="19884" y="1773"/>
                      <a:pt x="18533" y="2405"/>
                      <a:pt x="17275" y="3037"/>
                    </a:cubicBezTo>
                    <a:cubicBezTo>
                      <a:pt x="12506" y="6015"/>
                      <a:pt x="2161" y="9085"/>
                      <a:pt x="3960" y="16214"/>
                    </a:cubicBezTo>
                    <a:cubicBezTo>
                      <a:pt x="8548" y="25331"/>
                      <a:pt x="16014" y="15041"/>
                      <a:pt x="21863" y="13146"/>
                    </a:cubicBezTo>
                    <a:cubicBezTo>
                      <a:pt x="28431" y="11882"/>
                      <a:pt x="28341" y="1863"/>
                      <a:pt x="2132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89" name="Freeform: Shape 388">
                <a:extLst>
                  <a:ext uri="{FF2B5EF4-FFF2-40B4-BE49-F238E27FC236}">
                    <a16:creationId xmlns:a16="http://schemas.microsoft.com/office/drawing/2014/main" id="{EF8C9EAE-316A-808F-1EC2-53BDEAC0D51A}"/>
                  </a:ext>
                </a:extLst>
              </p:cNvPr>
              <p:cNvSpPr/>
              <p:nvPr/>
            </p:nvSpPr>
            <p:spPr>
              <a:xfrm>
                <a:off x="2793401" y="4498367"/>
                <a:ext cx="32260" cy="16224"/>
              </a:xfrm>
              <a:custGeom>
                <a:avLst/>
                <a:gdLst>
                  <a:gd name="connsiteX0" fmla="*/ 8642 w 32260"/>
                  <a:gd name="connsiteY0" fmla="*/ 1773 h 16224"/>
                  <a:gd name="connsiteX1" fmla="*/ 7563 w 32260"/>
                  <a:gd name="connsiteY1" fmla="*/ 12784 h 16224"/>
                  <a:gd name="connsiteX2" fmla="*/ 35992 w 32260"/>
                  <a:gd name="connsiteY2" fmla="*/ 12784 h 16224"/>
                  <a:gd name="connsiteX3" fmla="*/ 30593 w 32260"/>
                  <a:gd name="connsiteY3" fmla="*/ 6646 h 16224"/>
                  <a:gd name="connsiteX4" fmla="*/ 8642 w 32260"/>
                  <a:gd name="connsiteY4" fmla="*/ 1773 h 16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60" h="16224">
                    <a:moveTo>
                      <a:pt x="8642" y="1773"/>
                    </a:moveTo>
                    <a:cubicBezTo>
                      <a:pt x="2795" y="1862"/>
                      <a:pt x="1894" y="11340"/>
                      <a:pt x="7563" y="12784"/>
                    </a:cubicBezTo>
                    <a:cubicBezTo>
                      <a:pt x="14491" y="14318"/>
                      <a:pt x="34103" y="23706"/>
                      <a:pt x="35992" y="12784"/>
                    </a:cubicBezTo>
                    <a:cubicBezTo>
                      <a:pt x="36262" y="9715"/>
                      <a:pt x="33833" y="6556"/>
                      <a:pt x="30593" y="6646"/>
                    </a:cubicBezTo>
                    <a:cubicBezTo>
                      <a:pt x="22947" y="6737"/>
                      <a:pt x="15929" y="3397"/>
                      <a:pt x="8642"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0" name="Freeform: Shape 389">
                <a:extLst>
                  <a:ext uri="{FF2B5EF4-FFF2-40B4-BE49-F238E27FC236}">
                    <a16:creationId xmlns:a16="http://schemas.microsoft.com/office/drawing/2014/main" id="{FAA06C73-7AD8-7568-DFB3-842D4F3BE0B9}"/>
                  </a:ext>
                </a:extLst>
              </p:cNvPr>
              <p:cNvSpPr/>
              <p:nvPr/>
            </p:nvSpPr>
            <p:spPr>
              <a:xfrm>
                <a:off x="2327272" y="4455041"/>
                <a:ext cx="15739" cy="16001"/>
              </a:xfrm>
              <a:custGeom>
                <a:avLst/>
                <a:gdLst>
                  <a:gd name="connsiteX0" fmla="*/ 14136 w 15739"/>
                  <a:gd name="connsiteY0" fmla="*/ 1773 h 16001"/>
                  <a:gd name="connsiteX1" fmla="*/ 8467 w 15739"/>
                  <a:gd name="connsiteY1" fmla="*/ 6738 h 16001"/>
                  <a:gd name="connsiteX2" fmla="*/ 9187 w 15739"/>
                  <a:gd name="connsiteY2" fmla="*/ 17749 h 16001"/>
                  <a:gd name="connsiteX3" fmla="*/ 14136 w 15739"/>
                  <a:gd name="connsiteY3" fmla="*/ 1773 h 16001"/>
                  <a:gd name="connsiteX4" fmla="*/ 14136 w 15739"/>
                  <a:gd name="connsiteY4" fmla="*/ 1773 h 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9" h="16001">
                    <a:moveTo>
                      <a:pt x="14136" y="1773"/>
                    </a:moveTo>
                    <a:cubicBezTo>
                      <a:pt x="11346" y="1773"/>
                      <a:pt x="8827" y="3849"/>
                      <a:pt x="8467" y="6738"/>
                    </a:cubicBezTo>
                    <a:cubicBezTo>
                      <a:pt x="1719" y="7459"/>
                      <a:pt x="2440" y="17930"/>
                      <a:pt x="9187" y="17749"/>
                    </a:cubicBezTo>
                    <a:cubicBezTo>
                      <a:pt x="17554" y="18471"/>
                      <a:pt x="24842" y="3578"/>
                      <a:pt x="14136" y="1773"/>
                    </a:cubicBezTo>
                    <a:lnTo>
                      <a:pt x="14136"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1" name="Freeform: Shape 390">
                <a:extLst>
                  <a:ext uri="{FF2B5EF4-FFF2-40B4-BE49-F238E27FC236}">
                    <a16:creationId xmlns:a16="http://schemas.microsoft.com/office/drawing/2014/main" id="{F3E1946B-1D4C-ED07-030D-7A051DCA65A3}"/>
                  </a:ext>
                </a:extLst>
              </p:cNvPr>
              <p:cNvSpPr/>
              <p:nvPr/>
            </p:nvSpPr>
            <p:spPr>
              <a:xfrm>
                <a:off x="2956626" y="4438249"/>
                <a:ext cx="37076" cy="13687"/>
              </a:xfrm>
              <a:custGeom>
                <a:avLst/>
                <a:gdLst>
                  <a:gd name="connsiteX0" fmla="*/ 35610 w 37076"/>
                  <a:gd name="connsiteY0" fmla="*/ 1778 h 13687"/>
                  <a:gd name="connsiteX1" fmla="*/ 9158 w 37076"/>
                  <a:gd name="connsiteY1" fmla="*/ 4125 h 13687"/>
                  <a:gd name="connsiteX2" fmla="*/ 3761 w 37076"/>
                  <a:gd name="connsiteY2" fmla="*/ 9901 h 13687"/>
                  <a:gd name="connsiteX3" fmla="*/ 35520 w 37076"/>
                  <a:gd name="connsiteY3" fmla="*/ 12879 h 13687"/>
                  <a:gd name="connsiteX4" fmla="*/ 35610 w 37076"/>
                  <a:gd name="connsiteY4" fmla="*/ 1778 h 13687"/>
                  <a:gd name="connsiteX5" fmla="*/ 35610 w 37076"/>
                  <a:gd name="connsiteY5" fmla="*/ 177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76" h="13687">
                    <a:moveTo>
                      <a:pt x="35610" y="1778"/>
                    </a:moveTo>
                    <a:cubicBezTo>
                      <a:pt x="26791" y="1868"/>
                      <a:pt x="18065" y="3944"/>
                      <a:pt x="9158" y="4125"/>
                    </a:cubicBezTo>
                    <a:cubicBezTo>
                      <a:pt x="6100" y="4034"/>
                      <a:pt x="3581" y="6922"/>
                      <a:pt x="3761" y="9901"/>
                    </a:cubicBezTo>
                    <a:cubicBezTo>
                      <a:pt x="4569" y="21274"/>
                      <a:pt x="27692" y="11435"/>
                      <a:pt x="35520" y="12879"/>
                    </a:cubicBezTo>
                    <a:cubicBezTo>
                      <a:pt x="42448" y="13151"/>
                      <a:pt x="42716" y="1507"/>
                      <a:pt x="35610" y="1778"/>
                    </a:cubicBezTo>
                    <a:lnTo>
                      <a:pt x="35610" y="177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2" name="Freeform: Shape 391">
                <a:extLst>
                  <a:ext uri="{FF2B5EF4-FFF2-40B4-BE49-F238E27FC236}">
                    <a16:creationId xmlns:a16="http://schemas.microsoft.com/office/drawing/2014/main" id="{3B11448F-07D4-3C65-6AFC-E33C255E2497}"/>
                  </a:ext>
                </a:extLst>
              </p:cNvPr>
              <p:cNvSpPr/>
              <p:nvPr/>
            </p:nvSpPr>
            <p:spPr>
              <a:xfrm>
                <a:off x="3242470" y="4382825"/>
                <a:ext cx="25411" cy="15813"/>
              </a:xfrm>
              <a:custGeom>
                <a:avLst/>
                <a:gdLst>
                  <a:gd name="connsiteX0" fmla="*/ 8873 w 25411"/>
                  <a:gd name="connsiteY0" fmla="*/ 1782 h 15813"/>
                  <a:gd name="connsiteX1" fmla="*/ 5095 w 25411"/>
                  <a:gd name="connsiteY1" fmla="*/ 10988 h 15813"/>
                  <a:gd name="connsiteX2" fmla="*/ 19848 w 25411"/>
                  <a:gd name="connsiteY2" fmla="*/ 16494 h 15813"/>
                  <a:gd name="connsiteX3" fmla="*/ 23268 w 25411"/>
                  <a:gd name="connsiteY3" fmla="*/ 17577 h 15813"/>
                  <a:gd name="connsiteX4" fmla="*/ 29025 w 25411"/>
                  <a:gd name="connsiteY4" fmla="*/ 12883 h 15813"/>
                  <a:gd name="connsiteX5" fmla="*/ 26328 w 25411"/>
                  <a:gd name="connsiteY5" fmla="*/ 7378 h 15813"/>
                  <a:gd name="connsiteX6" fmla="*/ 8873 w 2541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1" h="15813">
                    <a:moveTo>
                      <a:pt x="8873" y="1782"/>
                    </a:moveTo>
                    <a:cubicBezTo>
                      <a:pt x="4194" y="1511"/>
                      <a:pt x="2215" y="7739"/>
                      <a:pt x="5095" y="10988"/>
                    </a:cubicBezTo>
                    <a:cubicBezTo>
                      <a:pt x="8424" y="14057"/>
                      <a:pt x="15082" y="12883"/>
                      <a:pt x="19848" y="16494"/>
                    </a:cubicBezTo>
                    <a:cubicBezTo>
                      <a:pt x="20929" y="17125"/>
                      <a:pt x="22098" y="17667"/>
                      <a:pt x="23268" y="17577"/>
                    </a:cubicBezTo>
                    <a:cubicBezTo>
                      <a:pt x="26058" y="17487"/>
                      <a:pt x="28397" y="15501"/>
                      <a:pt x="29025" y="12883"/>
                    </a:cubicBezTo>
                    <a:cubicBezTo>
                      <a:pt x="29566" y="10627"/>
                      <a:pt x="28487" y="8280"/>
                      <a:pt x="26328" y="7378"/>
                    </a:cubicBezTo>
                    <a:cubicBezTo>
                      <a:pt x="20389" y="4399"/>
                      <a:pt x="14992" y="1872"/>
                      <a:pt x="8873"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3" name="Freeform: Shape 392">
                <a:extLst>
                  <a:ext uri="{FF2B5EF4-FFF2-40B4-BE49-F238E27FC236}">
                    <a16:creationId xmlns:a16="http://schemas.microsoft.com/office/drawing/2014/main" id="{41012D2D-B156-EB88-EEC5-DD77E50D2B96}"/>
                  </a:ext>
                </a:extLst>
              </p:cNvPr>
              <p:cNvSpPr/>
              <p:nvPr/>
            </p:nvSpPr>
            <p:spPr>
              <a:xfrm>
                <a:off x="2858230" y="4363391"/>
                <a:ext cx="22838" cy="18539"/>
              </a:xfrm>
              <a:custGeom>
                <a:avLst/>
                <a:gdLst>
                  <a:gd name="connsiteX0" fmla="*/ 8860 w 22838"/>
                  <a:gd name="connsiteY0" fmla="*/ 1899 h 18539"/>
                  <a:gd name="connsiteX1" fmla="*/ 9040 w 22838"/>
                  <a:gd name="connsiteY1" fmla="*/ 13091 h 18539"/>
                  <a:gd name="connsiteX2" fmla="*/ 20646 w 22838"/>
                  <a:gd name="connsiteY2" fmla="*/ 20313 h 18539"/>
                  <a:gd name="connsiteX3" fmla="*/ 8860 w 22838"/>
                  <a:gd name="connsiteY3" fmla="*/ 1899 h 18539"/>
                </a:gdLst>
                <a:ahLst/>
                <a:cxnLst>
                  <a:cxn ang="0">
                    <a:pos x="connsiteX0" y="connsiteY0"/>
                  </a:cxn>
                  <a:cxn ang="0">
                    <a:pos x="connsiteX1" y="connsiteY1"/>
                  </a:cxn>
                  <a:cxn ang="0">
                    <a:pos x="connsiteX2" y="connsiteY2"/>
                  </a:cxn>
                  <a:cxn ang="0">
                    <a:pos x="connsiteX3" y="connsiteY3"/>
                  </a:cxn>
                </a:cxnLst>
                <a:rect l="l" t="t" r="r" b="b"/>
                <a:pathLst>
                  <a:path w="22838" h="18539">
                    <a:moveTo>
                      <a:pt x="8860" y="1899"/>
                    </a:moveTo>
                    <a:cubicBezTo>
                      <a:pt x="1842" y="1719"/>
                      <a:pt x="2202" y="13272"/>
                      <a:pt x="9040" y="13091"/>
                    </a:cubicBezTo>
                    <a:cubicBezTo>
                      <a:pt x="15337" y="12279"/>
                      <a:pt x="15427" y="20042"/>
                      <a:pt x="20646" y="20313"/>
                    </a:cubicBezTo>
                    <a:cubicBezTo>
                      <a:pt x="35940" y="16431"/>
                      <a:pt x="17947" y="185"/>
                      <a:pt x="8860" y="1899"/>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4" name="Freeform: Shape 393">
                <a:extLst>
                  <a:ext uri="{FF2B5EF4-FFF2-40B4-BE49-F238E27FC236}">
                    <a16:creationId xmlns:a16="http://schemas.microsoft.com/office/drawing/2014/main" id="{405713DA-1316-73D4-7828-1EC94FF0DD9A}"/>
                  </a:ext>
                </a:extLst>
              </p:cNvPr>
              <p:cNvSpPr/>
              <p:nvPr/>
            </p:nvSpPr>
            <p:spPr>
              <a:xfrm>
                <a:off x="2617905" y="4361080"/>
                <a:ext cx="22956" cy="13541"/>
              </a:xfrm>
              <a:custGeom>
                <a:avLst/>
                <a:gdLst>
                  <a:gd name="connsiteX0" fmla="*/ 17247 w 22956"/>
                  <a:gd name="connsiteY0" fmla="*/ 13779 h 13541"/>
                  <a:gd name="connsiteX1" fmla="*/ 26694 w 22956"/>
                  <a:gd name="connsiteY1" fmla="*/ 9536 h 13541"/>
                  <a:gd name="connsiteX2" fmla="*/ 9150 w 22956"/>
                  <a:gd name="connsiteY2" fmla="*/ 1774 h 13541"/>
                  <a:gd name="connsiteX3" fmla="*/ 9150 w 22956"/>
                  <a:gd name="connsiteY3" fmla="*/ 12966 h 13541"/>
                  <a:gd name="connsiteX4" fmla="*/ 17337 w 22956"/>
                  <a:gd name="connsiteY4" fmla="*/ 13779 h 13541"/>
                  <a:gd name="connsiteX5" fmla="*/ 17247 w 22956"/>
                  <a:gd name="connsiteY5" fmla="*/ 13779 h 13541"/>
                  <a:gd name="connsiteX6" fmla="*/ 17247 w 22956"/>
                  <a:gd name="connsiteY6" fmla="*/ 13779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56" h="13541">
                    <a:moveTo>
                      <a:pt x="17247" y="13779"/>
                    </a:moveTo>
                    <a:cubicBezTo>
                      <a:pt x="20757" y="17209"/>
                      <a:pt x="27054" y="14500"/>
                      <a:pt x="26694" y="9536"/>
                    </a:cubicBezTo>
                    <a:cubicBezTo>
                      <a:pt x="25525" y="1864"/>
                      <a:pt x="14907" y="1864"/>
                      <a:pt x="9150" y="1774"/>
                    </a:cubicBezTo>
                    <a:cubicBezTo>
                      <a:pt x="1953" y="1683"/>
                      <a:pt x="1953" y="13056"/>
                      <a:pt x="9150" y="12966"/>
                    </a:cubicBezTo>
                    <a:cubicBezTo>
                      <a:pt x="11850" y="12966"/>
                      <a:pt x="14817" y="12696"/>
                      <a:pt x="17337" y="13779"/>
                    </a:cubicBezTo>
                    <a:cubicBezTo>
                      <a:pt x="17337" y="13779"/>
                      <a:pt x="17337" y="13779"/>
                      <a:pt x="17247" y="13779"/>
                    </a:cubicBezTo>
                    <a:lnTo>
                      <a:pt x="17247" y="13779"/>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5" name="Freeform: Shape 394">
                <a:extLst>
                  <a:ext uri="{FF2B5EF4-FFF2-40B4-BE49-F238E27FC236}">
                    <a16:creationId xmlns:a16="http://schemas.microsoft.com/office/drawing/2014/main" id="{98339EDE-34F2-0003-DE63-8AA4E5E27BA1}"/>
                  </a:ext>
                </a:extLst>
              </p:cNvPr>
              <p:cNvSpPr/>
              <p:nvPr/>
            </p:nvSpPr>
            <p:spPr>
              <a:xfrm>
                <a:off x="3119945" y="4291490"/>
                <a:ext cx="32635" cy="25367"/>
              </a:xfrm>
              <a:custGeom>
                <a:avLst/>
                <a:gdLst>
                  <a:gd name="connsiteX0" fmla="*/ 30543 w 32635"/>
                  <a:gd name="connsiteY0" fmla="*/ 1773 h 25367"/>
                  <a:gd name="connsiteX1" fmla="*/ 25955 w 32635"/>
                  <a:gd name="connsiteY1" fmla="*/ 4301 h 25367"/>
                  <a:gd name="connsiteX2" fmla="*/ 7691 w 32635"/>
                  <a:gd name="connsiteY2" fmla="*/ 16214 h 25367"/>
                  <a:gd name="connsiteX3" fmla="*/ 9042 w 32635"/>
                  <a:gd name="connsiteY3" fmla="*/ 27135 h 25367"/>
                  <a:gd name="connsiteX4" fmla="*/ 30543 w 32635"/>
                  <a:gd name="connsiteY4" fmla="*/ 1773 h 25367"/>
                  <a:gd name="connsiteX5" fmla="*/ 30543 w 32635"/>
                  <a:gd name="connsiteY5" fmla="*/ 1773 h 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35" h="25367">
                    <a:moveTo>
                      <a:pt x="30543" y="1773"/>
                    </a:moveTo>
                    <a:cubicBezTo>
                      <a:pt x="28744" y="1773"/>
                      <a:pt x="26945" y="2675"/>
                      <a:pt x="25955" y="4301"/>
                    </a:cubicBezTo>
                    <a:cubicBezTo>
                      <a:pt x="21907" y="10077"/>
                      <a:pt x="15970" y="13958"/>
                      <a:pt x="7691" y="16214"/>
                    </a:cubicBezTo>
                    <a:cubicBezTo>
                      <a:pt x="1574" y="17478"/>
                      <a:pt x="3013" y="27135"/>
                      <a:pt x="9042" y="27135"/>
                    </a:cubicBezTo>
                    <a:cubicBezTo>
                      <a:pt x="17498" y="27497"/>
                      <a:pt x="49347" y="6917"/>
                      <a:pt x="30543" y="1773"/>
                    </a:cubicBezTo>
                    <a:lnTo>
                      <a:pt x="30543"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6" name="Freeform: Shape 395">
                <a:extLst>
                  <a:ext uri="{FF2B5EF4-FFF2-40B4-BE49-F238E27FC236}">
                    <a16:creationId xmlns:a16="http://schemas.microsoft.com/office/drawing/2014/main" id="{14E9D10B-3A35-9EE4-C625-410AA0151BFA}"/>
                  </a:ext>
                </a:extLst>
              </p:cNvPr>
              <p:cNvSpPr/>
              <p:nvPr/>
            </p:nvSpPr>
            <p:spPr>
              <a:xfrm>
                <a:off x="2399194" y="4300878"/>
                <a:ext cx="15765" cy="15796"/>
              </a:xfrm>
              <a:custGeom>
                <a:avLst/>
                <a:gdLst>
                  <a:gd name="connsiteX0" fmla="*/ 14278 w 15765"/>
                  <a:gd name="connsiteY0" fmla="*/ 1773 h 15796"/>
                  <a:gd name="connsiteX1" fmla="*/ 3753 w 15765"/>
                  <a:gd name="connsiteY1" fmla="*/ 12152 h 15796"/>
                  <a:gd name="connsiteX2" fmla="*/ 14818 w 15765"/>
                  <a:gd name="connsiteY2" fmla="*/ 12875 h 15796"/>
                  <a:gd name="connsiteX3" fmla="*/ 14278 w 15765"/>
                  <a:gd name="connsiteY3" fmla="*/ 1773 h 15796"/>
                  <a:gd name="connsiteX4" fmla="*/ 14278 w 15765"/>
                  <a:gd name="connsiteY4" fmla="*/ 1773 h 15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5" h="15796">
                    <a:moveTo>
                      <a:pt x="14278" y="1773"/>
                    </a:moveTo>
                    <a:cubicBezTo>
                      <a:pt x="8609" y="1862"/>
                      <a:pt x="3930" y="6466"/>
                      <a:pt x="3753" y="12152"/>
                    </a:cubicBezTo>
                    <a:cubicBezTo>
                      <a:pt x="3663" y="18922"/>
                      <a:pt x="14008" y="19554"/>
                      <a:pt x="14818" y="12875"/>
                    </a:cubicBezTo>
                    <a:cubicBezTo>
                      <a:pt x="21476" y="12152"/>
                      <a:pt x="20846" y="1862"/>
                      <a:pt x="14278" y="1773"/>
                    </a:cubicBezTo>
                    <a:lnTo>
                      <a:pt x="1427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7" name="Freeform: Shape 396">
                <a:extLst>
                  <a:ext uri="{FF2B5EF4-FFF2-40B4-BE49-F238E27FC236}">
                    <a16:creationId xmlns:a16="http://schemas.microsoft.com/office/drawing/2014/main" id="{DA008408-845C-92F3-7F69-476A15806D27}"/>
                  </a:ext>
                </a:extLst>
              </p:cNvPr>
              <p:cNvSpPr/>
              <p:nvPr/>
            </p:nvSpPr>
            <p:spPr>
              <a:xfrm>
                <a:off x="2764206" y="4257553"/>
                <a:ext cx="25371" cy="18422"/>
              </a:xfrm>
              <a:custGeom>
                <a:avLst/>
                <a:gdLst>
                  <a:gd name="connsiteX0" fmla="*/ 9588 w 25371"/>
                  <a:gd name="connsiteY0" fmla="*/ 1773 h 18422"/>
                  <a:gd name="connsiteX1" fmla="*/ 23982 w 25371"/>
                  <a:gd name="connsiteY1" fmla="*/ 20096 h 18422"/>
                  <a:gd name="connsiteX2" fmla="*/ 23801 w 25371"/>
                  <a:gd name="connsiteY2" fmla="*/ 8904 h 18422"/>
                  <a:gd name="connsiteX3" fmla="*/ 9588 w 25371"/>
                  <a:gd name="connsiteY3" fmla="*/ 1773 h 18422"/>
                  <a:gd name="connsiteX4" fmla="*/ 9588 w 25371"/>
                  <a:gd name="connsiteY4" fmla="*/ 177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1" h="18422">
                    <a:moveTo>
                      <a:pt x="9588" y="1773"/>
                    </a:moveTo>
                    <a:cubicBezTo>
                      <a:pt x="-7237" y="6917"/>
                      <a:pt x="16964" y="21539"/>
                      <a:pt x="23982" y="20096"/>
                    </a:cubicBezTo>
                    <a:cubicBezTo>
                      <a:pt x="31089" y="20277"/>
                      <a:pt x="30639" y="8814"/>
                      <a:pt x="23801" y="8904"/>
                    </a:cubicBezTo>
                    <a:cubicBezTo>
                      <a:pt x="17594" y="9264"/>
                      <a:pt x="14985" y="2585"/>
                      <a:pt x="9588" y="1773"/>
                    </a:cubicBezTo>
                    <a:lnTo>
                      <a:pt x="958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8" name="Freeform: Shape 397">
                <a:extLst>
                  <a:ext uri="{FF2B5EF4-FFF2-40B4-BE49-F238E27FC236}">
                    <a16:creationId xmlns:a16="http://schemas.microsoft.com/office/drawing/2014/main" id="{845FF083-C1A8-CBEB-6073-64E7A057C0AC}"/>
                  </a:ext>
                </a:extLst>
              </p:cNvPr>
              <p:cNvSpPr/>
              <p:nvPr/>
            </p:nvSpPr>
            <p:spPr>
              <a:xfrm>
                <a:off x="3004505" y="4252676"/>
                <a:ext cx="13588" cy="16002"/>
              </a:xfrm>
              <a:custGeom>
                <a:avLst/>
                <a:gdLst>
                  <a:gd name="connsiteX0" fmla="*/ 11842 w 13588"/>
                  <a:gd name="connsiteY0" fmla="*/ 1775 h 16002"/>
                  <a:gd name="connsiteX1" fmla="*/ 6083 w 13588"/>
                  <a:gd name="connsiteY1" fmla="*/ 7642 h 16002"/>
                  <a:gd name="connsiteX2" fmla="*/ 9323 w 13588"/>
                  <a:gd name="connsiteY2" fmla="*/ 17751 h 16002"/>
                  <a:gd name="connsiteX3" fmla="*/ 11842 w 13588"/>
                  <a:gd name="connsiteY3" fmla="*/ 1775 h 16002"/>
                  <a:gd name="connsiteX4" fmla="*/ 11842 w 13588"/>
                  <a:gd name="connsiteY4" fmla="*/ 1775 h 1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 h="16002">
                    <a:moveTo>
                      <a:pt x="11842" y="1775"/>
                    </a:moveTo>
                    <a:cubicBezTo>
                      <a:pt x="8783" y="1685"/>
                      <a:pt x="5903" y="4483"/>
                      <a:pt x="6083" y="7642"/>
                    </a:cubicBezTo>
                    <a:cubicBezTo>
                      <a:pt x="1585" y="10441"/>
                      <a:pt x="4104" y="17842"/>
                      <a:pt x="9323" y="17751"/>
                    </a:cubicBezTo>
                    <a:cubicBezTo>
                      <a:pt x="17689" y="18473"/>
                      <a:pt x="21019" y="2678"/>
                      <a:pt x="11842" y="1775"/>
                    </a:cubicBezTo>
                    <a:lnTo>
                      <a:pt x="11842"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399" name="Freeform: Shape 398">
                <a:extLst>
                  <a:ext uri="{FF2B5EF4-FFF2-40B4-BE49-F238E27FC236}">
                    <a16:creationId xmlns:a16="http://schemas.microsoft.com/office/drawing/2014/main" id="{2844EE5A-BBFE-5950-5DA9-DFE16A888C96}"/>
                  </a:ext>
                </a:extLst>
              </p:cNvPr>
              <p:cNvSpPr/>
              <p:nvPr/>
            </p:nvSpPr>
            <p:spPr>
              <a:xfrm>
                <a:off x="2526675" y="4221233"/>
                <a:ext cx="15834" cy="13647"/>
              </a:xfrm>
              <a:custGeom>
                <a:avLst/>
                <a:gdLst>
                  <a:gd name="connsiteX0" fmla="*/ 9152 w 15834"/>
                  <a:gd name="connsiteY0" fmla="*/ 1898 h 13647"/>
                  <a:gd name="connsiteX1" fmla="*/ 9422 w 15834"/>
                  <a:gd name="connsiteY1" fmla="*/ 13000 h 13647"/>
                  <a:gd name="connsiteX2" fmla="*/ 17881 w 15834"/>
                  <a:gd name="connsiteY2" fmla="*/ 13812 h 13647"/>
                  <a:gd name="connsiteX3" fmla="*/ 9152 w 15834"/>
                  <a:gd name="connsiteY3" fmla="*/ 1898 h 13647"/>
                  <a:gd name="connsiteX4" fmla="*/ 9152 w 15834"/>
                  <a:gd name="connsiteY4" fmla="*/ 1898 h 13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4" h="13647">
                    <a:moveTo>
                      <a:pt x="9152" y="1898"/>
                    </a:moveTo>
                    <a:cubicBezTo>
                      <a:pt x="1686" y="1898"/>
                      <a:pt x="2136" y="13452"/>
                      <a:pt x="9422" y="13000"/>
                    </a:cubicBezTo>
                    <a:cubicBezTo>
                      <a:pt x="11223" y="15979"/>
                      <a:pt x="15542" y="16159"/>
                      <a:pt x="17881" y="13812"/>
                    </a:cubicBezTo>
                    <a:cubicBezTo>
                      <a:pt x="23007" y="8036"/>
                      <a:pt x="15542" y="725"/>
                      <a:pt x="9152" y="1898"/>
                    </a:cubicBezTo>
                    <a:lnTo>
                      <a:pt x="9152" y="189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0" name="Freeform: Shape 399">
                <a:extLst>
                  <a:ext uri="{FF2B5EF4-FFF2-40B4-BE49-F238E27FC236}">
                    <a16:creationId xmlns:a16="http://schemas.microsoft.com/office/drawing/2014/main" id="{7BE07542-19D9-28C9-FE61-A16506C42E65}"/>
                  </a:ext>
                </a:extLst>
              </p:cNvPr>
              <p:cNvSpPr/>
              <p:nvPr/>
            </p:nvSpPr>
            <p:spPr>
              <a:xfrm>
                <a:off x="3184581" y="4168373"/>
                <a:ext cx="12896" cy="44673"/>
              </a:xfrm>
              <a:custGeom>
                <a:avLst/>
                <a:gdLst>
                  <a:gd name="connsiteX0" fmla="*/ 9993 w 12896"/>
                  <a:gd name="connsiteY0" fmla="*/ 1776 h 44673"/>
                  <a:gd name="connsiteX1" fmla="*/ 3964 w 12896"/>
                  <a:gd name="connsiteY1" fmla="*/ 8817 h 44673"/>
                  <a:gd name="connsiteX2" fmla="*/ 3964 w 12896"/>
                  <a:gd name="connsiteY2" fmla="*/ 39595 h 44673"/>
                  <a:gd name="connsiteX3" fmla="*/ 14759 w 12896"/>
                  <a:gd name="connsiteY3" fmla="*/ 42484 h 44673"/>
                  <a:gd name="connsiteX4" fmla="*/ 14759 w 12896"/>
                  <a:gd name="connsiteY4" fmla="*/ 5838 h 44673"/>
                  <a:gd name="connsiteX5" fmla="*/ 9993 w 12896"/>
                  <a:gd name="connsiteY5" fmla="*/ 1776 h 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96" h="44673">
                    <a:moveTo>
                      <a:pt x="9993" y="1776"/>
                    </a:moveTo>
                    <a:cubicBezTo>
                      <a:pt x="6483" y="1776"/>
                      <a:pt x="3155" y="5116"/>
                      <a:pt x="3964" y="8817"/>
                    </a:cubicBezTo>
                    <a:cubicBezTo>
                      <a:pt x="6123" y="20190"/>
                      <a:pt x="6123" y="30299"/>
                      <a:pt x="3964" y="39595"/>
                    </a:cubicBezTo>
                    <a:cubicBezTo>
                      <a:pt x="2075" y="46185"/>
                      <a:pt x="13411" y="49614"/>
                      <a:pt x="14759" y="42484"/>
                    </a:cubicBezTo>
                    <a:cubicBezTo>
                      <a:pt x="17279" y="31472"/>
                      <a:pt x="17279" y="19467"/>
                      <a:pt x="14759" y="5838"/>
                    </a:cubicBezTo>
                    <a:cubicBezTo>
                      <a:pt x="14401" y="3491"/>
                      <a:pt x="12422" y="1686"/>
                      <a:pt x="9993" y="177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1" name="Freeform: Shape 400">
                <a:extLst>
                  <a:ext uri="{FF2B5EF4-FFF2-40B4-BE49-F238E27FC236}">
                    <a16:creationId xmlns:a16="http://schemas.microsoft.com/office/drawing/2014/main" id="{1320F5C1-B855-89AD-3954-21EB0A0CD3AB}"/>
                  </a:ext>
                </a:extLst>
              </p:cNvPr>
              <p:cNvSpPr/>
              <p:nvPr/>
            </p:nvSpPr>
            <p:spPr>
              <a:xfrm>
                <a:off x="2322462" y="4197258"/>
                <a:ext cx="25208" cy="13261"/>
              </a:xfrm>
              <a:custGeom>
                <a:avLst/>
                <a:gdLst>
                  <a:gd name="connsiteX0" fmla="*/ 9139 w 25208"/>
                  <a:gd name="connsiteY0" fmla="*/ 1774 h 13261"/>
                  <a:gd name="connsiteX1" fmla="*/ 9229 w 25208"/>
                  <a:gd name="connsiteY1" fmla="*/ 12876 h 13261"/>
                  <a:gd name="connsiteX2" fmla="*/ 28573 w 25208"/>
                  <a:gd name="connsiteY2" fmla="*/ 12154 h 13261"/>
                  <a:gd name="connsiteX3" fmla="*/ 9139 w 25208"/>
                  <a:gd name="connsiteY3" fmla="*/ 1774 h 13261"/>
                </a:gdLst>
                <a:ahLst/>
                <a:cxnLst>
                  <a:cxn ang="0">
                    <a:pos x="connsiteX0" y="connsiteY0"/>
                  </a:cxn>
                  <a:cxn ang="0">
                    <a:pos x="connsiteX1" y="connsiteY1"/>
                  </a:cxn>
                  <a:cxn ang="0">
                    <a:pos x="connsiteX2" y="connsiteY2"/>
                  </a:cxn>
                  <a:cxn ang="0">
                    <a:pos x="connsiteX3" y="connsiteY3"/>
                  </a:cxn>
                </a:cxnLst>
                <a:rect l="l" t="t" r="r" b="b"/>
                <a:pathLst>
                  <a:path w="25208" h="13261">
                    <a:moveTo>
                      <a:pt x="9139" y="1774"/>
                    </a:moveTo>
                    <a:cubicBezTo>
                      <a:pt x="1853" y="1683"/>
                      <a:pt x="2031" y="13056"/>
                      <a:pt x="9229" y="12876"/>
                    </a:cubicBezTo>
                    <a:cubicBezTo>
                      <a:pt x="15976" y="11251"/>
                      <a:pt x="25153" y="19013"/>
                      <a:pt x="28573" y="12154"/>
                    </a:cubicBezTo>
                    <a:cubicBezTo>
                      <a:pt x="31631" y="1864"/>
                      <a:pt x="15796" y="2135"/>
                      <a:pt x="9139" y="177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2" name="Freeform: Shape 401">
                <a:extLst>
                  <a:ext uri="{FF2B5EF4-FFF2-40B4-BE49-F238E27FC236}">
                    <a16:creationId xmlns:a16="http://schemas.microsoft.com/office/drawing/2014/main" id="{4AB3675F-CF2D-939B-7C56-C649D6F25455}"/>
                  </a:ext>
                </a:extLst>
              </p:cNvPr>
              <p:cNvSpPr/>
              <p:nvPr/>
            </p:nvSpPr>
            <p:spPr>
              <a:xfrm>
                <a:off x="2622617" y="4168522"/>
                <a:ext cx="13547" cy="23099"/>
              </a:xfrm>
              <a:custGeom>
                <a:avLst/>
                <a:gdLst>
                  <a:gd name="connsiteX0" fmla="*/ 11637 w 13547"/>
                  <a:gd name="connsiteY0" fmla="*/ 1807 h 23099"/>
                  <a:gd name="connsiteX1" fmla="*/ 4439 w 13547"/>
                  <a:gd name="connsiteY1" fmla="*/ 16429 h 23099"/>
                  <a:gd name="connsiteX2" fmla="*/ 6418 w 13547"/>
                  <a:gd name="connsiteY2" fmla="*/ 24011 h 23099"/>
                  <a:gd name="connsiteX3" fmla="*/ 11637 w 13547"/>
                  <a:gd name="connsiteY3" fmla="*/ 1807 h 23099"/>
                  <a:gd name="connsiteX4" fmla="*/ 11637 w 13547"/>
                  <a:gd name="connsiteY4" fmla="*/ 1807 h 23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7" h="23099">
                    <a:moveTo>
                      <a:pt x="11637" y="1807"/>
                    </a:moveTo>
                    <a:cubicBezTo>
                      <a:pt x="3358" y="1897"/>
                      <a:pt x="7676" y="11555"/>
                      <a:pt x="4439" y="16429"/>
                    </a:cubicBezTo>
                    <a:cubicBezTo>
                      <a:pt x="3000" y="19047"/>
                      <a:pt x="3898" y="22387"/>
                      <a:pt x="6418" y="24011"/>
                    </a:cubicBezTo>
                    <a:cubicBezTo>
                      <a:pt x="16315" y="30239"/>
                      <a:pt x="22342" y="634"/>
                      <a:pt x="11637" y="1807"/>
                    </a:cubicBezTo>
                    <a:lnTo>
                      <a:pt x="11637" y="1807"/>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3" name="Freeform: Shape 402">
                <a:extLst>
                  <a:ext uri="{FF2B5EF4-FFF2-40B4-BE49-F238E27FC236}">
                    <a16:creationId xmlns:a16="http://schemas.microsoft.com/office/drawing/2014/main" id="{63749234-7A23-2F3D-DC97-07586F8ADF4D}"/>
                  </a:ext>
                </a:extLst>
              </p:cNvPr>
              <p:cNvSpPr/>
              <p:nvPr/>
            </p:nvSpPr>
            <p:spPr>
              <a:xfrm>
                <a:off x="3011734" y="4137089"/>
                <a:ext cx="27782" cy="12893"/>
              </a:xfrm>
              <a:custGeom>
                <a:avLst/>
                <a:gdLst>
                  <a:gd name="connsiteX0" fmla="*/ 9111 w 27782"/>
                  <a:gd name="connsiteY0" fmla="*/ 1830 h 12893"/>
                  <a:gd name="connsiteX1" fmla="*/ 4073 w 27782"/>
                  <a:gd name="connsiteY1" fmla="*/ 9141 h 12893"/>
                  <a:gd name="connsiteX2" fmla="*/ 30883 w 27782"/>
                  <a:gd name="connsiteY2" fmla="*/ 4447 h 12893"/>
                  <a:gd name="connsiteX3" fmla="*/ 23237 w 27782"/>
                  <a:gd name="connsiteY3" fmla="*/ 2462 h 12893"/>
                  <a:gd name="connsiteX4" fmla="*/ 9111 w 27782"/>
                  <a:gd name="connsiteY4" fmla="*/ 1830 h 1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82" h="12893">
                    <a:moveTo>
                      <a:pt x="9111" y="1830"/>
                    </a:moveTo>
                    <a:cubicBezTo>
                      <a:pt x="5421" y="1559"/>
                      <a:pt x="2814" y="5711"/>
                      <a:pt x="4073" y="9141"/>
                    </a:cubicBezTo>
                    <a:cubicBezTo>
                      <a:pt x="7402" y="17355"/>
                      <a:pt x="36192" y="16903"/>
                      <a:pt x="30883" y="4447"/>
                    </a:cubicBezTo>
                    <a:cubicBezTo>
                      <a:pt x="29444" y="1740"/>
                      <a:pt x="25844" y="1108"/>
                      <a:pt x="23237" y="2462"/>
                    </a:cubicBezTo>
                    <a:cubicBezTo>
                      <a:pt x="18558" y="4809"/>
                      <a:pt x="13790" y="2823"/>
                      <a:pt x="9111" y="1830"/>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4" name="Freeform: Shape 403">
                <a:extLst>
                  <a:ext uri="{FF2B5EF4-FFF2-40B4-BE49-F238E27FC236}">
                    <a16:creationId xmlns:a16="http://schemas.microsoft.com/office/drawing/2014/main" id="{57A7E5C7-A9A8-D5D0-8D88-AAB28522498F}"/>
                  </a:ext>
                </a:extLst>
              </p:cNvPr>
              <p:cNvSpPr/>
              <p:nvPr/>
            </p:nvSpPr>
            <p:spPr>
              <a:xfrm>
                <a:off x="2845981" y="4120150"/>
                <a:ext cx="18253" cy="18369"/>
              </a:xfrm>
              <a:custGeom>
                <a:avLst/>
                <a:gdLst>
                  <a:gd name="connsiteX0" fmla="*/ 16430 w 18253"/>
                  <a:gd name="connsiteY0" fmla="*/ 1801 h 18369"/>
                  <a:gd name="connsiteX1" fmla="*/ 5364 w 18253"/>
                  <a:gd name="connsiteY1" fmla="*/ 10646 h 18369"/>
                  <a:gd name="connsiteX2" fmla="*/ 9412 w 18253"/>
                  <a:gd name="connsiteY2" fmla="*/ 20123 h 18369"/>
                  <a:gd name="connsiteX3" fmla="*/ 20390 w 18253"/>
                  <a:gd name="connsiteY3" fmla="*/ 11277 h 18369"/>
                  <a:gd name="connsiteX4" fmla="*/ 16430 w 18253"/>
                  <a:gd name="connsiteY4" fmla="*/ 1801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3" h="18369">
                    <a:moveTo>
                      <a:pt x="16430" y="1801"/>
                    </a:moveTo>
                    <a:cubicBezTo>
                      <a:pt x="12922" y="1259"/>
                      <a:pt x="7703" y="8840"/>
                      <a:pt x="5364" y="10646"/>
                    </a:cubicBezTo>
                    <a:cubicBezTo>
                      <a:pt x="1856" y="13986"/>
                      <a:pt x="4466" y="20303"/>
                      <a:pt x="9412" y="20123"/>
                    </a:cubicBezTo>
                    <a:cubicBezTo>
                      <a:pt x="12832" y="20574"/>
                      <a:pt x="18051" y="13083"/>
                      <a:pt x="20390" y="11277"/>
                    </a:cubicBezTo>
                    <a:cubicBezTo>
                      <a:pt x="23898" y="7847"/>
                      <a:pt x="21289" y="1620"/>
                      <a:pt x="16430" y="180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5" name="Freeform: Shape 404">
                <a:extLst>
                  <a:ext uri="{FF2B5EF4-FFF2-40B4-BE49-F238E27FC236}">
                    <a16:creationId xmlns:a16="http://schemas.microsoft.com/office/drawing/2014/main" id="{9167A5E1-9CD8-8732-65AB-0611D65F7BFB}"/>
                  </a:ext>
                </a:extLst>
              </p:cNvPr>
              <p:cNvSpPr/>
              <p:nvPr/>
            </p:nvSpPr>
            <p:spPr>
              <a:xfrm>
                <a:off x="3242394" y="4083982"/>
                <a:ext cx="20596" cy="13513"/>
              </a:xfrm>
              <a:custGeom>
                <a:avLst/>
                <a:gdLst>
                  <a:gd name="connsiteX0" fmla="*/ 14977 w 20596"/>
                  <a:gd name="connsiteY0" fmla="*/ 13868 h 13513"/>
                  <a:gd name="connsiteX1" fmla="*/ 24334 w 20596"/>
                  <a:gd name="connsiteY1" fmla="*/ 9536 h 13513"/>
                  <a:gd name="connsiteX2" fmla="*/ 9218 w 20596"/>
                  <a:gd name="connsiteY2" fmla="*/ 1774 h 13513"/>
                  <a:gd name="connsiteX3" fmla="*/ 9218 w 20596"/>
                  <a:gd name="connsiteY3" fmla="*/ 12966 h 13513"/>
                  <a:gd name="connsiteX4" fmla="*/ 12548 w 20596"/>
                  <a:gd name="connsiteY4" fmla="*/ 13056 h 13513"/>
                  <a:gd name="connsiteX5" fmla="*/ 14437 w 20596"/>
                  <a:gd name="connsiteY5" fmla="*/ 13507 h 13513"/>
                  <a:gd name="connsiteX6" fmla="*/ 14437 w 20596"/>
                  <a:gd name="connsiteY6" fmla="*/ 13507 h 13513"/>
                  <a:gd name="connsiteX7" fmla="*/ 14437 w 20596"/>
                  <a:gd name="connsiteY7" fmla="*/ 13507 h 13513"/>
                  <a:gd name="connsiteX8" fmla="*/ 14617 w 20596"/>
                  <a:gd name="connsiteY8" fmla="*/ 13597 h 13513"/>
                  <a:gd name="connsiteX9" fmla="*/ 14977 w 20596"/>
                  <a:gd name="connsiteY9" fmla="*/ 13868 h 13513"/>
                  <a:gd name="connsiteX10" fmla="*/ 14977 w 20596"/>
                  <a:gd name="connsiteY10" fmla="*/ 13868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96" h="13513">
                    <a:moveTo>
                      <a:pt x="14977" y="13868"/>
                    </a:moveTo>
                    <a:cubicBezTo>
                      <a:pt x="18485" y="17117"/>
                      <a:pt x="24692" y="14410"/>
                      <a:pt x="24334" y="9536"/>
                    </a:cubicBezTo>
                    <a:cubicBezTo>
                      <a:pt x="23524" y="2676"/>
                      <a:pt x="14167" y="1774"/>
                      <a:pt x="9218" y="1774"/>
                    </a:cubicBezTo>
                    <a:cubicBezTo>
                      <a:pt x="1930" y="1683"/>
                      <a:pt x="1930" y="13056"/>
                      <a:pt x="9218" y="12966"/>
                    </a:cubicBezTo>
                    <a:cubicBezTo>
                      <a:pt x="10209" y="12875"/>
                      <a:pt x="11557" y="12966"/>
                      <a:pt x="12548" y="13056"/>
                    </a:cubicBezTo>
                    <a:cubicBezTo>
                      <a:pt x="13176" y="13146"/>
                      <a:pt x="13806" y="13327"/>
                      <a:pt x="14437" y="13507"/>
                    </a:cubicBezTo>
                    <a:lnTo>
                      <a:pt x="14437" y="13507"/>
                    </a:lnTo>
                    <a:lnTo>
                      <a:pt x="14437" y="13507"/>
                    </a:lnTo>
                    <a:cubicBezTo>
                      <a:pt x="14527" y="13507"/>
                      <a:pt x="14527" y="13507"/>
                      <a:pt x="14617" y="13597"/>
                    </a:cubicBezTo>
                    <a:cubicBezTo>
                      <a:pt x="14797" y="13687"/>
                      <a:pt x="15425" y="14229"/>
                      <a:pt x="14977" y="13868"/>
                    </a:cubicBezTo>
                    <a:lnTo>
                      <a:pt x="14977" y="1386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6" name="Freeform: Shape 405">
                <a:extLst>
                  <a:ext uri="{FF2B5EF4-FFF2-40B4-BE49-F238E27FC236}">
                    <a16:creationId xmlns:a16="http://schemas.microsoft.com/office/drawing/2014/main" id="{9D5CDE85-90A3-FF7B-DC14-BDD1840BC79C}"/>
                  </a:ext>
                </a:extLst>
              </p:cNvPr>
              <p:cNvSpPr/>
              <p:nvPr/>
            </p:nvSpPr>
            <p:spPr>
              <a:xfrm>
                <a:off x="3136549" y="4062391"/>
                <a:ext cx="25593" cy="18162"/>
              </a:xfrm>
              <a:custGeom>
                <a:avLst/>
                <a:gdLst>
                  <a:gd name="connsiteX0" fmla="*/ 9531 w 25593"/>
                  <a:gd name="connsiteY0" fmla="*/ 1792 h 18162"/>
                  <a:gd name="connsiteX1" fmla="*/ 6561 w 25593"/>
                  <a:gd name="connsiteY1" fmla="*/ 12082 h 18162"/>
                  <a:gd name="connsiteX2" fmla="*/ 23566 w 25593"/>
                  <a:gd name="connsiteY2" fmla="*/ 19935 h 18162"/>
                  <a:gd name="connsiteX3" fmla="*/ 26536 w 25593"/>
                  <a:gd name="connsiteY3" fmla="*/ 9645 h 18162"/>
                  <a:gd name="connsiteX4" fmla="*/ 9531 w 25593"/>
                  <a:gd name="connsiteY4" fmla="*/ 1792 h 18162"/>
                  <a:gd name="connsiteX5" fmla="*/ 9531 w 25593"/>
                  <a:gd name="connsiteY5" fmla="*/ 1792 h 1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 h="18162">
                    <a:moveTo>
                      <a:pt x="9531" y="1792"/>
                    </a:moveTo>
                    <a:cubicBezTo>
                      <a:pt x="4312" y="1702"/>
                      <a:pt x="1165" y="9735"/>
                      <a:pt x="6561" y="12082"/>
                    </a:cubicBezTo>
                    <a:cubicBezTo>
                      <a:pt x="11330" y="14067"/>
                      <a:pt x="18438" y="18942"/>
                      <a:pt x="23566" y="19935"/>
                    </a:cubicBezTo>
                    <a:cubicBezTo>
                      <a:pt x="28785" y="20025"/>
                      <a:pt x="31933" y="12082"/>
                      <a:pt x="26536" y="9645"/>
                    </a:cubicBezTo>
                    <a:cubicBezTo>
                      <a:pt x="24735" y="9013"/>
                      <a:pt x="11330" y="1340"/>
                      <a:pt x="9531" y="1792"/>
                    </a:cubicBezTo>
                    <a:lnTo>
                      <a:pt x="9531" y="1792"/>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7" name="Freeform: Shape 406">
                <a:extLst>
                  <a:ext uri="{FF2B5EF4-FFF2-40B4-BE49-F238E27FC236}">
                    <a16:creationId xmlns:a16="http://schemas.microsoft.com/office/drawing/2014/main" id="{CFE34562-1595-1DF7-678E-B6E42E20CAFB}"/>
                  </a:ext>
                </a:extLst>
              </p:cNvPr>
              <p:cNvSpPr/>
              <p:nvPr/>
            </p:nvSpPr>
            <p:spPr>
              <a:xfrm>
                <a:off x="2473529" y="4031171"/>
                <a:ext cx="13660" cy="32420"/>
              </a:xfrm>
              <a:custGeom>
                <a:avLst/>
                <a:gdLst>
                  <a:gd name="connsiteX0" fmla="*/ 11827 w 13660"/>
                  <a:gd name="connsiteY0" fmla="*/ 1784 h 32420"/>
                  <a:gd name="connsiteX1" fmla="*/ 6248 w 13660"/>
                  <a:gd name="connsiteY1" fmla="*/ 6747 h 32420"/>
                  <a:gd name="connsiteX2" fmla="*/ 4089 w 13660"/>
                  <a:gd name="connsiteY2" fmla="*/ 27327 h 32420"/>
                  <a:gd name="connsiteX3" fmla="*/ 9578 w 13660"/>
                  <a:gd name="connsiteY3" fmla="*/ 34187 h 32420"/>
                  <a:gd name="connsiteX4" fmla="*/ 14797 w 13660"/>
                  <a:gd name="connsiteY4" fmla="*/ 30305 h 32420"/>
                  <a:gd name="connsiteX5" fmla="*/ 17404 w 13660"/>
                  <a:gd name="connsiteY5" fmla="*/ 7199 h 32420"/>
                  <a:gd name="connsiteX6" fmla="*/ 11827 w 13660"/>
                  <a:gd name="connsiteY6" fmla="*/ 1784 h 3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0" h="32420">
                    <a:moveTo>
                      <a:pt x="11827" y="1784"/>
                    </a:moveTo>
                    <a:cubicBezTo>
                      <a:pt x="8948" y="1603"/>
                      <a:pt x="6428" y="3769"/>
                      <a:pt x="6248" y="6747"/>
                    </a:cubicBezTo>
                    <a:cubicBezTo>
                      <a:pt x="6248" y="13968"/>
                      <a:pt x="6158" y="20648"/>
                      <a:pt x="4089" y="27327"/>
                    </a:cubicBezTo>
                    <a:cubicBezTo>
                      <a:pt x="2650" y="30847"/>
                      <a:pt x="6068" y="34367"/>
                      <a:pt x="9578" y="34187"/>
                    </a:cubicBezTo>
                    <a:cubicBezTo>
                      <a:pt x="12007" y="34277"/>
                      <a:pt x="14167" y="32652"/>
                      <a:pt x="14797" y="30305"/>
                    </a:cubicBezTo>
                    <a:cubicBezTo>
                      <a:pt x="17226" y="22543"/>
                      <a:pt x="17404" y="14600"/>
                      <a:pt x="17404" y="7199"/>
                    </a:cubicBezTo>
                    <a:cubicBezTo>
                      <a:pt x="17584" y="4130"/>
                      <a:pt x="14797" y="1603"/>
                      <a:pt x="11827" y="178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8" name="Freeform: Shape 407">
                <a:extLst>
                  <a:ext uri="{FF2B5EF4-FFF2-40B4-BE49-F238E27FC236}">
                    <a16:creationId xmlns:a16="http://schemas.microsoft.com/office/drawing/2014/main" id="{88674B4E-8C6D-1428-FEB9-5557273762A1}"/>
                  </a:ext>
                </a:extLst>
              </p:cNvPr>
              <p:cNvSpPr/>
              <p:nvPr/>
            </p:nvSpPr>
            <p:spPr>
              <a:xfrm>
                <a:off x="2653983" y="4009124"/>
                <a:ext cx="22942" cy="11438"/>
              </a:xfrm>
              <a:custGeom>
                <a:avLst/>
                <a:gdLst>
                  <a:gd name="connsiteX0" fmla="*/ 9150 w 22942"/>
                  <a:gd name="connsiteY0" fmla="*/ 1896 h 11438"/>
                  <a:gd name="connsiteX1" fmla="*/ 9150 w 22942"/>
                  <a:gd name="connsiteY1" fmla="*/ 13088 h 11438"/>
                  <a:gd name="connsiteX2" fmla="*/ 26694 w 22942"/>
                  <a:gd name="connsiteY2" fmla="*/ 7492 h 11438"/>
                  <a:gd name="connsiteX3" fmla="*/ 9150 w 22942"/>
                  <a:gd name="connsiteY3" fmla="*/ 1896 h 11438"/>
                </a:gdLst>
                <a:ahLst/>
                <a:cxnLst>
                  <a:cxn ang="0">
                    <a:pos x="connsiteX0" y="connsiteY0"/>
                  </a:cxn>
                  <a:cxn ang="0">
                    <a:pos x="connsiteX1" y="connsiteY1"/>
                  </a:cxn>
                  <a:cxn ang="0">
                    <a:pos x="connsiteX2" y="connsiteY2"/>
                  </a:cxn>
                  <a:cxn ang="0">
                    <a:pos x="connsiteX3" y="connsiteY3"/>
                  </a:cxn>
                </a:cxnLst>
                <a:rect l="l" t="t" r="r" b="b"/>
                <a:pathLst>
                  <a:path w="22942" h="11438">
                    <a:moveTo>
                      <a:pt x="9150" y="1896"/>
                    </a:moveTo>
                    <a:cubicBezTo>
                      <a:pt x="1953" y="1806"/>
                      <a:pt x="1953" y="13179"/>
                      <a:pt x="9150" y="13088"/>
                    </a:cubicBezTo>
                    <a:cubicBezTo>
                      <a:pt x="13919" y="12457"/>
                      <a:pt x="26784" y="15706"/>
                      <a:pt x="26694" y="7492"/>
                    </a:cubicBezTo>
                    <a:cubicBezTo>
                      <a:pt x="26784" y="-722"/>
                      <a:pt x="13919" y="2528"/>
                      <a:pt x="9150" y="189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09" name="Freeform: Shape 408">
                <a:extLst>
                  <a:ext uri="{FF2B5EF4-FFF2-40B4-BE49-F238E27FC236}">
                    <a16:creationId xmlns:a16="http://schemas.microsoft.com/office/drawing/2014/main" id="{D1D970C0-4216-42EB-F785-084E60FEB0BD}"/>
                  </a:ext>
                </a:extLst>
              </p:cNvPr>
              <p:cNvSpPr/>
              <p:nvPr/>
            </p:nvSpPr>
            <p:spPr>
              <a:xfrm>
                <a:off x="2346203" y="3980274"/>
                <a:ext cx="30179" cy="20849"/>
              </a:xfrm>
              <a:custGeom>
                <a:avLst/>
                <a:gdLst>
                  <a:gd name="connsiteX0" fmla="*/ 29033 w 30179"/>
                  <a:gd name="connsiteY0" fmla="*/ 1773 h 20849"/>
                  <a:gd name="connsiteX1" fmla="*/ 9688 w 30179"/>
                  <a:gd name="connsiteY1" fmla="*/ 22622 h 20849"/>
                  <a:gd name="connsiteX2" fmla="*/ 13379 w 30179"/>
                  <a:gd name="connsiteY2" fmla="*/ 20998 h 20849"/>
                  <a:gd name="connsiteX3" fmla="*/ 30201 w 30179"/>
                  <a:gd name="connsiteY3" fmla="*/ 12784 h 20849"/>
                  <a:gd name="connsiteX4" fmla="*/ 29033 w 30179"/>
                  <a:gd name="connsiteY4" fmla="*/ 1773 h 2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9" h="20849">
                    <a:moveTo>
                      <a:pt x="29033" y="1773"/>
                    </a:moveTo>
                    <a:cubicBezTo>
                      <a:pt x="21835" y="2585"/>
                      <a:pt x="-9023" y="15582"/>
                      <a:pt x="9688" y="22622"/>
                    </a:cubicBezTo>
                    <a:cubicBezTo>
                      <a:pt x="11039" y="22532"/>
                      <a:pt x="12388" y="21991"/>
                      <a:pt x="13379" y="20998"/>
                    </a:cubicBezTo>
                    <a:cubicBezTo>
                      <a:pt x="17967" y="16666"/>
                      <a:pt x="24264" y="14770"/>
                      <a:pt x="30201" y="12784"/>
                    </a:cubicBezTo>
                    <a:cubicBezTo>
                      <a:pt x="35690" y="11340"/>
                      <a:pt x="34970" y="1773"/>
                      <a:pt x="2903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0" name="Freeform: Shape 409">
                <a:extLst>
                  <a:ext uri="{FF2B5EF4-FFF2-40B4-BE49-F238E27FC236}">
                    <a16:creationId xmlns:a16="http://schemas.microsoft.com/office/drawing/2014/main" id="{864497EB-37A9-C1AE-6B90-27FB124A6896}"/>
                  </a:ext>
                </a:extLst>
              </p:cNvPr>
              <p:cNvSpPr/>
              <p:nvPr/>
            </p:nvSpPr>
            <p:spPr>
              <a:xfrm>
                <a:off x="2795471" y="3963666"/>
                <a:ext cx="15856" cy="23107"/>
              </a:xfrm>
              <a:custGeom>
                <a:avLst/>
                <a:gdLst>
                  <a:gd name="connsiteX0" fmla="*/ 9182 w 15856"/>
                  <a:gd name="connsiteY0" fmla="*/ 1773 h 23107"/>
                  <a:gd name="connsiteX1" fmla="*/ 13950 w 15856"/>
                  <a:gd name="connsiteY1" fmla="*/ 24880 h 23107"/>
                  <a:gd name="connsiteX2" fmla="*/ 18088 w 15856"/>
                  <a:gd name="connsiteY2" fmla="*/ 15312 h 23107"/>
                  <a:gd name="connsiteX3" fmla="*/ 9182 w 15856"/>
                  <a:gd name="connsiteY3" fmla="*/ 1773 h 23107"/>
                  <a:gd name="connsiteX4" fmla="*/ 9182 w 15856"/>
                  <a:gd name="connsiteY4" fmla="*/ 1773 h 2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6" h="23107">
                    <a:moveTo>
                      <a:pt x="9182" y="1773"/>
                    </a:moveTo>
                    <a:cubicBezTo>
                      <a:pt x="-2064" y="2225"/>
                      <a:pt x="6482" y="24249"/>
                      <a:pt x="13950" y="24880"/>
                    </a:cubicBezTo>
                    <a:cubicBezTo>
                      <a:pt x="18539" y="24880"/>
                      <a:pt x="21596" y="18652"/>
                      <a:pt x="18088" y="15312"/>
                    </a:cubicBezTo>
                    <a:cubicBezTo>
                      <a:pt x="13590" y="11431"/>
                      <a:pt x="16920" y="1773"/>
                      <a:pt x="9182" y="1773"/>
                    </a:cubicBezTo>
                    <a:lnTo>
                      <a:pt x="918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1" name="Freeform: Shape 410">
                <a:extLst>
                  <a:ext uri="{FF2B5EF4-FFF2-40B4-BE49-F238E27FC236}">
                    <a16:creationId xmlns:a16="http://schemas.microsoft.com/office/drawing/2014/main" id="{8BE1669D-1B1E-5CDF-C73B-C46D8C09BB70}"/>
                  </a:ext>
                </a:extLst>
              </p:cNvPr>
              <p:cNvSpPr/>
              <p:nvPr/>
            </p:nvSpPr>
            <p:spPr>
              <a:xfrm>
                <a:off x="3028563" y="3965919"/>
                <a:ext cx="15768" cy="18334"/>
              </a:xfrm>
              <a:custGeom>
                <a:avLst/>
                <a:gdLst>
                  <a:gd name="connsiteX0" fmla="*/ 9196 w 15768"/>
                  <a:gd name="connsiteY0" fmla="*/ 1776 h 18334"/>
                  <a:gd name="connsiteX1" fmla="*/ 5598 w 15768"/>
                  <a:gd name="connsiteY1" fmla="*/ 11616 h 18334"/>
                  <a:gd name="connsiteX2" fmla="*/ 14054 w 15768"/>
                  <a:gd name="connsiteY2" fmla="*/ 20099 h 18334"/>
                  <a:gd name="connsiteX3" fmla="*/ 17654 w 15768"/>
                  <a:gd name="connsiteY3" fmla="*/ 10352 h 18334"/>
                  <a:gd name="connsiteX4" fmla="*/ 9196 w 15768"/>
                  <a:gd name="connsiteY4" fmla="*/ 1776 h 18334"/>
                  <a:gd name="connsiteX5" fmla="*/ 9196 w 15768"/>
                  <a:gd name="connsiteY5" fmla="*/ 1776 h 1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68" h="18334">
                    <a:moveTo>
                      <a:pt x="9196" y="1776"/>
                    </a:moveTo>
                    <a:cubicBezTo>
                      <a:pt x="4249" y="1597"/>
                      <a:pt x="1820" y="8457"/>
                      <a:pt x="5598" y="11616"/>
                    </a:cubicBezTo>
                    <a:cubicBezTo>
                      <a:pt x="7757" y="14955"/>
                      <a:pt x="9376" y="20190"/>
                      <a:pt x="14054" y="20099"/>
                    </a:cubicBezTo>
                    <a:cubicBezTo>
                      <a:pt x="19093" y="20371"/>
                      <a:pt x="21432" y="13420"/>
                      <a:pt x="17654" y="10352"/>
                    </a:cubicBezTo>
                    <a:cubicBezTo>
                      <a:pt x="15583" y="7012"/>
                      <a:pt x="13874" y="1776"/>
                      <a:pt x="9196" y="1776"/>
                    </a:cubicBezTo>
                    <a:lnTo>
                      <a:pt x="9196" y="1776"/>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2" name="Freeform: Shape 411">
                <a:extLst>
                  <a:ext uri="{FF2B5EF4-FFF2-40B4-BE49-F238E27FC236}">
                    <a16:creationId xmlns:a16="http://schemas.microsoft.com/office/drawing/2014/main" id="{852E5FEA-BB62-9907-9867-2678EEFF9513}"/>
                  </a:ext>
                </a:extLst>
              </p:cNvPr>
              <p:cNvSpPr/>
              <p:nvPr/>
            </p:nvSpPr>
            <p:spPr>
              <a:xfrm>
                <a:off x="2565107" y="3910323"/>
                <a:ext cx="29895" cy="21120"/>
              </a:xfrm>
              <a:custGeom>
                <a:avLst/>
                <a:gdLst>
                  <a:gd name="connsiteX0" fmla="*/ 28752 w 29895"/>
                  <a:gd name="connsiteY0" fmla="*/ 1773 h 21120"/>
                  <a:gd name="connsiteX1" fmla="*/ 4010 w 29895"/>
                  <a:gd name="connsiteY1" fmla="*/ 15312 h 21120"/>
                  <a:gd name="connsiteX2" fmla="*/ 9047 w 29895"/>
                  <a:gd name="connsiteY2" fmla="*/ 22894 h 21120"/>
                  <a:gd name="connsiteX3" fmla="*/ 29830 w 29895"/>
                  <a:gd name="connsiteY3" fmla="*/ 12875 h 21120"/>
                  <a:gd name="connsiteX4" fmla="*/ 32980 w 29895"/>
                  <a:gd name="connsiteY4" fmla="*/ 10257 h 21120"/>
                  <a:gd name="connsiteX5" fmla="*/ 28752 w 29895"/>
                  <a:gd name="connsiteY5" fmla="*/ 1773 h 21120"/>
                  <a:gd name="connsiteX6" fmla="*/ 28752 w 29895"/>
                  <a:gd name="connsiteY6" fmla="*/ 1773 h 2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5" h="21120">
                    <a:moveTo>
                      <a:pt x="28752" y="1773"/>
                    </a:moveTo>
                    <a:cubicBezTo>
                      <a:pt x="20203" y="4480"/>
                      <a:pt x="9587" y="8091"/>
                      <a:pt x="4010" y="15312"/>
                    </a:cubicBezTo>
                    <a:cubicBezTo>
                      <a:pt x="2930" y="18742"/>
                      <a:pt x="5359" y="22713"/>
                      <a:pt x="9047" y="22894"/>
                    </a:cubicBezTo>
                    <a:cubicBezTo>
                      <a:pt x="16155" y="20366"/>
                      <a:pt x="22274" y="14860"/>
                      <a:pt x="29830" y="12875"/>
                    </a:cubicBezTo>
                    <a:cubicBezTo>
                      <a:pt x="31181" y="12423"/>
                      <a:pt x="32349" y="11521"/>
                      <a:pt x="32980" y="10257"/>
                    </a:cubicBezTo>
                    <a:cubicBezTo>
                      <a:pt x="34779" y="6917"/>
                      <a:pt x="32800" y="1773"/>
                      <a:pt x="28752" y="1773"/>
                    </a:cubicBezTo>
                    <a:lnTo>
                      <a:pt x="2875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3" name="Freeform: Shape 412">
                <a:extLst>
                  <a:ext uri="{FF2B5EF4-FFF2-40B4-BE49-F238E27FC236}">
                    <a16:creationId xmlns:a16="http://schemas.microsoft.com/office/drawing/2014/main" id="{264A172B-F7AA-8C91-02A0-D456D1432BC2}"/>
                  </a:ext>
                </a:extLst>
              </p:cNvPr>
              <p:cNvSpPr/>
              <p:nvPr/>
            </p:nvSpPr>
            <p:spPr>
              <a:xfrm>
                <a:off x="3100795" y="3891073"/>
                <a:ext cx="22843" cy="18526"/>
              </a:xfrm>
              <a:custGeom>
                <a:avLst/>
                <a:gdLst>
                  <a:gd name="connsiteX0" fmla="*/ 8938 w 22843"/>
                  <a:gd name="connsiteY0" fmla="*/ 1887 h 18526"/>
                  <a:gd name="connsiteX1" fmla="*/ 9028 w 22843"/>
                  <a:gd name="connsiteY1" fmla="*/ 13080 h 18526"/>
                  <a:gd name="connsiteX2" fmla="*/ 20634 w 22843"/>
                  <a:gd name="connsiteY2" fmla="*/ 20300 h 18526"/>
                  <a:gd name="connsiteX3" fmla="*/ 8938 w 22843"/>
                  <a:gd name="connsiteY3" fmla="*/ 1887 h 18526"/>
                </a:gdLst>
                <a:ahLst/>
                <a:cxnLst>
                  <a:cxn ang="0">
                    <a:pos x="connsiteX0" y="connsiteY0"/>
                  </a:cxn>
                  <a:cxn ang="0">
                    <a:pos x="connsiteX1" y="connsiteY1"/>
                  </a:cxn>
                  <a:cxn ang="0">
                    <a:pos x="connsiteX2" y="connsiteY2"/>
                  </a:cxn>
                  <a:cxn ang="0">
                    <a:pos x="connsiteX3" y="connsiteY3"/>
                  </a:cxn>
                </a:cxnLst>
                <a:rect l="l" t="t" r="r" b="b"/>
                <a:pathLst>
                  <a:path w="22843" h="18526">
                    <a:moveTo>
                      <a:pt x="8938" y="1887"/>
                    </a:moveTo>
                    <a:cubicBezTo>
                      <a:pt x="1830" y="1707"/>
                      <a:pt x="2190" y="13260"/>
                      <a:pt x="9028" y="13080"/>
                    </a:cubicBezTo>
                    <a:cubicBezTo>
                      <a:pt x="15325" y="12266"/>
                      <a:pt x="15415" y="20030"/>
                      <a:pt x="20634" y="20300"/>
                    </a:cubicBezTo>
                    <a:cubicBezTo>
                      <a:pt x="35928" y="16419"/>
                      <a:pt x="18025" y="262"/>
                      <a:pt x="8938" y="188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4" name="Freeform: Shape 413">
                <a:extLst>
                  <a:ext uri="{FF2B5EF4-FFF2-40B4-BE49-F238E27FC236}">
                    <a16:creationId xmlns:a16="http://schemas.microsoft.com/office/drawing/2014/main" id="{39691EB4-8B65-0F94-A5A7-D6CEBAA19A82}"/>
                  </a:ext>
                </a:extLst>
              </p:cNvPr>
              <p:cNvSpPr/>
              <p:nvPr/>
            </p:nvSpPr>
            <p:spPr>
              <a:xfrm>
                <a:off x="2920607" y="3847854"/>
                <a:ext cx="25401" cy="15813"/>
              </a:xfrm>
              <a:custGeom>
                <a:avLst/>
                <a:gdLst>
                  <a:gd name="connsiteX0" fmla="*/ 8919 w 25401"/>
                  <a:gd name="connsiteY0" fmla="*/ 1782 h 15813"/>
                  <a:gd name="connsiteX1" fmla="*/ 5051 w 25401"/>
                  <a:gd name="connsiteY1" fmla="*/ 10988 h 15813"/>
                  <a:gd name="connsiteX2" fmla="*/ 19807 w 25401"/>
                  <a:gd name="connsiteY2" fmla="*/ 16494 h 15813"/>
                  <a:gd name="connsiteX3" fmla="*/ 23315 w 25401"/>
                  <a:gd name="connsiteY3" fmla="*/ 17577 h 15813"/>
                  <a:gd name="connsiteX4" fmla="*/ 28984 w 25401"/>
                  <a:gd name="connsiteY4" fmla="*/ 12883 h 15813"/>
                  <a:gd name="connsiteX5" fmla="*/ 26285 w 25401"/>
                  <a:gd name="connsiteY5" fmla="*/ 7378 h 15813"/>
                  <a:gd name="connsiteX6" fmla="*/ 8919 w 2540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1" h="15813">
                    <a:moveTo>
                      <a:pt x="8919" y="1782"/>
                    </a:moveTo>
                    <a:cubicBezTo>
                      <a:pt x="4153" y="1511"/>
                      <a:pt x="2262" y="7739"/>
                      <a:pt x="5051" y="10988"/>
                    </a:cubicBezTo>
                    <a:cubicBezTo>
                      <a:pt x="8471" y="14057"/>
                      <a:pt x="15039" y="12883"/>
                      <a:pt x="19807" y="16494"/>
                    </a:cubicBezTo>
                    <a:cubicBezTo>
                      <a:pt x="20886" y="17125"/>
                      <a:pt x="22056" y="17667"/>
                      <a:pt x="23315" y="17577"/>
                    </a:cubicBezTo>
                    <a:cubicBezTo>
                      <a:pt x="26015" y="17487"/>
                      <a:pt x="28354" y="15592"/>
                      <a:pt x="28984" y="12883"/>
                    </a:cubicBezTo>
                    <a:cubicBezTo>
                      <a:pt x="29612" y="10627"/>
                      <a:pt x="28444" y="8280"/>
                      <a:pt x="26285" y="7378"/>
                    </a:cubicBezTo>
                    <a:cubicBezTo>
                      <a:pt x="20435" y="4399"/>
                      <a:pt x="15039" y="1872"/>
                      <a:pt x="8919"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5" name="Freeform: Shape 414">
                <a:extLst>
                  <a:ext uri="{FF2B5EF4-FFF2-40B4-BE49-F238E27FC236}">
                    <a16:creationId xmlns:a16="http://schemas.microsoft.com/office/drawing/2014/main" id="{0EA661CD-15C2-E950-BBE4-81E7A7513B19}"/>
                  </a:ext>
                </a:extLst>
              </p:cNvPr>
              <p:cNvSpPr/>
              <p:nvPr/>
            </p:nvSpPr>
            <p:spPr>
              <a:xfrm>
                <a:off x="2502722" y="3830893"/>
                <a:ext cx="34684" cy="18595"/>
              </a:xfrm>
              <a:custGeom>
                <a:avLst/>
                <a:gdLst>
                  <a:gd name="connsiteX0" fmla="*/ 33375 w 34684"/>
                  <a:gd name="connsiteY0" fmla="*/ 1774 h 18595"/>
                  <a:gd name="connsiteX1" fmla="*/ 19610 w 34684"/>
                  <a:gd name="connsiteY1" fmla="*/ 5656 h 18595"/>
                  <a:gd name="connsiteX2" fmla="*/ 19610 w 34684"/>
                  <a:gd name="connsiteY2" fmla="*/ 5656 h 18595"/>
                  <a:gd name="connsiteX3" fmla="*/ 4406 w 34684"/>
                  <a:gd name="connsiteY3" fmla="*/ 11883 h 18595"/>
                  <a:gd name="connsiteX4" fmla="*/ 8724 w 34684"/>
                  <a:gd name="connsiteY4" fmla="*/ 20368 h 18595"/>
                  <a:gd name="connsiteX5" fmla="*/ 37783 w 34684"/>
                  <a:gd name="connsiteY5" fmla="*/ 10169 h 18595"/>
                  <a:gd name="connsiteX6" fmla="*/ 33375 w 34684"/>
                  <a:gd name="connsiteY6" fmla="*/ 1774 h 18595"/>
                  <a:gd name="connsiteX7" fmla="*/ 33375 w 34684"/>
                  <a:gd name="connsiteY7" fmla="*/ 1774 h 1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4" h="18595">
                    <a:moveTo>
                      <a:pt x="33375" y="1774"/>
                    </a:moveTo>
                    <a:cubicBezTo>
                      <a:pt x="28696" y="2586"/>
                      <a:pt x="24198" y="4573"/>
                      <a:pt x="19610" y="5656"/>
                    </a:cubicBezTo>
                    <a:lnTo>
                      <a:pt x="19610" y="5656"/>
                    </a:lnTo>
                    <a:cubicBezTo>
                      <a:pt x="14753" y="7732"/>
                      <a:pt x="7735" y="7461"/>
                      <a:pt x="4406" y="11883"/>
                    </a:cubicBezTo>
                    <a:cubicBezTo>
                      <a:pt x="2607" y="15132"/>
                      <a:pt x="4676" y="20368"/>
                      <a:pt x="8724" y="20368"/>
                    </a:cubicBezTo>
                    <a:cubicBezTo>
                      <a:pt x="18081" y="16938"/>
                      <a:pt x="30047" y="16487"/>
                      <a:pt x="37783" y="10169"/>
                    </a:cubicBezTo>
                    <a:cubicBezTo>
                      <a:pt x="39584" y="6920"/>
                      <a:pt x="37515" y="1684"/>
                      <a:pt x="33375" y="1774"/>
                    </a:cubicBezTo>
                    <a:lnTo>
                      <a:pt x="33375"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6" name="Freeform: Shape 415">
                <a:extLst>
                  <a:ext uri="{FF2B5EF4-FFF2-40B4-BE49-F238E27FC236}">
                    <a16:creationId xmlns:a16="http://schemas.microsoft.com/office/drawing/2014/main" id="{1CD833AB-2E57-5451-6EA8-1AEF41804366}"/>
                  </a:ext>
                </a:extLst>
              </p:cNvPr>
              <p:cNvSpPr/>
              <p:nvPr/>
            </p:nvSpPr>
            <p:spPr>
              <a:xfrm>
                <a:off x="2689948" y="3828547"/>
                <a:ext cx="22822" cy="13542"/>
              </a:xfrm>
              <a:custGeom>
                <a:avLst/>
                <a:gdLst>
                  <a:gd name="connsiteX0" fmla="*/ 21406 w 22822"/>
                  <a:gd name="connsiteY0" fmla="*/ 15312 h 13542"/>
                  <a:gd name="connsiteX1" fmla="*/ 25277 w 22822"/>
                  <a:gd name="connsiteY1" fmla="*/ 6105 h 13542"/>
                  <a:gd name="connsiteX2" fmla="*/ 8902 w 22822"/>
                  <a:gd name="connsiteY2" fmla="*/ 1773 h 13542"/>
                  <a:gd name="connsiteX3" fmla="*/ 8001 w 22822"/>
                  <a:gd name="connsiteY3" fmla="*/ 12784 h 13542"/>
                  <a:gd name="connsiteX4" fmla="*/ 21406 w 22822"/>
                  <a:gd name="connsiteY4" fmla="*/ 15312 h 13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22" h="13542">
                    <a:moveTo>
                      <a:pt x="21406" y="15312"/>
                    </a:moveTo>
                    <a:cubicBezTo>
                      <a:pt x="26175" y="15493"/>
                      <a:pt x="28064" y="9445"/>
                      <a:pt x="25277" y="6105"/>
                    </a:cubicBezTo>
                    <a:cubicBezTo>
                      <a:pt x="22397" y="3489"/>
                      <a:pt x="13310" y="2856"/>
                      <a:pt x="8902" y="1773"/>
                    </a:cubicBezTo>
                    <a:cubicBezTo>
                      <a:pt x="2334" y="2044"/>
                      <a:pt x="2064" y="11611"/>
                      <a:pt x="8001" y="12784"/>
                    </a:cubicBezTo>
                    <a:cubicBezTo>
                      <a:pt x="8361" y="12875"/>
                      <a:pt x="16998" y="15402"/>
                      <a:pt x="21406" y="1531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7" name="Freeform: Shape 416">
                <a:extLst>
                  <a:ext uri="{FF2B5EF4-FFF2-40B4-BE49-F238E27FC236}">
                    <a16:creationId xmlns:a16="http://schemas.microsoft.com/office/drawing/2014/main" id="{0E8C61CC-E5B2-769D-F23C-C26B56DE6C31}"/>
                  </a:ext>
                </a:extLst>
              </p:cNvPr>
              <p:cNvSpPr/>
              <p:nvPr/>
            </p:nvSpPr>
            <p:spPr>
              <a:xfrm>
                <a:off x="3151035" y="3794763"/>
                <a:ext cx="37216" cy="13541"/>
              </a:xfrm>
              <a:custGeom>
                <a:avLst/>
                <a:gdLst>
                  <a:gd name="connsiteX0" fmla="*/ 9261 w 37216"/>
                  <a:gd name="connsiteY0" fmla="*/ 1800 h 13541"/>
                  <a:gd name="connsiteX1" fmla="*/ 3772 w 37216"/>
                  <a:gd name="connsiteY1" fmla="*/ 7848 h 13541"/>
                  <a:gd name="connsiteX2" fmla="*/ 10790 w 37216"/>
                  <a:gd name="connsiteY2" fmla="*/ 12992 h 13541"/>
                  <a:gd name="connsiteX3" fmla="*/ 34632 w 37216"/>
                  <a:gd name="connsiteY3" fmla="*/ 15249 h 13541"/>
                  <a:gd name="connsiteX4" fmla="*/ 35081 w 37216"/>
                  <a:gd name="connsiteY4" fmla="*/ 3966 h 13541"/>
                  <a:gd name="connsiteX5" fmla="*/ 9261 w 37216"/>
                  <a:gd name="connsiteY5" fmla="*/ 1800 h 13541"/>
                  <a:gd name="connsiteX6" fmla="*/ 9261 w 37216"/>
                  <a:gd name="connsiteY6" fmla="*/ 1800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6" h="13541">
                    <a:moveTo>
                      <a:pt x="9261" y="1800"/>
                    </a:moveTo>
                    <a:cubicBezTo>
                      <a:pt x="6021" y="1800"/>
                      <a:pt x="3502" y="4599"/>
                      <a:pt x="3772" y="7848"/>
                    </a:cubicBezTo>
                    <a:cubicBezTo>
                      <a:pt x="3952" y="11459"/>
                      <a:pt x="7462" y="13444"/>
                      <a:pt x="10790" y="12992"/>
                    </a:cubicBezTo>
                    <a:cubicBezTo>
                      <a:pt x="18438" y="12992"/>
                      <a:pt x="26534" y="13354"/>
                      <a:pt x="34632" y="15249"/>
                    </a:cubicBezTo>
                    <a:cubicBezTo>
                      <a:pt x="42729" y="16332"/>
                      <a:pt x="43269" y="3606"/>
                      <a:pt x="35081" y="3966"/>
                    </a:cubicBezTo>
                    <a:cubicBezTo>
                      <a:pt x="26534" y="2342"/>
                      <a:pt x="17897" y="1619"/>
                      <a:pt x="9261" y="1800"/>
                    </a:cubicBezTo>
                    <a:lnTo>
                      <a:pt x="9261" y="1800"/>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8" name="Freeform: Shape 417">
                <a:extLst>
                  <a:ext uri="{FF2B5EF4-FFF2-40B4-BE49-F238E27FC236}">
                    <a16:creationId xmlns:a16="http://schemas.microsoft.com/office/drawing/2014/main" id="{9111A6E7-8F97-6C5E-2358-6091A69AA2ED}"/>
                  </a:ext>
                </a:extLst>
              </p:cNvPr>
              <p:cNvSpPr/>
              <p:nvPr/>
            </p:nvSpPr>
            <p:spPr>
              <a:xfrm>
                <a:off x="2925053" y="3725019"/>
                <a:ext cx="28302" cy="20351"/>
              </a:xfrm>
              <a:custGeom>
                <a:avLst/>
                <a:gdLst>
                  <a:gd name="connsiteX0" fmla="*/ 26068 w 28302"/>
                  <a:gd name="connsiteY0" fmla="*/ 1773 h 20351"/>
                  <a:gd name="connsiteX1" fmla="*/ 10593 w 28302"/>
                  <a:gd name="connsiteY1" fmla="*/ 10257 h 20351"/>
                  <a:gd name="connsiteX2" fmla="*/ 3936 w 28302"/>
                  <a:gd name="connsiteY2" fmla="*/ 17568 h 20351"/>
                  <a:gd name="connsiteX3" fmla="*/ 15720 w 28302"/>
                  <a:gd name="connsiteY3" fmla="*/ 20096 h 20351"/>
                  <a:gd name="connsiteX4" fmla="*/ 15720 w 28302"/>
                  <a:gd name="connsiteY4" fmla="*/ 20096 h 20351"/>
                  <a:gd name="connsiteX5" fmla="*/ 26068 w 28302"/>
                  <a:gd name="connsiteY5" fmla="*/ 1773 h 2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02" h="20351">
                    <a:moveTo>
                      <a:pt x="26068" y="1773"/>
                    </a:moveTo>
                    <a:cubicBezTo>
                      <a:pt x="20579" y="3308"/>
                      <a:pt x="16441" y="8723"/>
                      <a:pt x="10593" y="10257"/>
                    </a:cubicBezTo>
                    <a:cubicBezTo>
                      <a:pt x="7444" y="11611"/>
                      <a:pt x="2765" y="13236"/>
                      <a:pt x="3936" y="17568"/>
                    </a:cubicBezTo>
                    <a:cubicBezTo>
                      <a:pt x="5375" y="23436"/>
                      <a:pt x="11762" y="22894"/>
                      <a:pt x="15720" y="20096"/>
                    </a:cubicBezTo>
                    <a:lnTo>
                      <a:pt x="15720" y="20096"/>
                    </a:lnTo>
                    <a:cubicBezTo>
                      <a:pt x="22738" y="17478"/>
                      <a:pt x="41632" y="6557"/>
                      <a:pt x="26068"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19" name="Freeform: Shape 418">
                <a:extLst>
                  <a:ext uri="{FF2B5EF4-FFF2-40B4-BE49-F238E27FC236}">
                    <a16:creationId xmlns:a16="http://schemas.microsoft.com/office/drawing/2014/main" id="{9E58C144-8ADA-3F82-008D-5785D735D2B4}"/>
                  </a:ext>
                </a:extLst>
              </p:cNvPr>
              <p:cNvSpPr/>
              <p:nvPr/>
            </p:nvSpPr>
            <p:spPr>
              <a:xfrm>
                <a:off x="2531187" y="3722489"/>
                <a:ext cx="27769" cy="15599"/>
              </a:xfrm>
              <a:custGeom>
                <a:avLst/>
                <a:gdLst>
                  <a:gd name="connsiteX0" fmla="*/ 26414 w 27769"/>
                  <a:gd name="connsiteY0" fmla="*/ 1775 h 15599"/>
                  <a:gd name="connsiteX1" fmla="*/ 6622 w 27769"/>
                  <a:gd name="connsiteY1" fmla="*/ 7371 h 15599"/>
                  <a:gd name="connsiteX2" fmla="*/ 3922 w 27769"/>
                  <a:gd name="connsiteY2" fmla="*/ 12787 h 15599"/>
                  <a:gd name="connsiteX3" fmla="*/ 26234 w 27769"/>
                  <a:gd name="connsiteY3" fmla="*/ 12967 h 15599"/>
                  <a:gd name="connsiteX4" fmla="*/ 26414 w 27769"/>
                  <a:gd name="connsiteY4" fmla="*/ 1775 h 15599"/>
                  <a:gd name="connsiteX5" fmla="*/ 26414 w 27769"/>
                  <a:gd name="connsiteY5" fmla="*/ 1775 h 1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69" h="15599">
                    <a:moveTo>
                      <a:pt x="26414" y="1775"/>
                    </a:moveTo>
                    <a:cubicBezTo>
                      <a:pt x="20385" y="1956"/>
                      <a:pt x="14177" y="3671"/>
                      <a:pt x="6622" y="7371"/>
                    </a:cubicBezTo>
                    <a:cubicBezTo>
                      <a:pt x="4462" y="8274"/>
                      <a:pt x="3292" y="10620"/>
                      <a:pt x="3922" y="12787"/>
                    </a:cubicBezTo>
                    <a:cubicBezTo>
                      <a:pt x="7700" y="23528"/>
                      <a:pt x="18766" y="11884"/>
                      <a:pt x="26234" y="12967"/>
                    </a:cubicBezTo>
                    <a:cubicBezTo>
                      <a:pt x="33072" y="13148"/>
                      <a:pt x="33432" y="1594"/>
                      <a:pt x="26414" y="1775"/>
                    </a:cubicBezTo>
                    <a:lnTo>
                      <a:pt x="26414"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0" name="Freeform: Shape 419">
                <a:extLst>
                  <a:ext uri="{FF2B5EF4-FFF2-40B4-BE49-F238E27FC236}">
                    <a16:creationId xmlns:a16="http://schemas.microsoft.com/office/drawing/2014/main" id="{5EA1FFC7-0F44-D066-CD18-AFD188FE6926}"/>
                  </a:ext>
                </a:extLst>
              </p:cNvPr>
              <p:cNvSpPr/>
              <p:nvPr/>
            </p:nvSpPr>
            <p:spPr>
              <a:xfrm>
                <a:off x="2709052" y="3703265"/>
                <a:ext cx="22809" cy="25635"/>
              </a:xfrm>
              <a:custGeom>
                <a:avLst/>
                <a:gdLst>
                  <a:gd name="connsiteX0" fmla="*/ 9411 w 22809"/>
                  <a:gd name="connsiteY0" fmla="*/ 1774 h 25635"/>
                  <a:gd name="connsiteX1" fmla="*/ 6443 w 22809"/>
                  <a:gd name="connsiteY1" fmla="*/ 12154 h 25635"/>
                  <a:gd name="connsiteX2" fmla="*/ 16519 w 22809"/>
                  <a:gd name="connsiteY2" fmla="*/ 24610 h 25635"/>
                  <a:gd name="connsiteX3" fmla="*/ 20837 w 22809"/>
                  <a:gd name="connsiteY3" fmla="*/ 27408 h 25635"/>
                  <a:gd name="connsiteX4" fmla="*/ 9411 w 22809"/>
                  <a:gd name="connsiteY4" fmla="*/ 1774 h 25635"/>
                  <a:gd name="connsiteX5" fmla="*/ 9411 w 22809"/>
                  <a:gd name="connsiteY5" fmla="*/ 1774 h 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09" h="25635">
                    <a:moveTo>
                      <a:pt x="9411" y="1774"/>
                    </a:moveTo>
                    <a:cubicBezTo>
                      <a:pt x="4194" y="1683"/>
                      <a:pt x="1314" y="9717"/>
                      <a:pt x="6443" y="12154"/>
                    </a:cubicBezTo>
                    <a:cubicBezTo>
                      <a:pt x="10942" y="14591"/>
                      <a:pt x="13909" y="19555"/>
                      <a:pt x="16519" y="24610"/>
                    </a:cubicBezTo>
                    <a:cubicBezTo>
                      <a:pt x="17239" y="26324"/>
                      <a:pt x="18948" y="27408"/>
                      <a:pt x="20837" y="27408"/>
                    </a:cubicBezTo>
                    <a:cubicBezTo>
                      <a:pt x="35951" y="24971"/>
                      <a:pt x="17239" y="2676"/>
                      <a:pt x="9411" y="1774"/>
                    </a:cubicBezTo>
                    <a:lnTo>
                      <a:pt x="9411"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1" name="Freeform: Shape 420">
                <a:extLst>
                  <a:ext uri="{FF2B5EF4-FFF2-40B4-BE49-F238E27FC236}">
                    <a16:creationId xmlns:a16="http://schemas.microsoft.com/office/drawing/2014/main" id="{76F57BB4-A1CA-B24F-8CF0-98583DB7B012}"/>
                  </a:ext>
                </a:extLst>
              </p:cNvPr>
              <p:cNvSpPr/>
              <p:nvPr/>
            </p:nvSpPr>
            <p:spPr>
              <a:xfrm>
                <a:off x="3307092" y="4481577"/>
                <a:ext cx="27818" cy="13517"/>
              </a:xfrm>
              <a:custGeom>
                <a:avLst/>
                <a:gdLst>
                  <a:gd name="connsiteX0" fmla="*/ 29990 w 27818"/>
                  <a:gd name="connsiteY0" fmla="*/ 3308 h 13517"/>
                  <a:gd name="connsiteX1" fmla="*/ 26122 w 27818"/>
                  <a:gd name="connsiteY1" fmla="*/ 1773 h 13517"/>
                  <a:gd name="connsiteX2" fmla="*/ 4080 w 27818"/>
                  <a:gd name="connsiteY2" fmla="*/ 7911 h 13517"/>
                  <a:gd name="connsiteX3" fmla="*/ 12176 w 27818"/>
                  <a:gd name="connsiteY3" fmla="*/ 14590 h 13517"/>
                  <a:gd name="connsiteX4" fmla="*/ 30890 w 27818"/>
                  <a:gd name="connsiteY4" fmla="*/ 10077 h 13517"/>
                  <a:gd name="connsiteX5" fmla="*/ 31521 w 27818"/>
                  <a:gd name="connsiteY5" fmla="*/ 6738 h 13517"/>
                  <a:gd name="connsiteX6" fmla="*/ 29990 w 27818"/>
                  <a:gd name="connsiteY6" fmla="*/ 3308 h 1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8" h="13517">
                    <a:moveTo>
                      <a:pt x="29990" y="3308"/>
                    </a:moveTo>
                    <a:cubicBezTo>
                      <a:pt x="28911" y="2315"/>
                      <a:pt x="27560" y="1773"/>
                      <a:pt x="26122" y="1773"/>
                    </a:cubicBezTo>
                    <a:cubicBezTo>
                      <a:pt x="19374" y="2315"/>
                      <a:pt x="8308" y="961"/>
                      <a:pt x="4080" y="7911"/>
                    </a:cubicBezTo>
                    <a:cubicBezTo>
                      <a:pt x="2371" y="12695"/>
                      <a:pt x="7678" y="17028"/>
                      <a:pt x="12176" y="14590"/>
                    </a:cubicBezTo>
                    <a:cubicBezTo>
                      <a:pt x="17755" y="10980"/>
                      <a:pt x="27470" y="15854"/>
                      <a:pt x="30890" y="10077"/>
                    </a:cubicBezTo>
                    <a:cubicBezTo>
                      <a:pt x="30890" y="10077"/>
                      <a:pt x="31789" y="8633"/>
                      <a:pt x="31521" y="6738"/>
                    </a:cubicBezTo>
                    <a:cubicBezTo>
                      <a:pt x="31250" y="4843"/>
                      <a:pt x="29990" y="3308"/>
                      <a:pt x="29990" y="3308"/>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422" name="Freeform: Shape 421">
                <a:extLst>
                  <a:ext uri="{FF2B5EF4-FFF2-40B4-BE49-F238E27FC236}">
                    <a16:creationId xmlns:a16="http://schemas.microsoft.com/office/drawing/2014/main" id="{CAC852B7-68D9-C8C7-36BC-01A52F8999F7}"/>
                  </a:ext>
                </a:extLst>
              </p:cNvPr>
              <p:cNvSpPr/>
              <p:nvPr/>
            </p:nvSpPr>
            <p:spPr>
              <a:xfrm>
                <a:off x="3055066" y="3672490"/>
                <a:ext cx="29916" cy="20073"/>
              </a:xfrm>
              <a:custGeom>
                <a:avLst/>
                <a:gdLst>
                  <a:gd name="connsiteX0" fmla="*/ 24439 w 29916"/>
                  <a:gd name="connsiteY0" fmla="*/ 2221 h 20073"/>
                  <a:gd name="connsiteX1" fmla="*/ 3836 w 29916"/>
                  <a:gd name="connsiteY1" fmla="*/ 18017 h 20073"/>
                  <a:gd name="connsiteX2" fmla="*/ 13103 w 29916"/>
                  <a:gd name="connsiteY2" fmla="*/ 20364 h 20073"/>
                  <a:gd name="connsiteX3" fmla="*/ 28667 w 29916"/>
                  <a:gd name="connsiteY3" fmla="*/ 12511 h 20073"/>
                  <a:gd name="connsiteX4" fmla="*/ 33526 w 29916"/>
                  <a:gd name="connsiteY4" fmla="*/ 7908 h 20073"/>
                  <a:gd name="connsiteX5" fmla="*/ 30827 w 29916"/>
                  <a:gd name="connsiteY5" fmla="*/ 2673 h 20073"/>
                  <a:gd name="connsiteX6" fmla="*/ 24439 w 29916"/>
                  <a:gd name="connsiteY6" fmla="*/ 2221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16" h="20073">
                    <a:moveTo>
                      <a:pt x="24439" y="2221"/>
                    </a:moveTo>
                    <a:cubicBezTo>
                      <a:pt x="17692" y="5200"/>
                      <a:pt x="2488" y="8720"/>
                      <a:pt x="3836" y="18017"/>
                    </a:cubicBezTo>
                    <a:cubicBezTo>
                      <a:pt x="5275" y="21628"/>
                      <a:pt x="10314" y="23252"/>
                      <a:pt x="13103" y="20364"/>
                    </a:cubicBezTo>
                    <a:cubicBezTo>
                      <a:pt x="17421" y="16303"/>
                      <a:pt x="23178" y="14406"/>
                      <a:pt x="28667" y="12511"/>
                    </a:cubicBezTo>
                    <a:cubicBezTo>
                      <a:pt x="31007" y="11969"/>
                      <a:pt x="33256" y="10435"/>
                      <a:pt x="33526" y="7908"/>
                    </a:cubicBezTo>
                    <a:cubicBezTo>
                      <a:pt x="33526" y="7908"/>
                      <a:pt x="34605" y="4388"/>
                      <a:pt x="30827" y="2673"/>
                    </a:cubicBezTo>
                    <a:cubicBezTo>
                      <a:pt x="27139" y="958"/>
                      <a:pt x="24439" y="2221"/>
                      <a:pt x="24439" y="222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sp>
          <p:nvSpPr>
            <p:cNvPr id="298" name="Freeform: Shape 297">
              <a:extLst>
                <a:ext uri="{FF2B5EF4-FFF2-40B4-BE49-F238E27FC236}">
                  <a16:creationId xmlns:a16="http://schemas.microsoft.com/office/drawing/2014/main" id="{403234A7-F4CB-DBC3-5D2A-D8FA5937F06C}"/>
                </a:ext>
              </a:extLst>
            </p:cNvPr>
            <p:cNvSpPr/>
            <p:nvPr/>
          </p:nvSpPr>
          <p:spPr>
            <a:xfrm>
              <a:off x="2612593" y="2911896"/>
              <a:ext cx="483411" cy="589426"/>
            </a:xfrm>
            <a:custGeom>
              <a:avLst/>
              <a:gdLst>
                <a:gd name="connsiteX0" fmla="*/ 389441 w 483411"/>
                <a:gd name="connsiteY0" fmla="*/ 34142 h 589426"/>
                <a:gd name="connsiteX1" fmla="*/ 70955 w 483411"/>
                <a:gd name="connsiteY1" fmla="*/ 85409 h 589426"/>
                <a:gd name="connsiteX2" fmla="*/ 42884 w 483411"/>
                <a:gd name="connsiteY2" fmla="*/ 144439 h 589426"/>
                <a:gd name="connsiteX3" fmla="*/ 21025 w 483411"/>
                <a:gd name="connsiteY3" fmla="*/ 248328 h 589426"/>
                <a:gd name="connsiteX4" fmla="*/ 22641 w 483411"/>
                <a:gd name="connsiteY4" fmla="*/ 303658 h 589426"/>
                <a:gd name="connsiteX5" fmla="*/ 29029 w 483411"/>
                <a:gd name="connsiteY5" fmla="*/ 314940 h 589426"/>
                <a:gd name="connsiteX6" fmla="*/ 4920 w 483411"/>
                <a:gd name="connsiteY6" fmla="*/ 345358 h 589426"/>
                <a:gd name="connsiteX7" fmla="*/ 19852 w 483411"/>
                <a:gd name="connsiteY7" fmla="*/ 399874 h 589426"/>
                <a:gd name="connsiteX8" fmla="*/ 27772 w 483411"/>
                <a:gd name="connsiteY8" fmla="*/ 430112 h 589426"/>
                <a:gd name="connsiteX9" fmla="*/ 77790 w 483411"/>
                <a:gd name="connsiteY9" fmla="*/ 463056 h 589426"/>
                <a:gd name="connsiteX10" fmla="*/ 120978 w 483411"/>
                <a:gd name="connsiteY10" fmla="*/ 512610 h 589426"/>
                <a:gd name="connsiteX11" fmla="*/ 332222 w 483411"/>
                <a:gd name="connsiteY11" fmla="*/ 590233 h 589426"/>
                <a:gd name="connsiteX12" fmla="*/ 461055 w 483411"/>
                <a:gd name="connsiteY12" fmla="*/ 476595 h 589426"/>
                <a:gd name="connsiteX13" fmla="*/ 484537 w 483411"/>
                <a:gd name="connsiteY13" fmla="*/ 175307 h 589426"/>
                <a:gd name="connsiteX14" fmla="*/ 389441 w 483411"/>
                <a:gd name="connsiteY14" fmla="*/ 34142 h 58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3411" h="589426">
                  <a:moveTo>
                    <a:pt x="389441" y="34142"/>
                  </a:moveTo>
                  <a:cubicBezTo>
                    <a:pt x="289668" y="-17125"/>
                    <a:pt x="141128" y="-11621"/>
                    <a:pt x="70955" y="85409"/>
                  </a:cubicBezTo>
                  <a:cubicBezTo>
                    <a:pt x="59709" y="103822"/>
                    <a:pt x="48463" y="123950"/>
                    <a:pt x="42884" y="144439"/>
                  </a:cubicBezTo>
                  <a:cubicBezTo>
                    <a:pt x="36049" y="170975"/>
                    <a:pt x="23810" y="210239"/>
                    <a:pt x="21025" y="248328"/>
                  </a:cubicBezTo>
                  <a:cubicBezTo>
                    <a:pt x="19584" y="267643"/>
                    <a:pt x="21205" y="285605"/>
                    <a:pt x="22641" y="303658"/>
                  </a:cubicBezTo>
                  <a:cubicBezTo>
                    <a:pt x="23182" y="310066"/>
                    <a:pt x="29209" y="312593"/>
                    <a:pt x="29029" y="314940"/>
                  </a:cubicBezTo>
                  <a:cubicBezTo>
                    <a:pt x="27412" y="330013"/>
                    <a:pt x="11575" y="326403"/>
                    <a:pt x="4920" y="345358"/>
                  </a:cubicBezTo>
                  <a:cubicBezTo>
                    <a:pt x="2130" y="356640"/>
                    <a:pt x="7437" y="383357"/>
                    <a:pt x="19852" y="399874"/>
                  </a:cubicBezTo>
                  <a:cubicBezTo>
                    <a:pt x="25791" y="407817"/>
                    <a:pt x="20124" y="426682"/>
                    <a:pt x="27772" y="430112"/>
                  </a:cubicBezTo>
                  <a:cubicBezTo>
                    <a:pt x="45313" y="440040"/>
                    <a:pt x="58808" y="438235"/>
                    <a:pt x="77790" y="463056"/>
                  </a:cubicBezTo>
                  <a:cubicBezTo>
                    <a:pt x="91558" y="480115"/>
                    <a:pt x="103524" y="498980"/>
                    <a:pt x="120978" y="512610"/>
                  </a:cubicBezTo>
                  <a:cubicBezTo>
                    <a:pt x="157505" y="581026"/>
                    <a:pt x="261869" y="596551"/>
                    <a:pt x="332222" y="590233"/>
                  </a:cubicBezTo>
                  <a:cubicBezTo>
                    <a:pt x="397629" y="579763"/>
                    <a:pt x="437214" y="535084"/>
                    <a:pt x="461055" y="476595"/>
                  </a:cubicBezTo>
                  <a:cubicBezTo>
                    <a:pt x="498213" y="385342"/>
                    <a:pt x="485976" y="255821"/>
                    <a:pt x="484537" y="175307"/>
                  </a:cubicBezTo>
                  <a:cubicBezTo>
                    <a:pt x="485258" y="107703"/>
                    <a:pt x="446659" y="62302"/>
                    <a:pt x="389441" y="3414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299" name="Freeform: Shape 298">
              <a:extLst>
                <a:ext uri="{FF2B5EF4-FFF2-40B4-BE49-F238E27FC236}">
                  <a16:creationId xmlns:a16="http://schemas.microsoft.com/office/drawing/2014/main" id="{691D5B4F-DF80-CB8C-5E23-8B59399618C8}"/>
                </a:ext>
              </a:extLst>
            </p:cNvPr>
            <p:cNvSpPr/>
            <p:nvPr/>
          </p:nvSpPr>
          <p:spPr>
            <a:xfrm>
              <a:off x="2604469" y="2826605"/>
              <a:ext cx="570165" cy="690667"/>
            </a:xfrm>
            <a:custGeom>
              <a:avLst/>
              <a:gdLst>
                <a:gd name="connsiteX0" fmla="*/ 288435 w 570165"/>
                <a:gd name="connsiteY0" fmla="*/ 689333 h 690667"/>
                <a:gd name="connsiteX1" fmla="*/ 261532 w 570165"/>
                <a:gd name="connsiteY1" fmla="*/ 681571 h 690667"/>
                <a:gd name="connsiteX2" fmla="*/ 235082 w 570165"/>
                <a:gd name="connsiteY2" fmla="*/ 666227 h 690667"/>
                <a:gd name="connsiteX3" fmla="*/ 235535 w 570165"/>
                <a:gd name="connsiteY3" fmla="*/ 650702 h 690667"/>
                <a:gd name="connsiteX4" fmla="*/ 245608 w 570165"/>
                <a:gd name="connsiteY4" fmla="*/ 647994 h 690667"/>
                <a:gd name="connsiteX5" fmla="*/ 274579 w 570165"/>
                <a:gd name="connsiteY5" fmla="*/ 659367 h 690667"/>
                <a:gd name="connsiteX6" fmla="*/ 302830 w 570165"/>
                <a:gd name="connsiteY6" fmla="*/ 666227 h 690667"/>
                <a:gd name="connsiteX7" fmla="*/ 360317 w 570165"/>
                <a:gd name="connsiteY7" fmla="*/ 661172 h 690667"/>
                <a:gd name="connsiteX8" fmla="*/ 436341 w 570165"/>
                <a:gd name="connsiteY8" fmla="*/ 607377 h 690667"/>
                <a:gd name="connsiteX9" fmla="*/ 468999 w 570165"/>
                <a:gd name="connsiteY9" fmla="*/ 507099 h 690667"/>
                <a:gd name="connsiteX10" fmla="*/ 471520 w 570165"/>
                <a:gd name="connsiteY10" fmla="*/ 383803 h 690667"/>
                <a:gd name="connsiteX11" fmla="*/ 471698 w 570165"/>
                <a:gd name="connsiteY11" fmla="*/ 318996 h 690667"/>
                <a:gd name="connsiteX12" fmla="*/ 472599 w 570165"/>
                <a:gd name="connsiteY12" fmla="*/ 257260 h 690667"/>
                <a:gd name="connsiteX13" fmla="*/ 469719 w 570165"/>
                <a:gd name="connsiteY13" fmla="*/ 255995 h 690667"/>
                <a:gd name="connsiteX14" fmla="*/ 443181 w 570165"/>
                <a:gd name="connsiteY14" fmla="*/ 231173 h 690667"/>
                <a:gd name="connsiteX15" fmla="*/ 413041 w 570165"/>
                <a:gd name="connsiteY15" fmla="*/ 210413 h 690667"/>
                <a:gd name="connsiteX16" fmla="*/ 282407 w 570165"/>
                <a:gd name="connsiteY16" fmla="*/ 178912 h 690667"/>
                <a:gd name="connsiteX17" fmla="*/ 208632 w 570165"/>
                <a:gd name="connsiteY17" fmla="*/ 187760 h 690667"/>
                <a:gd name="connsiteX18" fmla="*/ 133148 w 570165"/>
                <a:gd name="connsiteY18" fmla="*/ 207978 h 690667"/>
                <a:gd name="connsiteX19" fmla="*/ 83037 w 570165"/>
                <a:gd name="connsiteY19" fmla="*/ 181621 h 690667"/>
                <a:gd name="connsiteX20" fmla="*/ 72960 w 570165"/>
                <a:gd name="connsiteY20" fmla="*/ 201658 h 690667"/>
                <a:gd name="connsiteX21" fmla="*/ 61534 w 570165"/>
                <a:gd name="connsiteY21" fmla="*/ 227112 h 690667"/>
                <a:gd name="connsiteX22" fmla="*/ 45073 w 570165"/>
                <a:gd name="connsiteY22" fmla="*/ 280726 h 690667"/>
                <a:gd name="connsiteX23" fmla="*/ 36164 w 570165"/>
                <a:gd name="connsiteY23" fmla="*/ 337319 h 690667"/>
                <a:gd name="connsiteX24" fmla="*/ 33195 w 570165"/>
                <a:gd name="connsiteY24" fmla="*/ 365391 h 690667"/>
                <a:gd name="connsiteX25" fmla="*/ 32927 w 570165"/>
                <a:gd name="connsiteY25" fmla="*/ 380644 h 690667"/>
                <a:gd name="connsiteX26" fmla="*/ 34723 w 570165"/>
                <a:gd name="connsiteY26" fmla="*/ 394635 h 690667"/>
                <a:gd name="connsiteX27" fmla="*/ 35536 w 570165"/>
                <a:gd name="connsiteY27" fmla="*/ 395266 h 690667"/>
                <a:gd name="connsiteX28" fmla="*/ 78091 w 570165"/>
                <a:gd name="connsiteY28" fmla="*/ 412506 h 690667"/>
                <a:gd name="connsiteX29" fmla="*/ 77638 w 570165"/>
                <a:gd name="connsiteY29" fmla="*/ 413951 h 690667"/>
                <a:gd name="connsiteX30" fmla="*/ 76470 w 570165"/>
                <a:gd name="connsiteY30" fmla="*/ 413770 h 690667"/>
                <a:gd name="connsiteX31" fmla="*/ 26539 w 570165"/>
                <a:gd name="connsiteY31" fmla="*/ 425594 h 690667"/>
                <a:gd name="connsiteX32" fmla="*/ 24110 w 570165"/>
                <a:gd name="connsiteY32" fmla="*/ 452131 h 690667"/>
                <a:gd name="connsiteX33" fmla="*/ 36705 w 570165"/>
                <a:gd name="connsiteY33" fmla="*/ 480382 h 690667"/>
                <a:gd name="connsiteX34" fmla="*/ 40843 w 570165"/>
                <a:gd name="connsiteY34" fmla="*/ 496809 h 690667"/>
                <a:gd name="connsiteX35" fmla="*/ 44173 w 570165"/>
                <a:gd name="connsiteY35" fmla="*/ 508091 h 690667"/>
                <a:gd name="connsiteX36" fmla="*/ 55867 w 570165"/>
                <a:gd name="connsiteY36" fmla="*/ 512243 h 690667"/>
                <a:gd name="connsiteX37" fmla="*/ 70530 w 570165"/>
                <a:gd name="connsiteY37" fmla="*/ 517208 h 690667"/>
                <a:gd name="connsiteX38" fmla="*/ 110748 w 570165"/>
                <a:gd name="connsiteY38" fmla="*/ 563963 h 690667"/>
                <a:gd name="connsiteX39" fmla="*/ 134861 w 570165"/>
                <a:gd name="connsiteY39" fmla="*/ 588152 h 690667"/>
                <a:gd name="connsiteX40" fmla="*/ 157353 w 570165"/>
                <a:gd name="connsiteY40" fmla="*/ 613064 h 690667"/>
                <a:gd name="connsiteX41" fmla="*/ 150693 w 570165"/>
                <a:gd name="connsiteY41" fmla="*/ 621819 h 690667"/>
                <a:gd name="connsiteX42" fmla="*/ 129190 w 570165"/>
                <a:gd name="connsiteY42" fmla="*/ 613064 h 690667"/>
                <a:gd name="connsiteX43" fmla="*/ 112009 w 570165"/>
                <a:gd name="connsiteY43" fmla="*/ 598171 h 690667"/>
                <a:gd name="connsiteX44" fmla="*/ 82677 w 570165"/>
                <a:gd name="connsiteY44" fmla="*/ 564053 h 690667"/>
                <a:gd name="connsiteX45" fmla="*/ 61986 w 570165"/>
                <a:gd name="connsiteY45" fmla="*/ 537426 h 690667"/>
                <a:gd name="connsiteX46" fmla="*/ 31126 w 570165"/>
                <a:gd name="connsiteY46" fmla="*/ 525060 h 690667"/>
                <a:gd name="connsiteX47" fmla="*/ 19159 w 570165"/>
                <a:gd name="connsiteY47" fmla="*/ 491213 h 690667"/>
                <a:gd name="connsiteX48" fmla="*/ 5484 w 570165"/>
                <a:gd name="connsiteY48" fmla="*/ 457275 h 690667"/>
                <a:gd name="connsiteX49" fmla="*/ 28969 w 570165"/>
                <a:gd name="connsiteY49" fmla="*/ 397884 h 690667"/>
                <a:gd name="connsiteX50" fmla="*/ 32927 w 570165"/>
                <a:gd name="connsiteY50" fmla="*/ 396169 h 690667"/>
                <a:gd name="connsiteX51" fmla="*/ 31758 w 570165"/>
                <a:gd name="connsiteY51" fmla="*/ 395176 h 690667"/>
                <a:gd name="connsiteX52" fmla="*/ 27616 w 570165"/>
                <a:gd name="connsiteY52" fmla="*/ 384796 h 690667"/>
                <a:gd name="connsiteX53" fmla="*/ 22401 w 570165"/>
                <a:gd name="connsiteY53" fmla="*/ 353024 h 690667"/>
                <a:gd name="connsiteX54" fmla="*/ 24470 w 570165"/>
                <a:gd name="connsiteY54" fmla="*/ 288399 h 690667"/>
                <a:gd name="connsiteX55" fmla="*/ 39674 w 570165"/>
                <a:gd name="connsiteY55" fmla="*/ 229459 h 690667"/>
                <a:gd name="connsiteX56" fmla="*/ 34275 w 570165"/>
                <a:gd name="connsiteY56" fmla="*/ 222238 h 690667"/>
                <a:gd name="connsiteX57" fmla="*/ 35356 w 570165"/>
                <a:gd name="connsiteY57" fmla="*/ 202110 h 690667"/>
                <a:gd name="connsiteX58" fmla="*/ 36705 w 570165"/>
                <a:gd name="connsiteY58" fmla="*/ 195973 h 690667"/>
                <a:gd name="connsiteX59" fmla="*/ 145206 w 570165"/>
                <a:gd name="connsiteY59" fmla="*/ 44787 h 690667"/>
                <a:gd name="connsiteX60" fmla="*/ 347902 w 570165"/>
                <a:gd name="connsiteY60" fmla="*/ 4080 h 690667"/>
                <a:gd name="connsiteX61" fmla="*/ 447499 w 570165"/>
                <a:gd name="connsiteY61" fmla="*/ 34137 h 690667"/>
                <a:gd name="connsiteX62" fmla="*/ 512904 w 570165"/>
                <a:gd name="connsiteY62" fmla="*/ 102101 h 690667"/>
                <a:gd name="connsiteX63" fmla="*/ 535036 w 570165"/>
                <a:gd name="connsiteY63" fmla="*/ 190647 h 690667"/>
                <a:gd name="connsiteX64" fmla="*/ 530988 w 570165"/>
                <a:gd name="connsiteY64" fmla="*/ 236590 h 690667"/>
                <a:gd name="connsiteX65" fmla="*/ 529099 w 570165"/>
                <a:gd name="connsiteY65" fmla="*/ 260237 h 690667"/>
                <a:gd name="connsiteX66" fmla="*/ 542954 w 570165"/>
                <a:gd name="connsiteY66" fmla="*/ 276755 h 690667"/>
                <a:gd name="connsiteX67" fmla="*/ 573452 w 570165"/>
                <a:gd name="connsiteY67" fmla="*/ 364668 h 690667"/>
                <a:gd name="connsiteX68" fmla="*/ 528649 w 570165"/>
                <a:gd name="connsiteY68" fmla="*/ 435522 h 690667"/>
                <a:gd name="connsiteX69" fmla="*/ 537105 w 570165"/>
                <a:gd name="connsiteY69" fmla="*/ 449874 h 690667"/>
                <a:gd name="connsiteX70" fmla="*/ 536297 w 570165"/>
                <a:gd name="connsiteY70" fmla="*/ 487242 h 690667"/>
                <a:gd name="connsiteX71" fmla="*/ 508406 w 570165"/>
                <a:gd name="connsiteY71" fmla="*/ 520818 h 690667"/>
                <a:gd name="connsiteX72" fmla="*/ 489064 w 570165"/>
                <a:gd name="connsiteY72" fmla="*/ 523075 h 690667"/>
                <a:gd name="connsiteX73" fmla="*/ 442368 w 570165"/>
                <a:gd name="connsiteY73" fmla="*/ 640774 h 690667"/>
                <a:gd name="connsiteX74" fmla="*/ 347634 w 570165"/>
                <a:gd name="connsiteY74" fmla="*/ 691139 h 690667"/>
                <a:gd name="connsiteX75" fmla="*/ 323881 w 570165"/>
                <a:gd name="connsiteY75" fmla="*/ 692763 h 690667"/>
                <a:gd name="connsiteX76" fmla="*/ 288435 w 570165"/>
                <a:gd name="connsiteY76" fmla="*/ 689333 h 690667"/>
                <a:gd name="connsiteX77" fmla="*/ 71163 w 570165"/>
                <a:gd name="connsiteY77" fmla="*/ 475146 h 690667"/>
                <a:gd name="connsiteX78" fmla="*/ 59557 w 570165"/>
                <a:gd name="connsiteY78" fmla="*/ 456914 h 690667"/>
                <a:gd name="connsiteX79" fmla="*/ 39674 w 570165"/>
                <a:gd name="connsiteY79" fmla="*/ 445090 h 690667"/>
                <a:gd name="connsiteX80" fmla="*/ 39134 w 570165"/>
                <a:gd name="connsiteY80" fmla="*/ 444007 h 690667"/>
                <a:gd name="connsiteX81" fmla="*/ 39854 w 570165"/>
                <a:gd name="connsiteY81" fmla="*/ 443465 h 690667"/>
                <a:gd name="connsiteX82" fmla="*/ 64863 w 570165"/>
                <a:gd name="connsiteY82" fmla="*/ 450055 h 690667"/>
                <a:gd name="connsiteX83" fmla="*/ 83217 w 570165"/>
                <a:gd name="connsiteY83" fmla="*/ 470092 h 690667"/>
                <a:gd name="connsiteX84" fmla="*/ 76470 w 570165"/>
                <a:gd name="connsiteY84" fmla="*/ 478306 h 690667"/>
                <a:gd name="connsiteX85" fmla="*/ 71163 w 570165"/>
                <a:gd name="connsiteY85" fmla="*/ 475146 h 69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70165" h="690667">
                  <a:moveTo>
                    <a:pt x="288435" y="689333"/>
                  </a:moveTo>
                  <a:cubicBezTo>
                    <a:pt x="279258" y="687528"/>
                    <a:pt x="270261" y="685001"/>
                    <a:pt x="261532" y="681571"/>
                  </a:cubicBezTo>
                  <a:cubicBezTo>
                    <a:pt x="251819" y="677871"/>
                    <a:pt x="242102" y="674080"/>
                    <a:pt x="235082" y="666227"/>
                  </a:cubicBezTo>
                  <a:cubicBezTo>
                    <a:pt x="230944" y="661804"/>
                    <a:pt x="231124" y="654854"/>
                    <a:pt x="235535" y="650702"/>
                  </a:cubicBezTo>
                  <a:cubicBezTo>
                    <a:pt x="238232" y="648085"/>
                    <a:pt x="242010" y="647092"/>
                    <a:pt x="245608" y="647994"/>
                  </a:cubicBezTo>
                  <a:cubicBezTo>
                    <a:pt x="255777" y="650251"/>
                    <a:pt x="264682" y="655937"/>
                    <a:pt x="274579" y="659367"/>
                  </a:cubicBezTo>
                  <a:cubicBezTo>
                    <a:pt x="283756" y="662526"/>
                    <a:pt x="293201" y="664873"/>
                    <a:pt x="302830" y="666227"/>
                  </a:cubicBezTo>
                  <a:cubicBezTo>
                    <a:pt x="322173" y="668574"/>
                    <a:pt x="341695" y="666858"/>
                    <a:pt x="360317" y="661172"/>
                  </a:cubicBezTo>
                  <a:cubicBezTo>
                    <a:pt x="390817" y="652146"/>
                    <a:pt x="417539" y="633191"/>
                    <a:pt x="436341" y="607377"/>
                  </a:cubicBezTo>
                  <a:cubicBezTo>
                    <a:pt x="457305" y="577952"/>
                    <a:pt x="465853" y="542660"/>
                    <a:pt x="468999" y="507099"/>
                  </a:cubicBezTo>
                  <a:cubicBezTo>
                    <a:pt x="472599" y="466120"/>
                    <a:pt x="471160" y="424872"/>
                    <a:pt x="471520" y="383803"/>
                  </a:cubicBezTo>
                  <a:cubicBezTo>
                    <a:pt x="471698" y="362231"/>
                    <a:pt x="471520" y="340569"/>
                    <a:pt x="471698" y="318996"/>
                  </a:cubicBezTo>
                  <a:cubicBezTo>
                    <a:pt x="471788" y="298417"/>
                    <a:pt x="471250" y="277839"/>
                    <a:pt x="472599" y="257260"/>
                  </a:cubicBezTo>
                  <a:cubicBezTo>
                    <a:pt x="471520" y="257079"/>
                    <a:pt x="470620" y="256627"/>
                    <a:pt x="469719" y="255995"/>
                  </a:cubicBezTo>
                  <a:cubicBezTo>
                    <a:pt x="460094" y="248954"/>
                    <a:pt x="452446" y="238937"/>
                    <a:pt x="443181" y="231173"/>
                  </a:cubicBezTo>
                  <a:cubicBezTo>
                    <a:pt x="433732" y="223412"/>
                    <a:pt x="423654" y="216462"/>
                    <a:pt x="413041" y="210413"/>
                  </a:cubicBezTo>
                  <a:cubicBezTo>
                    <a:pt x="373456" y="187848"/>
                    <a:pt x="327752" y="178102"/>
                    <a:pt x="282407" y="178912"/>
                  </a:cubicBezTo>
                  <a:cubicBezTo>
                    <a:pt x="257574" y="179455"/>
                    <a:pt x="232925" y="182434"/>
                    <a:pt x="208632" y="187760"/>
                  </a:cubicBezTo>
                  <a:lnTo>
                    <a:pt x="133148" y="207978"/>
                  </a:lnTo>
                  <a:cubicBezTo>
                    <a:pt x="117676" y="197235"/>
                    <a:pt x="100130" y="189565"/>
                    <a:pt x="83037" y="181621"/>
                  </a:cubicBezTo>
                  <a:cubicBezTo>
                    <a:pt x="81240" y="188661"/>
                    <a:pt x="76109" y="195431"/>
                    <a:pt x="72960" y="201658"/>
                  </a:cubicBezTo>
                  <a:cubicBezTo>
                    <a:pt x="68822" y="209964"/>
                    <a:pt x="64956" y="218447"/>
                    <a:pt x="61534" y="227112"/>
                  </a:cubicBezTo>
                  <a:cubicBezTo>
                    <a:pt x="54698" y="244532"/>
                    <a:pt x="49211" y="262493"/>
                    <a:pt x="45073" y="280726"/>
                  </a:cubicBezTo>
                  <a:cubicBezTo>
                    <a:pt x="40843" y="299410"/>
                    <a:pt x="38506" y="318366"/>
                    <a:pt x="36164" y="337319"/>
                  </a:cubicBezTo>
                  <a:cubicBezTo>
                    <a:pt x="34996" y="346706"/>
                    <a:pt x="33735" y="356094"/>
                    <a:pt x="33195" y="365391"/>
                  </a:cubicBezTo>
                  <a:cubicBezTo>
                    <a:pt x="32927" y="370446"/>
                    <a:pt x="33014" y="375589"/>
                    <a:pt x="32927" y="380644"/>
                  </a:cubicBezTo>
                  <a:cubicBezTo>
                    <a:pt x="32834" y="384074"/>
                    <a:pt x="31758" y="391386"/>
                    <a:pt x="34723" y="394635"/>
                  </a:cubicBezTo>
                  <a:cubicBezTo>
                    <a:pt x="34996" y="394905"/>
                    <a:pt x="35264" y="395086"/>
                    <a:pt x="35536" y="395266"/>
                  </a:cubicBezTo>
                  <a:cubicBezTo>
                    <a:pt x="51821" y="390303"/>
                    <a:pt x="70623" y="395808"/>
                    <a:pt x="78091" y="412506"/>
                  </a:cubicBezTo>
                  <a:cubicBezTo>
                    <a:pt x="78359" y="413047"/>
                    <a:pt x="78179" y="413680"/>
                    <a:pt x="77638" y="413951"/>
                  </a:cubicBezTo>
                  <a:cubicBezTo>
                    <a:pt x="77278" y="414130"/>
                    <a:pt x="76742" y="414040"/>
                    <a:pt x="76470" y="413770"/>
                  </a:cubicBezTo>
                  <a:cubicBezTo>
                    <a:pt x="61266" y="400953"/>
                    <a:pt x="34903" y="408264"/>
                    <a:pt x="26539" y="425594"/>
                  </a:cubicBezTo>
                  <a:cubicBezTo>
                    <a:pt x="22849" y="433988"/>
                    <a:pt x="21949" y="443285"/>
                    <a:pt x="24110" y="452131"/>
                  </a:cubicBezTo>
                  <a:cubicBezTo>
                    <a:pt x="26447" y="462330"/>
                    <a:pt x="32747" y="470814"/>
                    <a:pt x="36705" y="480382"/>
                  </a:cubicBezTo>
                  <a:cubicBezTo>
                    <a:pt x="38774" y="485707"/>
                    <a:pt x="40122" y="491213"/>
                    <a:pt x="40843" y="496809"/>
                  </a:cubicBezTo>
                  <a:cubicBezTo>
                    <a:pt x="41383" y="500329"/>
                    <a:pt x="41563" y="505384"/>
                    <a:pt x="44173" y="508091"/>
                  </a:cubicBezTo>
                  <a:cubicBezTo>
                    <a:pt x="46870" y="510980"/>
                    <a:pt x="52177" y="511431"/>
                    <a:pt x="55867" y="512243"/>
                  </a:cubicBezTo>
                  <a:cubicBezTo>
                    <a:pt x="60905" y="513237"/>
                    <a:pt x="65852" y="514861"/>
                    <a:pt x="70530" y="517208"/>
                  </a:cubicBezTo>
                  <a:cubicBezTo>
                    <a:pt x="88616" y="526685"/>
                    <a:pt x="97881" y="548889"/>
                    <a:pt x="110748" y="563963"/>
                  </a:cubicBezTo>
                  <a:cubicBezTo>
                    <a:pt x="118216" y="572627"/>
                    <a:pt x="126224" y="580751"/>
                    <a:pt x="134861" y="588152"/>
                  </a:cubicBezTo>
                  <a:cubicBezTo>
                    <a:pt x="143045" y="595373"/>
                    <a:pt x="156272" y="601240"/>
                    <a:pt x="157353" y="613064"/>
                  </a:cubicBezTo>
                  <a:cubicBezTo>
                    <a:pt x="157713" y="616945"/>
                    <a:pt x="154291" y="620826"/>
                    <a:pt x="150693" y="621819"/>
                  </a:cubicBezTo>
                  <a:cubicBezTo>
                    <a:pt x="141969" y="624256"/>
                    <a:pt x="135669" y="618209"/>
                    <a:pt x="129190" y="613064"/>
                  </a:cubicBezTo>
                  <a:cubicBezTo>
                    <a:pt x="123255" y="608370"/>
                    <a:pt x="117496" y="603406"/>
                    <a:pt x="112009" y="598171"/>
                  </a:cubicBezTo>
                  <a:cubicBezTo>
                    <a:pt x="101211" y="587701"/>
                    <a:pt x="91406" y="576328"/>
                    <a:pt x="82677" y="564053"/>
                  </a:cubicBezTo>
                  <a:cubicBezTo>
                    <a:pt x="76382" y="555207"/>
                    <a:pt x="71071" y="543834"/>
                    <a:pt x="61986" y="537426"/>
                  </a:cubicBezTo>
                  <a:cubicBezTo>
                    <a:pt x="52717" y="531018"/>
                    <a:pt x="40215" y="532642"/>
                    <a:pt x="31126" y="525060"/>
                  </a:cubicBezTo>
                  <a:cubicBezTo>
                    <a:pt x="20152" y="516034"/>
                    <a:pt x="22401" y="503578"/>
                    <a:pt x="19159" y="491213"/>
                  </a:cubicBezTo>
                  <a:cubicBezTo>
                    <a:pt x="16102" y="479389"/>
                    <a:pt x="8005" y="469550"/>
                    <a:pt x="5484" y="457275"/>
                  </a:cubicBezTo>
                  <a:cubicBezTo>
                    <a:pt x="1078" y="435433"/>
                    <a:pt x="7733" y="408715"/>
                    <a:pt x="28969" y="397884"/>
                  </a:cubicBezTo>
                  <a:cubicBezTo>
                    <a:pt x="30225" y="397252"/>
                    <a:pt x="31578" y="396711"/>
                    <a:pt x="32927" y="396169"/>
                  </a:cubicBezTo>
                  <a:cubicBezTo>
                    <a:pt x="32474" y="395899"/>
                    <a:pt x="32114" y="395537"/>
                    <a:pt x="31758" y="395176"/>
                  </a:cubicBezTo>
                  <a:cubicBezTo>
                    <a:pt x="29417" y="392559"/>
                    <a:pt x="28428" y="388135"/>
                    <a:pt x="27616" y="384796"/>
                  </a:cubicBezTo>
                  <a:cubicBezTo>
                    <a:pt x="25186" y="374417"/>
                    <a:pt x="23838" y="363586"/>
                    <a:pt x="22401" y="353024"/>
                  </a:cubicBezTo>
                  <a:cubicBezTo>
                    <a:pt x="19519" y="331543"/>
                    <a:pt x="21048" y="309699"/>
                    <a:pt x="24470" y="288399"/>
                  </a:cubicBezTo>
                  <a:cubicBezTo>
                    <a:pt x="27708" y="268271"/>
                    <a:pt x="32747" y="248595"/>
                    <a:pt x="39674" y="229459"/>
                  </a:cubicBezTo>
                  <a:cubicBezTo>
                    <a:pt x="37153" y="227744"/>
                    <a:pt x="35264" y="225127"/>
                    <a:pt x="34275" y="222238"/>
                  </a:cubicBezTo>
                  <a:cubicBezTo>
                    <a:pt x="32026" y="215559"/>
                    <a:pt x="34095" y="208789"/>
                    <a:pt x="35356" y="202110"/>
                  </a:cubicBezTo>
                  <a:cubicBezTo>
                    <a:pt x="35804" y="200034"/>
                    <a:pt x="36256" y="198049"/>
                    <a:pt x="36705" y="195973"/>
                  </a:cubicBezTo>
                  <a:cubicBezTo>
                    <a:pt x="35624" y="129902"/>
                    <a:pt x="90953" y="75113"/>
                    <a:pt x="145206" y="44787"/>
                  </a:cubicBezTo>
                  <a:cubicBezTo>
                    <a:pt x="206115" y="10759"/>
                    <a:pt x="278717" y="-3503"/>
                    <a:pt x="347902" y="4080"/>
                  </a:cubicBezTo>
                  <a:cubicBezTo>
                    <a:pt x="382633" y="7870"/>
                    <a:pt x="417179" y="16535"/>
                    <a:pt x="447499" y="34137"/>
                  </a:cubicBezTo>
                  <a:cubicBezTo>
                    <a:pt x="475298" y="50114"/>
                    <a:pt x="497880" y="73760"/>
                    <a:pt x="512904" y="102101"/>
                  </a:cubicBezTo>
                  <a:cubicBezTo>
                    <a:pt x="527030" y="129179"/>
                    <a:pt x="534228" y="160140"/>
                    <a:pt x="535036" y="190647"/>
                  </a:cubicBezTo>
                  <a:cubicBezTo>
                    <a:pt x="535396" y="206081"/>
                    <a:pt x="534047" y="221517"/>
                    <a:pt x="530988" y="236590"/>
                  </a:cubicBezTo>
                  <a:cubicBezTo>
                    <a:pt x="529549" y="244172"/>
                    <a:pt x="527300" y="252566"/>
                    <a:pt x="529099" y="260237"/>
                  </a:cubicBezTo>
                  <a:cubicBezTo>
                    <a:pt x="530808" y="267729"/>
                    <a:pt x="537735" y="271881"/>
                    <a:pt x="542954" y="276755"/>
                  </a:cubicBezTo>
                  <a:cubicBezTo>
                    <a:pt x="566525" y="299501"/>
                    <a:pt x="577771" y="332176"/>
                    <a:pt x="573452" y="364668"/>
                  </a:cubicBezTo>
                  <a:cubicBezTo>
                    <a:pt x="569584" y="392198"/>
                    <a:pt x="552939" y="420900"/>
                    <a:pt x="528649" y="435522"/>
                  </a:cubicBezTo>
                  <a:cubicBezTo>
                    <a:pt x="532249" y="439765"/>
                    <a:pt x="535126" y="444638"/>
                    <a:pt x="537105" y="449874"/>
                  </a:cubicBezTo>
                  <a:cubicBezTo>
                    <a:pt x="541874" y="461969"/>
                    <a:pt x="541513" y="475417"/>
                    <a:pt x="536297" y="487242"/>
                  </a:cubicBezTo>
                  <a:cubicBezTo>
                    <a:pt x="530988" y="499517"/>
                    <a:pt x="520462" y="514410"/>
                    <a:pt x="508406" y="520818"/>
                  </a:cubicBezTo>
                  <a:cubicBezTo>
                    <a:pt x="502559" y="524158"/>
                    <a:pt x="495541" y="524970"/>
                    <a:pt x="489064" y="523075"/>
                  </a:cubicBezTo>
                  <a:cubicBezTo>
                    <a:pt x="485103" y="566310"/>
                    <a:pt x="473229" y="607558"/>
                    <a:pt x="442368" y="640774"/>
                  </a:cubicBezTo>
                  <a:cubicBezTo>
                    <a:pt x="417627" y="667491"/>
                    <a:pt x="383801" y="685993"/>
                    <a:pt x="347634" y="691139"/>
                  </a:cubicBezTo>
                  <a:cubicBezTo>
                    <a:pt x="339806" y="692222"/>
                    <a:pt x="331798" y="692763"/>
                    <a:pt x="323881" y="692763"/>
                  </a:cubicBezTo>
                  <a:cubicBezTo>
                    <a:pt x="312007" y="692674"/>
                    <a:pt x="300041" y="691589"/>
                    <a:pt x="288435" y="689333"/>
                  </a:cubicBezTo>
                  <a:close/>
                  <a:moveTo>
                    <a:pt x="71163" y="475146"/>
                  </a:moveTo>
                  <a:cubicBezTo>
                    <a:pt x="67745" y="468467"/>
                    <a:pt x="65136" y="462330"/>
                    <a:pt x="59557" y="456914"/>
                  </a:cubicBezTo>
                  <a:cubicBezTo>
                    <a:pt x="53890" y="451589"/>
                    <a:pt x="47050" y="447527"/>
                    <a:pt x="39674" y="445090"/>
                  </a:cubicBezTo>
                  <a:cubicBezTo>
                    <a:pt x="39222" y="444909"/>
                    <a:pt x="38954" y="444459"/>
                    <a:pt x="39134" y="444007"/>
                  </a:cubicBezTo>
                  <a:cubicBezTo>
                    <a:pt x="39222" y="443646"/>
                    <a:pt x="39494" y="443465"/>
                    <a:pt x="39854" y="443465"/>
                  </a:cubicBezTo>
                  <a:cubicBezTo>
                    <a:pt x="48671" y="443014"/>
                    <a:pt x="57395" y="445361"/>
                    <a:pt x="64863" y="450055"/>
                  </a:cubicBezTo>
                  <a:cubicBezTo>
                    <a:pt x="72599" y="454747"/>
                    <a:pt x="79707" y="461607"/>
                    <a:pt x="83217" y="470092"/>
                  </a:cubicBezTo>
                  <a:cubicBezTo>
                    <a:pt x="85106" y="474696"/>
                    <a:pt x="80700" y="478306"/>
                    <a:pt x="76470" y="478306"/>
                  </a:cubicBezTo>
                  <a:cubicBezTo>
                    <a:pt x="74313" y="478395"/>
                    <a:pt x="72151" y="477133"/>
                    <a:pt x="71163" y="475146"/>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00" name="Freeform: Shape 299">
              <a:extLst>
                <a:ext uri="{FF2B5EF4-FFF2-40B4-BE49-F238E27FC236}">
                  <a16:creationId xmlns:a16="http://schemas.microsoft.com/office/drawing/2014/main" id="{C3A93201-D444-055B-38AF-F42ADC72CBF8}"/>
                </a:ext>
              </a:extLst>
            </p:cNvPr>
            <p:cNvSpPr/>
            <p:nvPr/>
          </p:nvSpPr>
          <p:spPr>
            <a:xfrm>
              <a:off x="2889291" y="3354076"/>
              <a:ext cx="93873" cy="46313"/>
            </a:xfrm>
            <a:custGeom>
              <a:avLst/>
              <a:gdLst>
                <a:gd name="connsiteX0" fmla="*/ 49122 w 93873"/>
                <a:gd name="connsiteY0" fmla="*/ 47549 h 46313"/>
                <a:gd name="connsiteX1" fmla="*/ 9734 w 93873"/>
                <a:gd name="connsiteY1" fmla="*/ 29317 h 46313"/>
                <a:gd name="connsiteX2" fmla="*/ 4489 w 93873"/>
                <a:gd name="connsiteY2" fmla="*/ 1246 h 46313"/>
                <a:gd name="connsiteX3" fmla="*/ 7979 w 93873"/>
                <a:gd name="connsiteY3" fmla="*/ 3322 h 46313"/>
                <a:gd name="connsiteX4" fmla="*/ 75932 w 93873"/>
                <a:gd name="connsiteY4" fmla="*/ 14244 h 46313"/>
                <a:gd name="connsiteX5" fmla="*/ 82914 w 93873"/>
                <a:gd name="connsiteY5" fmla="*/ 10724 h 46313"/>
                <a:gd name="connsiteX6" fmla="*/ 82977 w 93873"/>
                <a:gd name="connsiteY6" fmla="*/ 10724 h 46313"/>
                <a:gd name="connsiteX7" fmla="*/ 90399 w 93873"/>
                <a:gd name="connsiteY7" fmla="*/ 14063 h 46313"/>
                <a:gd name="connsiteX8" fmla="*/ 93872 w 93873"/>
                <a:gd name="connsiteY8" fmla="*/ 21645 h 46313"/>
                <a:gd name="connsiteX9" fmla="*/ 91002 w 93873"/>
                <a:gd name="connsiteY9" fmla="*/ 29045 h 46313"/>
                <a:gd name="connsiteX10" fmla="*/ 49122 w 93873"/>
                <a:gd name="connsiteY10" fmla="*/ 47549 h 4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73" h="46313">
                  <a:moveTo>
                    <a:pt x="49122" y="47549"/>
                  </a:moveTo>
                  <a:cubicBezTo>
                    <a:pt x="34097" y="47730"/>
                    <a:pt x="19513" y="40599"/>
                    <a:pt x="9734" y="29317"/>
                  </a:cubicBezTo>
                  <a:cubicBezTo>
                    <a:pt x="4354" y="23811"/>
                    <a:pt x="-5930" y="2871"/>
                    <a:pt x="4489" y="1246"/>
                  </a:cubicBezTo>
                  <a:cubicBezTo>
                    <a:pt x="5937" y="1155"/>
                    <a:pt x="7377" y="1968"/>
                    <a:pt x="7979" y="3322"/>
                  </a:cubicBezTo>
                  <a:cubicBezTo>
                    <a:pt x="24093" y="28685"/>
                    <a:pt x="54727" y="38975"/>
                    <a:pt x="75932" y="14244"/>
                  </a:cubicBezTo>
                  <a:cubicBezTo>
                    <a:pt x="77633" y="12077"/>
                    <a:pt x="80188" y="10814"/>
                    <a:pt x="82914" y="10724"/>
                  </a:cubicBezTo>
                  <a:lnTo>
                    <a:pt x="82977" y="10724"/>
                  </a:lnTo>
                  <a:cubicBezTo>
                    <a:pt x="85784" y="10814"/>
                    <a:pt x="88456" y="11987"/>
                    <a:pt x="90399" y="14063"/>
                  </a:cubicBezTo>
                  <a:cubicBezTo>
                    <a:pt x="92450" y="16049"/>
                    <a:pt x="93692" y="18757"/>
                    <a:pt x="93872" y="21645"/>
                  </a:cubicBezTo>
                  <a:cubicBezTo>
                    <a:pt x="93971" y="24443"/>
                    <a:pt x="92936" y="27060"/>
                    <a:pt x="91002" y="29045"/>
                  </a:cubicBezTo>
                  <a:cubicBezTo>
                    <a:pt x="80323" y="40599"/>
                    <a:pt x="64830" y="47549"/>
                    <a:pt x="49122" y="4754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1" name="Freeform: Shape 300">
              <a:extLst>
                <a:ext uri="{FF2B5EF4-FFF2-40B4-BE49-F238E27FC236}">
                  <a16:creationId xmlns:a16="http://schemas.microsoft.com/office/drawing/2014/main" id="{D4D01CCF-20EE-5B67-2309-FBC2E06CDE64}"/>
                </a:ext>
              </a:extLst>
            </p:cNvPr>
            <p:cNvSpPr/>
            <p:nvPr/>
          </p:nvSpPr>
          <p:spPr>
            <a:xfrm>
              <a:off x="2915566" y="3264094"/>
              <a:ext cx="69784" cy="62666"/>
            </a:xfrm>
            <a:custGeom>
              <a:avLst/>
              <a:gdLst>
                <a:gd name="connsiteX0" fmla="*/ 38563 w 69784"/>
                <a:gd name="connsiteY0" fmla="*/ 63879 h 62666"/>
                <a:gd name="connsiteX1" fmla="*/ 3755 w 69784"/>
                <a:gd name="connsiteY1" fmla="*/ 35718 h 62666"/>
                <a:gd name="connsiteX2" fmla="*/ 8820 w 69784"/>
                <a:gd name="connsiteY2" fmla="*/ 33732 h 62666"/>
                <a:gd name="connsiteX3" fmla="*/ 12743 w 69784"/>
                <a:gd name="connsiteY3" fmla="*/ 34996 h 62666"/>
                <a:gd name="connsiteX4" fmla="*/ 52481 w 69784"/>
                <a:gd name="connsiteY4" fmla="*/ 43751 h 62666"/>
                <a:gd name="connsiteX5" fmla="*/ 38051 w 69784"/>
                <a:gd name="connsiteY5" fmla="*/ 8459 h 62666"/>
                <a:gd name="connsiteX6" fmla="*/ 37151 w 69784"/>
                <a:gd name="connsiteY6" fmla="*/ 4669 h 62666"/>
                <a:gd name="connsiteX7" fmla="*/ 41955 w 69784"/>
                <a:gd name="connsiteY7" fmla="*/ 1239 h 62666"/>
                <a:gd name="connsiteX8" fmla="*/ 69575 w 69784"/>
                <a:gd name="connsiteY8" fmla="*/ 34544 h 62666"/>
                <a:gd name="connsiteX9" fmla="*/ 38563 w 69784"/>
                <a:gd name="connsiteY9" fmla="*/ 63879 h 6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4" h="62666">
                  <a:moveTo>
                    <a:pt x="38563" y="63879"/>
                  </a:moveTo>
                  <a:cubicBezTo>
                    <a:pt x="27524" y="64331"/>
                    <a:pt x="-12260" y="50611"/>
                    <a:pt x="3755" y="35718"/>
                  </a:cubicBezTo>
                  <a:cubicBezTo>
                    <a:pt x="5158" y="34454"/>
                    <a:pt x="6949" y="33823"/>
                    <a:pt x="8820" y="33732"/>
                  </a:cubicBezTo>
                  <a:cubicBezTo>
                    <a:pt x="10214" y="33732"/>
                    <a:pt x="11582" y="34184"/>
                    <a:pt x="12743" y="34996"/>
                  </a:cubicBezTo>
                  <a:cubicBezTo>
                    <a:pt x="22513" y="42849"/>
                    <a:pt x="40732" y="56659"/>
                    <a:pt x="52481" y="43751"/>
                  </a:cubicBezTo>
                  <a:cubicBezTo>
                    <a:pt x="63934" y="29851"/>
                    <a:pt x="46058" y="12431"/>
                    <a:pt x="38051" y="8459"/>
                  </a:cubicBezTo>
                  <a:cubicBezTo>
                    <a:pt x="36953" y="7557"/>
                    <a:pt x="36593" y="6023"/>
                    <a:pt x="37151" y="4669"/>
                  </a:cubicBezTo>
                  <a:cubicBezTo>
                    <a:pt x="37817" y="2593"/>
                    <a:pt x="39769" y="1239"/>
                    <a:pt x="41955" y="1239"/>
                  </a:cubicBezTo>
                  <a:cubicBezTo>
                    <a:pt x="58428" y="2503"/>
                    <a:pt x="71645" y="17937"/>
                    <a:pt x="69575" y="34544"/>
                  </a:cubicBezTo>
                  <a:cubicBezTo>
                    <a:pt x="68649" y="50521"/>
                    <a:pt x="54803" y="64602"/>
                    <a:pt x="38563" y="6387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2" name="Freeform: Shape 301">
              <a:extLst>
                <a:ext uri="{FF2B5EF4-FFF2-40B4-BE49-F238E27FC236}">
                  <a16:creationId xmlns:a16="http://schemas.microsoft.com/office/drawing/2014/main" id="{CDF10706-0CF5-2D3A-E6F8-0ABD47F099D7}"/>
                </a:ext>
              </a:extLst>
            </p:cNvPr>
            <p:cNvSpPr/>
            <p:nvPr/>
          </p:nvSpPr>
          <p:spPr>
            <a:xfrm>
              <a:off x="2821914" y="3225496"/>
              <a:ext cx="68524" cy="50331"/>
            </a:xfrm>
            <a:custGeom>
              <a:avLst/>
              <a:gdLst>
                <a:gd name="connsiteX0" fmla="*/ 5910 w 68524"/>
                <a:gd name="connsiteY0" fmla="*/ 51570 h 50331"/>
                <a:gd name="connsiteX1" fmla="*/ 4083 w 68524"/>
                <a:gd name="connsiteY1" fmla="*/ 51391 h 50331"/>
                <a:gd name="connsiteX2" fmla="*/ 1573 w 68524"/>
                <a:gd name="connsiteY2" fmla="*/ 49225 h 50331"/>
                <a:gd name="connsiteX3" fmla="*/ 3112 w 68524"/>
                <a:gd name="connsiteY3" fmla="*/ 26027 h 50331"/>
                <a:gd name="connsiteX4" fmla="*/ 63777 w 68524"/>
                <a:gd name="connsiteY4" fmla="*/ 21785 h 50331"/>
                <a:gd name="connsiteX5" fmla="*/ 66701 w 68524"/>
                <a:gd name="connsiteY5" fmla="*/ 26027 h 50331"/>
                <a:gd name="connsiteX6" fmla="*/ 68123 w 68524"/>
                <a:gd name="connsiteY6" fmla="*/ 33880 h 50331"/>
                <a:gd name="connsiteX7" fmla="*/ 62374 w 68524"/>
                <a:gd name="connsiteY7" fmla="*/ 39837 h 50331"/>
                <a:gd name="connsiteX8" fmla="*/ 48905 w 68524"/>
                <a:gd name="connsiteY8" fmla="*/ 34151 h 50331"/>
                <a:gd name="connsiteX9" fmla="*/ 38514 w 68524"/>
                <a:gd name="connsiteY9" fmla="*/ 20341 h 50331"/>
                <a:gd name="connsiteX10" fmla="*/ 27367 w 68524"/>
                <a:gd name="connsiteY10" fmla="*/ 19438 h 50331"/>
                <a:gd name="connsiteX11" fmla="*/ 14403 w 68524"/>
                <a:gd name="connsiteY11" fmla="*/ 32435 h 50331"/>
                <a:gd name="connsiteX12" fmla="*/ 10147 w 68524"/>
                <a:gd name="connsiteY12" fmla="*/ 47599 h 50331"/>
                <a:gd name="connsiteX13" fmla="*/ 6630 w 68524"/>
                <a:gd name="connsiteY13" fmla="*/ 51570 h 50331"/>
                <a:gd name="connsiteX14" fmla="*/ 5910 w 68524"/>
                <a:gd name="connsiteY14" fmla="*/ 51570 h 5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24" h="50331">
                  <a:moveTo>
                    <a:pt x="5910" y="51570"/>
                  </a:moveTo>
                  <a:cubicBezTo>
                    <a:pt x="5289" y="51570"/>
                    <a:pt x="4677" y="51481"/>
                    <a:pt x="4083" y="51391"/>
                  </a:cubicBezTo>
                  <a:cubicBezTo>
                    <a:pt x="2959" y="51029"/>
                    <a:pt x="2032" y="50308"/>
                    <a:pt x="1573" y="49225"/>
                  </a:cubicBezTo>
                  <a:cubicBezTo>
                    <a:pt x="-1612" y="40649"/>
                    <a:pt x="647" y="31894"/>
                    <a:pt x="3112" y="26027"/>
                  </a:cubicBezTo>
                  <a:cubicBezTo>
                    <a:pt x="16310" y="-6466"/>
                    <a:pt x="48204" y="-6105"/>
                    <a:pt x="63777" y="21785"/>
                  </a:cubicBezTo>
                  <a:cubicBezTo>
                    <a:pt x="64722" y="23230"/>
                    <a:pt x="65702" y="24583"/>
                    <a:pt x="66701" y="26027"/>
                  </a:cubicBezTo>
                  <a:cubicBezTo>
                    <a:pt x="68456" y="28193"/>
                    <a:pt x="68986" y="31173"/>
                    <a:pt x="68123" y="33880"/>
                  </a:cubicBezTo>
                  <a:cubicBezTo>
                    <a:pt x="67133" y="36588"/>
                    <a:pt x="65046" y="38754"/>
                    <a:pt x="62374" y="39837"/>
                  </a:cubicBezTo>
                  <a:cubicBezTo>
                    <a:pt x="57245" y="42184"/>
                    <a:pt x="50759" y="39566"/>
                    <a:pt x="48905" y="34151"/>
                  </a:cubicBezTo>
                  <a:cubicBezTo>
                    <a:pt x="46332" y="27922"/>
                    <a:pt x="42545" y="22959"/>
                    <a:pt x="38514" y="20341"/>
                  </a:cubicBezTo>
                  <a:cubicBezTo>
                    <a:pt x="35221" y="18084"/>
                    <a:pt x="30966" y="17723"/>
                    <a:pt x="27367" y="19438"/>
                  </a:cubicBezTo>
                  <a:cubicBezTo>
                    <a:pt x="23975" y="21062"/>
                    <a:pt x="18280" y="26117"/>
                    <a:pt x="14403" y="32435"/>
                  </a:cubicBezTo>
                  <a:cubicBezTo>
                    <a:pt x="11425" y="36948"/>
                    <a:pt x="9931" y="42184"/>
                    <a:pt x="10147" y="47599"/>
                  </a:cubicBezTo>
                  <a:cubicBezTo>
                    <a:pt x="10399" y="49675"/>
                    <a:pt x="8600" y="51391"/>
                    <a:pt x="6630" y="51570"/>
                  </a:cubicBezTo>
                  <a:cubicBezTo>
                    <a:pt x="6378" y="51570"/>
                    <a:pt x="6144" y="51570"/>
                    <a:pt x="5910" y="51570"/>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3" name="Freeform: Shape 302">
              <a:extLst>
                <a:ext uri="{FF2B5EF4-FFF2-40B4-BE49-F238E27FC236}">
                  <a16:creationId xmlns:a16="http://schemas.microsoft.com/office/drawing/2014/main" id="{65E46624-C1EE-02E0-75CA-481D6F03130B}"/>
                </a:ext>
              </a:extLst>
            </p:cNvPr>
            <p:cNvSpPr/>
            <p:nvPr/>
          </p:nvSpPr>
          <p:spPr>
            <a:xfrm>
              <a:off x="2974402" y="3223698"/>
              <a:ext cx="52795" cy="33536"/>
            </a:xfrm>
            <a:custGeom>
              <a:avLst/>
              <a:gdLst>
                <a:gd name="connsiteX0" fmla="*/ 44693 w 52795"/>
                <a:gd name="connsiteY0" fmla="*/ 34776 h 33536"/>
                <a:gd name="connsiteX1" fmla="*/ 36533 w 52795"/>
                <a:gd name="connsiteY1" fmla="*/ 28368 h 33536"/>
                <a:gd name="connsiteX2" fmla="*/ 22579 w 52795"/>
                <a:gd name="connsiteY2" fmla="*/ 17176 h 33536"/>
                <a:gd name="connsiteX3" fmla="*/ 11414 w 52795"/>
                <a:gd name="connsiteY3" fmla="*/ 25479 h 33536"/>
                <a:gd name="connsiteX4" fmla="*/ 11360 w 52795"/>
                <a:gd name="connsiteY4" fmla="*/ 25569 h 33536"/>
                <a:gd name="connsiteX5" fmla="*/ 7537 w 52795"/>
                <a:gd name="connsiteY5" fmla="*/ 30624 h 33536"/>
                <a:gd name="connsiteX6" fmla="*/ 4109 w 52795"/>
                <a:gd name="connsiteY6" fmla="*/ 31436 h 33536"/>
                <a:gd name="connsiteX7" fmla="*/ 15 w 52795"/>
                <a:gd name="connsiteY7" fmla="*/ 22501 h 33536"/>
                <a:gd name="connsiteX8" fmla="*/ 3011 w 52795"/>
                <a:gd name="connsiteY8" fmla="*/ 14196 h 33536"/>
                <a:gd name="connsiteX9" fmla="*/ 40816 w 52795"/>
                <a:gd name="connsiteY9" fmla="*/ 6163 h 33536"/>
                <a:gd name="connsiteX10" fmla="*/ 48652 w 52795"/>
                <a:gd name="connsiteY10" fmla="*/ 33602 h 33536"/>
                <a:gd name="connsiteX11" fmla="*/ 44693 w 52795"/>
                <a:gd name="connsiteY11" fmla="*/ 34776 h 3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95" h="33536">
                  <a:moveTo>
                    <a:pt x="44693" y="34776"/>
                  </a:moveTo>
                  <a:cubicBezTo>
                    <a:pt x="41014" y="34685"/>
                    <a:pt x="37307" y="32068"/>
                    <a:pt x="36533" y="28368"/>
                  </a:cubicBezTo>
                  <a:cubicBezTo>
                    <a:pt x="35364" y="21958"/>
                    <a:pt x="29453" y="15821"/>
                    <a:pt x="22579" y="17176"/>
                  </a:cubicBezTo>
                  <a:cubicBezTo>
                    <a:pt x="17829" y="18078"/>
                    <a:pt x="13736" y="21237"/>
                    <a:pt x="11414" y="25479"/>
                  </a:cubicBezTo>
                  <a:lnTo>
                    <a:pt x="11360" y="25569"/>
                  </a:lnTo>
                  <a:cubicBezTo>
                    <a:pt x="10353" y="27464"/>
                    <a:pt x="9057" y="29180"/>
                    <a:pt x="7537" y="30624"/>
                  </a:cubicBezTo>
                  <a:cubicBezTo>
                    <a:pt x="6610" y="31436"/>
                    <a:pt x="5279" y="31798"/>
                    <a:pt x="4109" y="31436"/>
                  </a:cubicBezTo>
                  <a:cubicBezTo>
                    <a:pt x="348" y="27555"/>
                    <a:pt x="-75" y="24847"/>
                    <a:pt x="15" y="22501"/>
                  </a:cubicBezTo>
                  <a:cubicBezTo>
                    <a:pt x="240" y="19521"/>
                    <a:pt x="1275" y="16633"/>
                    <a:pt x="3011" y="14196"/>
                  </a:cubicBezTo>
                  <a:cubicBezTo>
                    <a:pt x="12449" y="928"/>
                    <a:pt x="28247" y="-2863"/>
                    <a:pt x="40816" y="6163"/>
                  </a:cubicBezTo>
                  <a:cubicBezTo>
                    <a:pt x="48310" y="11489"/>
                    <a:pt x="58684" y="26381"/>
                    <a:pt x="48652" y="33602"/>
                  </a:cubicBezTo>
                  <a:cubicBezTo>
                    <a:pt x="47456" y="34324"/>
                    <a:pt x="46088" y="34685"/>
                    <a:pt x="44693" y="34776"/>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4" name="Freeform: Shape 303">
              <a:extLst>
                <a:ext uri="{FF2B5EF4-FFF2-40B4-BE49-F238E27FC236}">
                  <a16:creationId xmlns:a16="http://schemas.microsoft.com/office/drawing/2014/main" id="{CF6C54FF-28B4-22FA-6F44-5F41664E75E5}"/>
                </a:ext>
              </a:extLst>
            </p:cNvPr>
            <p:cNvSpPr/>
            <p:nvPr/>
          </p:nvSpPr>
          <p:spPr>
            <a:xfrm>
              <a:off x="2799466" y="3157050"/>
              <a:ext cx="80400" cy="64802"/>
            </a:xfrm>
            <a:custGeom>
              <a:avLst/>
              <a:gdLst>
                <a:gd name="connsiteX0" fmla="*/ 4552 w 80400"/>
                <a:gd name="connsiteY0" fmla="*/ 66042 h 64802"/>
                <a:gd name="connsiteX1" fmla="*/ 4264 w 80400"/>
                <a:gd name="connsiteY1" fmla="*/ 66042 h 64802"/>
                <a:gd name="connsiteX2" fmla="*/ 2870 w 80400"/>
                <a:gd name="connsiteY2" fmla="*/ 65410 h 64802"/>
                <a:gd name="connsiteX3" fmla="*/ 9 w 80400"/>
                <a:gd name="connsiteY3" fmla="*/ 57016 h 64802"/>
                <a:gd name="connsiteX4" fmla="*/ 45173 w 80400"/>
                <a:gd name="connsiteY4" fmla="*/ 5207 h 64802"/>
                <a:gd name="connsiteX5" fmla="*/ 77084 w 80400"/>
                <a:gd name="connsiteY5" fmla="*/ 6199 h 64802"/>
                <a:gd name="connsiteX6" fmla="*/ 80404 w 80400"/>
                <a:gd name="connsiteY6" fmla="*/ 14413 h 64802"/>
                <a:gd name="connsiteX7" fmla="*/ 77066 w 80400"/>
                <a:gd name="connsiteY7" fmla="*/ 22718 h 64802"/>
                <a:gd name="connsiteX8" fmla="*/ 54691 w 80400"/>
                <a:gd name="connsiteY8" fmla="*/ 29397 h 64802"/>
                <a:gd name="connsiteX9" fmla="*/ 10148 w 80400"/>
                <a:gd name="connsiteY9" fmla="*/ 58912 h 64802"/>
                <a:gd name="connsiteX10" fmla="*/ 7332 w 80400"/>
                <a:gd name="connsiteY10" fmla="*/ 63966 h 64802"/>
                <a:gd name="connsiteX11" fmla="*/ 5875 w 80400"/>
                <a:gd name="connsiteY11" fmla="*/ 65772 h 64802"/>
                <a:gd name="connsiteX12" fmla="*/ 4552 w 80400"/>
                <a:gd name="connsiteY12" fmla="*/ 66042 h 64802"/>
                <a:gd name="connsiteX13" fmla="*/ 4552 w 80400"/>
                <a:gd name="connsiteY13" fmla="*/ 66042 h 6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00" h="64802">
                  <a:moveTo>
                    <a:pt x="4552" y="66042"/>
                  </a:moveTo>
                  <a:cubicBezTo>
                    <a:pt x="4453" y="66042"/>
                    <a:pt x="4363" y="66042"/>
                    <a:pt x="4264" y="66042"/>
                  </a:cubicBezTo>
                  <a:cubicBezTo>
                    <a:pt x="3742" y="65951"/>
                    <a:pt x="3257" y="65681"/>
                    <a:pt x="2870" y="65410"/>
                  </a:cubicBezTo>
                  <a:cubicBezTo>
                    <a:pt x="899" y="63695"/>
                    <a:pt x="-63" y="60897"/>
                    <a:pt x="9" y="57016"/>
                  </a:cubicBezTo>
                  <a:cubicBezTo>
                    <a:pt x="2168" y="34000"/>
                    <a:pt x="23167" y="13240"/>
                    <a:pt x="45173" y="5207"/>
                  </a:cubicBezTo>
                  <a:cubicBezTo>
                    <a:pt x="53729" y="1777"/>
                    <a:pt x="68924" y="-2104"/>
                    <a:pt x="77084" y="6199"/>
                  </a:cubicBezTo>
                  <a:cubicBezTo>
                    <a:pt x="79252" y="8365"/>
                    <a:pt x="80458" y="11345"/>
                    <a:pt x="80404" y="14413"/>
                  </a:cubicBezTo>
                  <a:cubicBezTo>
                    <a:pt x="80449" y="17482"/>
                    <a:pt x="79243" y="20461"/>
                    <a:pt x="77066" y="22718"/>
                  </a:cubicBezTo>
                  <a:cubicBezTo>
                    <a:pt x="71182" y="28674"/>
                    <a:pt x="62267" y="27681"/>
                    <a:pt x="54691" y="29397"/>
                  </a:cubicBezTo>
                  <a:cubicBezTo>
                    <a:pt x="36653" y="33097"/>
                    <a:pt x="21088" y="44109"/>
                    <a:pt x="10148" y="58912"/>
                  </a:cubicBezTo>
                  <a:cubicBezTo>
                    <a:pt x="9149" y="60536"/>
                    <a:pt x="8340" y="62521"/>
                    <a:pt x="7332" y="63966"/>
                  </a:cubicBezTo>
                  <a:cubicBezTo>
                    <a:pt x="6576" y="65320"/>
                    <a:pt x="6181" y="65591"/>
                    <a:pt x="5875" y="65772"/>
                  </a:cubicBezTo>
                  <a:cubicBezTo>
                    <a:pt x="5461" y="65951"/>
                    <a:pt x="5011" y="66042"/>
                    <a:pt x="4552" y="66042"/>
                  </a:cubicBezTo>
                  <a:lnTo>
                    <a:pt x="4552" y="66042"/>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5" name="Freeform: Shape 304">
              <a:extLst>
                <a:ext uri="{FF2B5EF4-FFF2-40B4-BE49-F238E27FC236}">
                  <a16:creationId xmlns:a16="http://schemas.microsoft.com/office/drawing/2014/main" id="{15C7E79E-EAE0-979E-BE18-FC28419023F2}"/>
                </a:ext>
              </a:extLst>
            </p:cNvPr>
            <p:cNvSpPr/>
            <p:nvPr/>
          </p:nvSpPr>
          <p:spPr>
            <a:xfrm>
              <a:off x="2961965" y="3153214"/>
              <a:ext cx="73522" cy="65750"/>
            </a:xfrm>
            <a:custGeom>
              <a:avLst/>
              <a:gdLst>
                <a:gd name="connsiteX0" fmla="*/ 67917 w 73522"/>
                <a:gd name="connsiteY0" fmla="*/ 66989 h 65750"/>
                <a:gd name="connsiteX1" fmla="*/ 65461 w 73522"/>
                <a:gd name="connsiteY1" fmla="*/ 65094 h 65750"/>
                <a:gd name="connsiteX2" fmla="*/ 44822 w 73522"/>
                <a:gd name="connsiteY2" fmla="*/ 36481 h 65750"/>
                <a:gd name="connsiteX3" fmla="*/ 25587 w 73522"/>
                <a:gd name="connsiteY3" fmla="*/ 30073 h 65750"/>
                <a:gd name="connsiteX4" fmla="*/ 153 w 73522"/>
                <a:gd name="connsiteY4" fmla="*/ 11389 h 65750"/>
                <a:gd name="connsiteX5" fmla="*/ 35574 w 73522"/>
                <a:gd name="connsiteY5" fmla="*/ 7056 h 65750"/>
                <a:gd name="connsiteX6" fmla="*/ 35592 w 73522"/>
                <a:gd name="connsiteY6" fmla="*/ 7056 h 65750"/>
                <a:gd name="connsiteX7" fmla="*/ 37085 w 73522"/>
                <a:gd name="connsiteY7" fmla="*/ 7688 h 65750"/>
                <a:gd name="connsiteX8" fmla="*/ 60441 w 73522"/>
                <a:gd name="connsiteY8" fmla="*/ 23304 h 65750"/>
                <a:gd name="connsiteX9" fmla="*/ 67917 w 73522"/>
                <a:gd name="connsiteY9" fmla="*/ 66989 h 65750"/>
                <a:gd name="connsiteX10" fmla="*/ 67917 w 73522"/>
                <a:gd name="connsiteY10" fmla="*/ 66989 h 6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22" h="65750">
                  <a:moveTo>
                    <a:pt x="67917" y="66989"/>
                  </a:moveTo>
                  <a:cubicBezTo>
                    <a:pt x="66784" y="66989"/>
                    <a:pt x="65695" y="66177"/>
                    <a:pt x="65461" y="65094"/>
                  </a:cubicBezTo>
                  <a:cubicBezTo>
                    <a:pt x="62258" y="50923"/>
                    <a:pt x="55897" y="42168"/>
                    <a:pt x="44822" y="36481"/>
                  </a:cubicBezTo>
                  <a:cubicBezTo>
                    <a:pt x="38678" y="33592"/>
                    <a:pt x="32227" y="31426"/>
                    <a:pt x="25587" y="30073"/>
                  </a:cubicBezTo>
                  <a:cubicBezTo>
                    <a:pt x="14854" y="28538"/>
                    <a:pt x="-1736" y="26282"/>
                    <a:pt x="153" y="11389"/>
                  </a:cubicBezTo>
                  <a:cubicBezTo>
                    <a:pt x="3959" y="-4857"/>
                    <a:pt x="25677" y="2092"/>
                    <a:pt x="35574" y="7056"/>
                  </a:cubicBezTo>
                  <a:lnTo>
                    <a:pt x="35592" y="7056"/>
                  </a:lnTo>
                  <a:cubicBezTo>
                    <a:pt x="36096" y="7237"/>
                    <a:pt x="36590" y="7508"/>
                    <a:pt x="37085" y="7688"/>
                  </a:cubicBezTo>
                  <a:cubicBezTo>
                    <a:pt x="45884" y="11208"/>
                    <a:pt x="53846" y="16534"/>
                    <a:pt x="60441" y="23304"/>
                  </a:cubicBezTo>
                  <a:cubicBezTo>
                    <a:pt x="69842" y="32509"/>
                    <a:pt x="80198" y="58054"/>
                    <a:pt x="67917" y="66989"/>
                  </a:cubicBezTo>
                  <a:lnTo>
                    <a:pt x="67917" y="66989"/>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306" name="Rounded Rectangle 16">
              <a:extLst>
                <a:ext uri="{FF2B5EF4-FFF2-40B4-BE49-F238E27FC236}">
                  <a16:creationId xmlns:a16="http://schemas.microsoft.com/office/drawing/2014/main" id="{BA2EEBA1-7FC5-66F4-3012-271C98AC4929}"/>
                </a:ext>
              </a:extLst>
            </p:cNvPr>
            <p:cNvSpPr/>
            <p:nvPr/>
          </p:nvSpPr>
          <p:spPr>
            <a:xfrm>
              <a:off x="871256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07" name="TextBox 306">
              <a:extLst>
                <a:ext uri="{FF2B5EF4-FFF2-40B4-BE49-F238E27FC236}">
                  <a16:creationId xmlns:a16="http://schemas.microsoft.com/office/drawing/2014/main" id="{EC4DC982-C10F-4486-63E8-A2D95BD42019}"/>
                </a:ext>
              </a:extLst>
            </p:cNvPr>
            <p:cNvSpPr txBox="1"/>
            <p:nvPr/>
          </p:nvSpPr>
          <p:spPr>
            <a:xfrm>
              <a:off x="8742952" y="4901285"/>
              <a:ext cx="1305924" cy="338554"/>
            </a:xfrm>
            <a:prstGeom prst="rect">
              <a:avLst/>
            </a:prstGeom>
            <a:noFill/>
          </p:spPr>
          <p:txBody>
            <a:bodyPr wrap="square" rtlCol="0">
              <a:spAutoFit/>
            </a:bodyPr>
            <a:lstStyle/>
            <a:p>
              <a:pPr algn="ctr"/>
              <a:r>
                <a:rPr lang="en-US" sz="1600">
                  <a:solidFill>
                    <a:schemeClr val="bg1"/>
                  </a:solidFill>
                  <a:latin typeface="Darker Grotesque" pitchFamily="2" charset="0"/>
                </a:rPr>
                <a:t>PPT</a:t>
              </a:r>
            </a:p>
          </p:txBody>
        </p:sp>
        <p:sp>
          <p:nvSpPr>
            <p:cNvPr id="308" name="TextBox 307">
              <a:extLst>
                <a:ext uri="{FF2B5EF4-FFF2-40B4-BE49-F238E27FC236}">
                  <a16:creationId xmlns:a16="http://schemas.microsoft.com/office/drawing/2014/main" id="{30DEE616-E45F-2955-20FC-C9CBC3076EE7}"/>
                </a:ext>
              </a:extLst>
            </p:cNvPr>
            <p:cNvSpPr txBox="1"/>
            <p:nvPr/>
          </p:nvSpPr>
          <p:spPr>
            <a:xfrm>
              <a:off x="8968555" y="4671889"/>
              <a:ext cx="854721" cy="275332"/>
            </a:xfrm>
            <a:prstGeom prst="rect">
              <a:avLst/>
            </a:prstGeom>
            <a:noFill/>
          </p:spPr>
          <p:txBody>
            <a:bodyPr wrap="none" rtlCol="0">
              <a:spAutoFit/>
            </a:bodyPr>
            <a:lstStyle/>
            <a:p>
              <a:pPr algn="ctr">
                <a:lnSpc>
                  <a:spcPct val="70000"/>
                </a:lnSpc>
              </a:pPr>
              <a:r>
                <a:rPr lang="en-US" sz="1600">
                  <a:solidFill>
                    <a:schemeClr val="bg1"/>
                  </a:solidFill>
                  <a:latin typeface="+mj-lt"/>
                </a:rPr>
                <a:t>One Skill</a:t>
              </a:r>
              <a:endParaRPr lang="en-GB" sz="1600">
                <a:solidFill>
                  <a:schemeClr val="bg1"/>
                </a:solidFill>
                <a:latin typeface="+mj-lt"/>
              </a:endParaRPr>
            </a:p>
          </p:txBody>
        </p:sp>
        <p:sp>
          <p:nvSpPr>
            <p:cNvPr id="309" name="Freeform: Shape 308">
              <a:extLst>
                <a:ext uri="{FF2B5EF4-FFF2-40B4-BE49-F238E27FC236}">
                  <a16:creationId xmlns:a16="http://schemas.microsoft.com/office/drawing/2014/main" id="{2624A6EF-D1AC-0124-39EF-496B41A4F438}"/>
                </a:ext>
              </a:extLst>
            </p:cNvPr>
            <p:cNvSpPr/>
            <p:nvPr/>
          </p:nvSpPr>
          <p:spPr>
            <a:xfrm>
              <a:off x="8834881" y="3391403"/>
              <a:ext cx="1087969" cy="1058488"/>
            </a:xfrm>
            <a:custGeom>
              <a:avLst/>
              <a:gdLst>
                <a:gd name="connsiteX0" fmla="*/ 1071140 w 1087969"/>
                <a:gd name="connsiteY0" fmla="*/ 1036331 h 1058488"/>
                <a:gd name="connsiteX1" fmla="*/ 1085169 w 1087969"/>
                <a:gd name="connsiteY1" fmla="*/ 971399 h 1058488"/>
                <a:gd name="connsiteX2" fmla="*/ 1052101 w 1087969"/>
                <a:gd name="connsiteY2" fmla="*/ 767232 h 1058488"/>
                <a:gd name="connsiteX3" fmla="*/ 1043305 w 1087969"/>
                <a:gd name="connsiteY3" fmla="*/ 592055 h 1058488"/>
                <a:gd name="connsiteX4" fmla="*/ 972176 w 1087969"/>
                <a:gd name="connsiteY4" fmla="*/ 299853 h 1058488"/>
                <a:gd name="connsiteX5" fmla="*/ 852959 w 1087969"/>
                <a:gd name="connsiteY5" fmla="*/ 171679 h 1058488"/>
                <a:gd name="connsiteX6" fmla="*/ 748699 w 1087969"/>
                <a:gd name="connsiteY6" fmla="*/ 80880 h 1058488"/>
                <a:gd name="connsiteX7" fmla="*/ 744439 w 1087969"/>
                <a:gd name="connsiteY7" fmla="*/ 76956 h 1058488"/>
                <a:gd name="connsiteX8" fmla="*/ 594725 w 1087969"/>
                <a:gd name="connsiteY8" fmla="*/ 4350 h 1058488"/>
                <a:gd name="connsiteX9" fmla="*/ 519266 w 1087969"/>
                <a:gd name="connsiteY9" fmla="*/ 38066 h 1058488"/>
                <a:gd name="connsiteX10" fmla="*/ 360309 w 1087969"/>
                <a:gd name="connsiteY10" fmla="*/ 49840 h 1058488"/>
                <a:gd name="connsiteX11" fmla="*/ 328759 w 1087969"/>
                <a:gd name="connsiteY11" fmla="*/ 104784 h 1058488"/>
                <a:gd name="connsiteX12" fmla="*/ 260595 w 1087969"/>
                <a:gd name="connsiteY12" fmla="*/ 122087 h 1058488"/>
                <a:gd name="connsiteX13" fmla="*/ 213863 w 1087969"/>
                <a:gd name="connsiteY13" fmla="*/ 256771 h 1058488"/>
                <a:gd name="connsiteX14" fmla="*/ 227857 w 1087969"/>
                <a:gd name="connsiteY14" fmla="*/ 268635 h 1058488"/>
                <a:gd name="connsiteX15" fmla="*/ 67114 w 1087969"/>
                <a:gd name="connsiteY15" fmla="*/ 540678 h 1058488"/>
                <a:gd name="connsiteX16" fmla="*/ 34966 w 1087969"/>
                <a:gd name="connsiteY16" fmla="*/ 787747 h 1058488"/>
                <a:gd name="connsiteX17" fmla="*/ 7282 w 1087969"/>
                <a:gd name="connsiteY17" fmla="*/ 888537 h 1058488"/>
                <a:gd name="connsiteX18" fmla="*/ 1031 w 1087969"/>
                <a:gd name="connsiteY18" fmla="*/ 1009840 h 1058488"/>
                <a:gd name="connsiteX19" fmla="*/ 15560 w 1087969"/>
                <a:gd name="connsiteY19" fmla="*/ 1041684 h 1058488"/>
                <a:gd name="connsiteX20" fmla="*/ 839313 w 1087969"/>
                <a:gd name="connsiteY20" fmla="*/ 1036510 h 1058488"/>
                <a:gd name="connsiteX21" fmla="*/ 1071140 w 1087969"/>
                <a:gd name="connsiteY21" fmla="*/ 1036331 h 105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969" h="1058488">
                  <a:moveTo>
                    <a:pt x="1071140" y="1036331"/>
                  </a:moveTo>
                  <a:cubicBezTo>
                    <a:pt x="1097805" y="1035083"/>
                    <a:pt x="1087080" y="988524"/>
                    <a:pt x="1085169" y="971399"/>
                  </a:cubicBezTo>
                  <a:cubicBezTo>
                    <a:pt x="1076212" y="898347"/>
                    <a:pt x="1060415" y="832701"/>
                    <a:pt x="1052101" y="767232"/>
                  </a:cubicBezTo>
                  <a:cubicBezTo>
                    <a:pt x="1046930" y="706133"/>
                    <a:pt x="1048895" y="653152"/>
                    <a:pt x="1043305" y="592055"/>
                  </a:cubicBezTo>
                  <a:cubicBezTo>
                    <a:pt x="1036937" y="520163"/>
                    <a:pt x="1021845" y="389760"/>
                    <a:pt x="972176" y="299853"/>
                  </a:cubicBezTo>
                  <a:cubicBezTo>
                    <a:pt x="944716" y="250171"/>
                    <a:pt x="890768" y="188717"/>
                    <a:pt x="852959" y="171679"/>
                  </a:cubicBezTo>
                  <a:cubicBezTo>
                    <a:pt x="841787" y="122712"/>
                    <a:pt x="806700" y="82217"/>
                    <a:pt x="748699" y="80880"/>
                  </a:cubicBezTo>
                  <a:cubicBezTo>
                    <a:pt x="747056" y="80880"/>
                    <a:pt x="745511" y="78204"/>
                    <a:pt x="744439" y="76956"/>
                  </a:cubicBezTo>
                  <a:cubicBezTo>
                    <a:pt x="704370" y="30218"/>
                    <a:pt x="656236" y="-2339"/>
                    <a:pt x="594725" y="4350"/>
                  </a:cubicBezTo>
                  <a:cubicBezTo>
                    <a:pt x="568953" y="5511"/>
                    <a:pt x="543948" y="32803"/>
                    <a:pt x="519266" y="38066"/>
                  </a:cubicBezTo>
                  <a:cubicBezTo>
                    <a:pt x="505442" y="39939"/>
                    <a:pt x="449610" y="9346"/>
                    <a:pt x="360309" y="49840"/>
                  </a:cubicBezTo>
                  <a:cubicBezTo>
                    <a:pt x="343190" y="58581"/>
                    <a:pt x="341913" y="88817"/>
                    <a:pt x="328759" y="104784"/>
                  </a:cubicBezTo>
                  <a:cubicBezTo>
                    <a:pt x="315604" y="120839"/>
                    <a:pt x="280241" y="109868"/>
                    <a:pt x="260595" y="122087"/>
                  </a:cubicBezTo>
                  <a:cubicBezTo>
                    <a:pt x="187546" y="165436"/>
                    <a:pt x="198262" y="228855"/>
                    <a:pt x="213863" y="256771"/>
                  </a:cubicBezTo>
                  <a:cubicBezTo>
                    <a:pt x="219445" y="266673"/>
                    <a:pt x="227116" y="267921"/>
                    <a:pt x="227857" y="268635"/>
                  </a:cubicBezTo>
                  <a:cubicBezTo>
                    <a:pt x="161595" y="360682"/>
                    <a:pt x="93913" y="428114"/>
                    <a:pt x="67114" y="540678"/>
                  </a:cubicBezTo>
                  <a:cubicBezTo>
                    <a:pt x="49745" y="624253"/>
                    <a:pt x="49513" y="703726"/>
                    <a:pt x="34966" y="787747"/>
                  </a:cubicBezTo>
                  <a:cubicBezTo>
                    <a:pt x="29831" y="816824"/>
                    <a:pt x="15801" y="860261"/>
                    <a:pt x="7282" y="888537"/>
                  </a:cubicBezTo>
                  <a:cubicBezTo>
                    <a:pt x="-1960" y="925552"/>
                    <a:pt x="2817" y="990218"/>
                    <a:pt x="1031" y="1009840"/>
                  </a:cubicBezTo>
                  <a:cubicBezTo>
                    <a:pt x="138" y="1023220"/>
                    <a:pt x="5728" y="1041684"/>
                    <a:pt x="15560" y="1041684"/>
                  </a:cubicBezTo>
                  <a:cubicBezTo>
                    <a:pt x="288225" y="1086817"/>
                    <a:pt x="565184" y="1043556"/>
                    <a:pt x="839313" y="1036510"/>
                  </a:cubicBezTo>
                  <a:cubicBezTo>
                    <a:pt x="916550" y="1033746"/>
                    <a:pt x="993885" y="1033211"/>
                    <a:pt x="1071140" y="1036331"/>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310" name="Freeform: Shape 309">
              <a:extLst>
                <a:ext uri="{FF2B5EF4-FFF2-40B4-BE49-F238E27FC236}">
                  <a16:creationId xmlns:a16="http://schemas.microsoft.com/office/drawing/2014/main" id="{5D179D5C-B0FB-7B7C-299C-968557AE50E0}"/>
                </a:ext>
              </a:extLst>
            </p:cNvPr>
            <p:cNvSpPr/>
            <p:nvPr/>
          </p:nvSpPr>
          <p:spPr>
            <a:xfrm>
              <a:off x="8827170" y="3417047"/>
              <a:ext cx="1099134" cy="1033597"/>
            </a:xfrm>
            <a:custGeom>
              <a:avLst/>
              <a:gdLst>
                <a:gd name="connsiteX0" fmla="*/ 520877 w 1099134"/>
                <a:gd name="connsiteY0" fmla="*/ 94749 h 1033597"/>
                <a:gd name="connsiteX1" fmla="*/ 542131 w 1099134"/>
                <a:gd name="connsiteY1" fmla="*/ 125166 h 1033597"/>
                <a:gd name="connsiteX2" fmla="*/ 665394 w 1099134"/>
                <a:gd name="connsiteY2" fmla="*/ 222030 h 1033597"/>
                <a:gd name="connsiteX3" fmla="*/ 761991 w 1099134"/>
                <a:gd name="connsiteY3" fmla="*/ 126771 h 1033597"/>
                <a:gd name="connsiteX4" fmla="*/ 766010 w 1099134"/>
                <a:gd name="connsiteY4" fmla="*/ 94481 h 1033597"/>
                <a:gd name="connsiteX5" fmla="*/ 754883 w 1099134"/>
                <a:gd name="connsiteY5" fmla="*/ 55862 h 1033597"/>
                <a:gd name="connsiteX6" fmla="*/ 756794 w 1099134"/>
                <a:gd name="connsiteY6" fmla="*/ 53364 h 1033597"/>
                <a:gd name="connsiteX7" fmla="*/ 842095 w 1099134"/>
                <a:gd name="connsiteY7" fmla="*/ 95821 h 1033597"/>
                <a:gd name="connsiteX8" fmla="*/ 867367 w 1099134"/>
                <a:gd name="connsiteY8" fmla="*/ 150049 h 1033597"/>
                <a:gd name="connsiteX9" fmla="*/ 989934 w 1099134"/>
                <a:gd name="connsiteY9" fmla="*/ 295169 h 1033597"/>
                <a:gd name="connsiteX10" fmla="*/ 1048649 w 1099134"/>
                <a:gd name="connsiteY10" fmla="*/ 563199 h 1033597"/>
                <a:gd name="connsiteX11" fmla="*/ 1061151 w 1099134"/>
                <a:gd name="connsiteY11" fmla="*/ 752291 h 1033597"/>
                <a:gd name="connsiteX12" fmla="*/ 1098212 w 1099134"/>
                <a:gd name="connsiteY12" fmla="*/ 948519 h 1033597"/>
                <a:gd name="connsiteX13" fmla="*/ 1079190 w 1099134"/>
                <a:gd name="connsiteY13" fmla="*/ 1011491 h 1033597"/>
                <a:gd name="connsiteX14" fmla="*/ 847346 w 1099134"/>
                <a:gd name="connsiteY14" fmla="*/ 1011581 h 1033597"/>
                <a:gd name="connsiteX15" fmla="*/ 23593 w 1099134"/>
                <a:gd name="connsiteY15" fmla="*/ 1016755 h 1033597"/>
                <a:gd name="connsiteX16" fmla="*/ 40882 w 1099134"/>
                <a:gd name="connsiteY16" fmla="*/ 777266 h 1033597"/>
                <a:gd name="connsiteX17" fmla="*/ 73629 w 1099134"/>
                <a:gd name="connsiteY17" fmla="*/ 512091 h 1033597"/>
                <a:gd name="connsiteX18" fmla="*/ 230201 w 1099134"/>
                <a:gd name="connsiteY18" fmla="*/ 251643 h 1033597"/>
                <a:gd name="connsiteX19" fmla="*/ 226031 w 1099134"/>
                <a:gd name="connsiteY19" fmla="*/ 237907 h 1033597"/>
                <a:gd name="connsiteX20" fmla="*/ 269655 w 1099134"/>
                <a:gd name="connsiteY20" fmla="*/ 95106 h 1033597"/>
                <a:gd name="connsiteX21" fmla="*/ 335577 w 1099134"/>
                <a:gd name="connsiteY21" fmla="*/ 79765 h 1033597"/>
                <a:gd name="connsiteX22" fmla="*/ 371896 w 1099134"/>
                <a:gd name="connsiteY22" fmla="*/ 20896 h 1033597"/>
                <a:gd name="connsiteX23" fmla="*/ 527352 w 1099134"/>
                <a:gd name="connsiteY23" fmla="*/ 10372 h 1033597"/>
                <a:gd name="connsiteX24" fmla="*/ 546775 w 1099134"/>
                <a:gd name="connsiteY24" fmla="*/ 3503 h 1033597"/>
                <a:gd name="connsiteX25" fmla="*/ 545534 w 1099134"/>
                <a:gd name="connsiteY25" fmla="*/ 9213 h 1033597"/>
                <a:gd name="connsiteX26" fmla="*/ 529852 w 1099134"/>
                <a:gd name="connsiteY26" fmla="*/ 72361 h 1033597"/>
                <a:gd name="connsiteX27" fmla="*/ 520877 w 1099134"/>
                <a:gd name="connsiteY27" fmla="*/ 94749 h 103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9134" h="1033597">
                  <a:moveTo>
                    <a:pt x="520877" y="94749"/>
                  </a:moveTo>
                  <a:cubicBezTo>
                    <a:pt x="520877" y="101528"/>
                    <a:pt x="533201" y="112231"/>
                    <a:pt x="542131" y="125166"/>
                  </a:cubicBezTo>
                  <a:cubicBezTo>
                    <a:pt x="571288" y="167444"/>
                    <a:pt x="638773" y="227472"/>
                    <a:pt x="665394" y="222030"/>
                  </a:cubicBezTo>
                  <a:cubicBezTo>
                    <a:pt x="688577" y="217303"/>
                    <a:pt x="715117" y="183855"/>
                    <a:pt x="761991" y="126771"/>
                  </a:cubicBezTo>
                  <a:cubicBezTo>
                    <a:pt x="761991" y="126771"/>
                    <a:pt x="768269" y="110358"/>
                    <a:pt x="766010" y="94481"/>
                  </a:cubicBezTo>
                  <a:cubicBezTo>
                    <a:pt x="763751" y="78605"/>
                    <a:pt x="754883" y="55862"/>
                    <a:pt x="754883" y="55862"/>
                  </a:cubicBezTo>
                  <a:cubicBezTo>
                    <a:pt x="754446" y="54612"/>
                    <a:pt x="755454" y="53275"/>
                    <a:pt x="756794" y="53364"/>
                  </a:cubicBezTo>
                  <a:cubicBezTo>
                    <a:pt x="790193" y="55415"/>
                    <a:pt x="820627" y="72361"/>
                    <a:pt x="842095" y="95821"/>
                  </a:cubicBezTo>
                  <a:cubicBezTo>
                    <a:pt x="856696" y="111787"/>
                    <a:pt x="862956" y="130695"/>
                    <a:pt x="867367" y="150049"/>
                  </a:cubicBezTo>
                  <a:cubicBezTo>
                    <a:pt x="907142" y="167978"/>
                    <a:pt x="958482" y="223814"/>
                    <a:pt x="989934" y="295169"/>
                  </a:cubicBezTo>
                  <a:cubicBezTo>
                    <a:pt x="1028914" y="383652"/>
                    <a:pt x="1041889" y="493895"/>
                    <a:pt x="1048649" y="563199"/>
                  </a:cubicBezTo>
                  <a:cubicBezTo>
                    <a:pt x="1048649" y="563199"/>
                    <a:pt x="1055981" y="691105"/>
                    <a:pt x="1061151" y="752291"/>
                  </a:cubicBezTo>
                  <a:cubicBezTo>
                    <a:pt x="1069456" y="817761"/>
                    <a:pt x="1098212" y="948519"/>
                    <a:pt x="1098212" y="948519"/>
                  </a:cubicBezTo>
                  <a:cubicBezTo>
                    <a:pt x="1100417" y="966448"/>
                    <a:pt x="1105320" y="1010244"/>
                    <a:pt x="1079190" y="1011491"/>
                  </a:cubicBezTo>
                  <a:cubicBezTo>
                    <a:pt x="1001944" y="1008279"/>
                    <a:pt x="924601" y="1008904"/>
                    <a:pt x="847346" y="1011581"/>
                  </a:cubicBezTo>
                  <a:cubicBezTo>
                    <a:pt x="573217" y="1018627"/>
                    <a:pt x="296258" y="1061975"/>
                    <a:pt x="23593" y="1016755"/>
                  </a:cubicBezTo>
                  <a:cubicBezTo>
                    <a:pt x="-34131" y="1006228"/>
                    <a:pt x="36096" y="804382"/>
                    <a:pt x="40882" y="777266"/>
                  </a:cubicBezTo>
                  <a:cubicBezTo>
                    <a:pt x="55438" y="693246"/>
                    <a:pt x="56260" y="595578"/>
                    <a:pt x="73629" y="512091"/>
                  </a:cubicBezTo>
                  <a:cubicBezTo>
                    <a:pt x="99392" y="403810"/>
                    <a:pt x="166145" y="338251"/>
                    <a:pt x="230201" y="251643"/>
                  </a:cubicBezTo>
                  <a:cubicBezTo>
                    <a:pt x="234497" y="245844"/>
                    <a:pt x="229701" y="244150"/>
                    <a:pt x="226031" y="237907"/>
                  </a:cubicBezTo>
                  <a:cubicBezTo>
                    <a:pt x="212385" y="214805"/>
                    <a:pt x="188283" y="147018"/>
                    <a:pt x="269655" y="95106"/>
                  </a:cubicBezTo>
                  <a:cubicBezTo>
                    <a:pt x="287354" y="80390"/>
                    <a:pt x="322967" y="108128"/>
                    <a:pt x="335577" y="79765"/>
                  </a:cubicBezTo>
                  <a:cubicBezTo>
                    <a:pt x="347374" y="56395"/>
                    <a:pt x="354768" y="29726"/>
                    <a:pt x="371896" y="20896"/>
                  </a:cubicBezTo>
                  <a:cubicBezTo>
                    <a:pt x="442149" y="-11838"/>
                    <a:pt x="513528" y="12334"/>
                    <a:pt x="527352" y="10372"/>
                  </a:cubicBezTo>
                  <a:cubicBezTo>
                    <a:pt x="535362" y="8856"/>
                    <a:pt x="546087" y="3057"/>
                    <a:pt x="546775" y="3503"/>
                  </a:cubicBezTo>
                  <a:cubicBezTo>
                    <a:pt x="547463" y="3950"/>
                    <a:pt x="545534" y="9213"/>
                    <a:pt x="545534" y="9213"/>
                  </a:cubicBezTo>
                  <a:cubicBezTo>
                    <a:pt x="537791" y="35079"/>
                    <a:pt x="532558" y="56127"/>
                    <a:pt x="529852" y="72361"/>
                  </a:cubicBezTo>
                  <a:cubicBezTo>
                    <a:pt x="528388" y="81102"/>
                    <a:pt x="520877" y="88774"/>
                    <a:pt x="520877" y="9474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11" name="Freeform: Shape 310">
              <a:extLst>
                <a:ext uri="{FF2B5EF4-FFF2-40B4-BE49-F238E27FC236}">
                  <a16:creationId xmlns:a16="http://schemas.microsoft.com/office/drawing/2014/main" id="{E5F9BA9D-C36D-DDBD-FE96-D6F966C2F4C6}"/>
                </a:ext>
              </a:extLst>
            </p:cNvPr>
            <p:cNvSpPr/>
            <p:nvPr/>
          </p:nvSpPr>
          <p:spPr>
            <a:xfrm>
              <a:off x="8816610" y="3408873"/>
              <a:ext cx="1122575" cy="1042858"/>
            </a:xfrm>
            <a:custGeom>
              <a:avLst/>
              <a:gdLst>
                <a:gd name="connsiteX0" fmla="*/ 677116 w 1122575"/>
                <a:gd name="connsiteY0" fmla="*/ 1046334 h 1042858"/>
                <a:gd name="connsiteX1" fmla="*/ 673883 w 1122575"/>
                <a:gd name="connsiteY1" fmla="*/ 1043211 h 1042858"/>
                <a:gd name="connsiteX2" fmla="*/ 661264 w 1122575"/>
                <a:gd name="connsiteY2" fmla="*/ 746728 h 1042858"/>
                <a:gd name="connsiteX3" fmla="*/ 494048 w 1122575"/>
                <a:gd name="connsiteY3" fmla="*/ 746728 h 1042858"/>
                <a:gd name="connsiteX4" fmla="*/ 433331 w 1122575"/>
                <a:gd name="connsiteY4" fmla="*/ 915129 h 1042858"/>
                <a:gd name="connsiteX5" fmla="*/ 408264 w 1122575"/>
                <a:gd name="connsiteY5" fmla="*/ 961331 h 1042858"/>
                <a:gd name="connsiteX6" fmla="*/ 399013 w 1122575"/>
                <a:gd name="connsiteY6" fmla="*/ 1004591 h 1042858"/>
                <a:gd name="connsiteX7" fmla="*/ 386716 w 1122575"/>
                <a:gd name="connsiteY7" fmla="*/ 1041070 h 1042858"/>
                <a:gd name="connsiteX8" fmla="*/ 363926 w 1122575"/>
                <a:gd name="connsiteY8" fmla="*/ 1014312 h 1042858"/>
                <a:gd name="connsiteX9" fmla="*/ 363926 w 1122575"/>
                <a:gd name="connsiteY9" fmla="*/ 1014312 h 1042858"/>
                <a:gd name="connsiteX10" fmla="*/ 389395 w 1122575"/>
                <a:gd name="connsiteY10" fmla="*/ 921193 h 1042858"/>
                <a:gd name="connsiteX11" fmla="*/ 450352 w 1122575"/>
                <a:gd name="connsiteY11" fmla="*/ 855369 h 1042858"/>
                <a:gd name="connsiteX12" fmla="*/ 492101 w 1122575"/>
                <a:gd name="connsiteY12" fmla="*/ 746284 h 1042858"/>
                <a:gd name="connsiteX13" fmla="*/ 661086 w 1122575"/>
                <a:gd name="connsiteY13" fmla="*/ 733885 h 1042858"/>
                <a:gd name="connsiteX14" fmla="*/ 662792 w 1122575"/>
                <a:gd name="connsiteY14" fmla="*/ 510097 h 1042858"/>
                <a:gd name="connsiteX15" fmla="*/ 676454 w 1122575"/>
                <a:gd name="connsiteY15" fmla="*/ 270520 h 1042858"/>
                <a:gd name="connsiteX16" fmla="*/ 679035 w 1122575"/>
                <a:gd name="connsiteY16" fmla="*/ 270609 h 1042858"/>
                <a:gd name="connsiteX17" fmla="*/ 693216 w 1122575"/>
                <a:gd name="connsiteY17" fmla="*/ 731566 h 1042858"/>
                <a:gd name="connsiteX18" fmla="*/ 784089 w 1122575"/>
                <a:gd name="connsiteY18" fmla="*/ 725769 h 1042858"/>
                <a:gd name="connsiteX19" fmla="*/ 811996 w 1122575"/>
                <a:gd name="connsiteY19" fmla="*/ 728889 h 1042858"/>
                <a:gd name="connsiteX20" fmla="*/ 796404 w 1122575"/>
                <a:gd name="connsiteY20" fmla="*/ 743161 h 1042858"/>
                <a:gd name="connsiteX21" fmla="*/ 693198 w 1122575"/>
                <a:gd name="connsiteY21" fmla="*/ 746284 h 1042858"/>
                <a:gd name="connsiteX22" fmla="*/ 688591 w 1122575"/>
                <a:gd name="connsiteY22" fmla="*/ 890600 h 1042858"/>
                <a:gd name="connsiteX23" fmla="*/ 680321 w 1122575"/>
                <a:gd name="connsiteY23" fmla="*/ 1043211 h 1042858"/>
                <a:gd name="connsiteX24" fmla="*/ 677116 w 1122575"/>
                <a:gd name="connsiteY24" fmla="*/ 1046334 h 1042858"/>
                <a:gd name="connsiteX25" fmla="*/ 264310 w 1122575"/>
                <a:gd name="connsiteY25" fmla="*/ 1040894 h 1042858"/>
                <a:gd name="connsiteX26" fmla="*/ 256684 w 1122575"/>
                <a:gd name="connsiteY26" fmla="*/ 1036611 h 1042858"/>
                <a:gd name="connsiteX27" fmla="*/ 257943 w 1122575"/>
                <a:gd name="connsiteY27" fmla="*/ 1037414 h 1042858"/>
                <a:gd name="connsiteX28" fmla="*/ 254808 w 1122575"/>
                <a:gd name="connsiteY28" fmla="*/ 1035095 h 1042858"/>
                <a:gd name="connsiteX29" fmla="*/ 249799 w 1122575"/>
                <a:gd name="connsiteY29" fmla="*/ 1009497 h 1042858"/>
                <a:gd name="connsiteX30" fmla="*/ 263266 w 1122575"/>
                <a:gd name="connsiteY30" fmla="*/ 554871 h 1042858"/>
                <a:gd name="connsiteX31" fmla="*/ 267382 w 1122575"/>
                <a:gd name="connsiteY31" fmla="*/ 555228 h 1042858"/>
                <a:gd name="connsiteX32" fmla="*/ 298986 w 1122575"/>
                <a:gd name="connsiteY32" fmla="*/ 651380 h 1042858"/>
                <a:gd name="connsiteX33" fmla="*/ 290458 w 1122575"/>
                <a:gd name="connsiteY33" fmla="*/ 891047 h 1042858"/>
                <a:gd name="connsiteX34" fmla="*/ 282314 w 1122575"/>
                <a:gd name="connsiteY34" fmla="*/ 1016366 h 1042858"/>
                <a:gd name="connsiteX35" fmla="*/ 271972 w 1122575"/>
                <a:gd name="connsiteY35" fmla="*/ 1037593 h 1042858"/>
                <a:gd name="connsiteX36" fmla="*/ 264310 w 1122575"/>
                <a:gd name="connsiteY36" fmla="*/ 1040894 h 1042858"/>
                <a:gd name="connsiteX37" fmla="*/ 22241 w 1122575"/>
                <a:gd name="connsiteY37" fmla="*/ 1038930 h 1042858"/>
                <a:gd name="connsiteX38" fmla="*/ 9033 w 1122575"/>
                <a:gd name="connsiteY38" fmla="*/ 1028763 h 1042858"/>
                <a:gd name="connsiteX39" fmla="*/ 27679 w 1122575"/>
                <a:gd name="connsiteY39" fmla="*/ 814964 h 1042858"/>
                <a:gd name="connsiteX40" fmla="*/ 27679 w 1122575"/>
                <a:gd name="connsiteY40" fmla="*/ 814964 h 1042858"/>
                <a:gd name="connsiteX41" fmla="*/ 66365 w 1122575"/>
                <a:gd name="connsiteY41" fmla="*/ 549253 h 1042858"/>
                <a:gd name="connsiteX42" fmla="*/ 234618 w 1122575"/>
                <a:gd name="connsiteY42" fmla="*/ 251788 h 1042858"/>
                <a:gd name="connsiteX43" fmla="*/ 217525 w 1122575"/>
                <a:gd name="connsiteY43" fmla="*/ 165984 h 1042858"/>
                <a:gd name="connsiteX44" fmla="*/ 303853 w 1122575"/>
                <a:gd name="connsiteY44" fmla="*/ 90793 h 1042858"/>
                <a:gd name="connsiteX45" fmla="*/ 328598 w 1122575"/>
                <a:gd name="connsiteY45" fmla="*/ 89097 h 1042858"/>
                <a:gd name="connsiteX46" fmla="*/ 361703 w 1122575"/>
                <a:gd name="connsiteY46" fmla="*/ 39239 h 1042858"/>
                <a:gd name="connsiteX47" fmla="*/ 532260 w 1122575"/>
                <a:gd name="connsiteY47" fmla="*/ 17297 h 1042858"/>
                <a:gd name="connsiteX48" fmla="*/ 531590 w 1122575"/>
                <a:gd name="connsiteY48" fmla="*/ 20150 h 1042858"/>
                <a:gd name="connsiteX49" fmla="*/ 457041 w 1122575"/>
                <a:gd name="connsiteY49" fmla="*/ 20685 h 1042858"/>
                <a:gd name="connsiteX50" fmla="*/ 373866 w 1122575"/>
                <a:gd name="connsiteY50" fmla="*/ 55381 h 1042858"/>
                <a:gd name="connsiteX51" fmla="*/ 345092 w 1122575"/>
                <a:gd name="connsiteY51" fmla="*/ 101853 h 1042858"/>
                <a:gd name="connsiteX52" fmla="*/ 301540 w 1122575"/>
                <a:gd name="connsiteY52" fmla="*/ 110773 h 1042858"/>
                <a:gd name="connsiteX53" fmla="*/ 243146 w 1122575"/>
                <a:gd name="connsiteY53" fmla="*/ 155102 h 1042858"/>
                <a:gd name="connsiteX54" fmla="*/ 239029 w 1122575"/>
                <a:gd name="connsiteY54" fmla="*/ 235467 h 1042858"/>
                <a:gd name="connsiteX55" fmla="*/ 246861 w 1122575"/>
                <a:gd name="connsiteY55" fmla="*/ 239569 h 1042858"/>
                <a:gd name="connsiteX56" fmla="*/ 397485 w 1122575"/>
                <a:gd name="connsiteY56" fmla="*/ 136728 h 1042858"/>
                <a:gd name="connsiteX57" fmla="*/ 403013 w 1122575"/>
                <a:gd name="connsiteY57" fmla="*/ 132447 h 1042858"/>
                <a:gd name="connsiteX58" fmla="*/ 426312 w 1122575"/>
                <a:gd name="connsiteY58" fmla="*/ 125400 h 1042858"/>
                <a:gd name="connsiteX59" fmla="*/ 430563 w 1122575"/>
                <a:gd name="connsiteY59" fmla="*/ 126650 h 1042858"/>
                <a:gd name="connsiteX60" fmla="*/ 563256 w 1122575"/>
                <a:gd name="connsiteY60" fmla="*/ 227527 h 1042858"/>
                <a:gd name="connsiteX61" fmla="*/ 599378 w 1122575"/>
                <a:gd name="connsiteY61" fmla="*/ 245098 h 1042858"/>
                <a:gd name="connsiteX62" fmla="*/ 620043 w 1122575"/>
                <a:gd name="connsiteY62" fmla="*/ 257855 h 1042858"/>
                <a:gd name="connsiteX63" fmla="*/ 617881 w 1122575"/>
                <a:gd name="connsiteY63" fmla="*/ 270966 h 1042858"/>
                <a:gd name="connsiteX64" fmla="*/ 587448 w 1122575"/>
                <a:gd name="connsiteY64" fmla="*/ 270520 h 1042858"/>
                <a:gd name="connsiteX65" fmla="*/ 419150 w 1122575"/>
                <a:gd name="connsiteY65" fmla="*/ 135746 h 1042858"/>
                <a:gd name="connsiteX66" fmla="*/ 415462 w 1122575"/>
                <a:gd name="connsiteY66" fmla="*/ 135391 h 1042858"/>
                <a:gd name="connsiteX67" fmla="*/ 156613 w 1122575"/>
                <a:gd name="connsiteY67" fmla="*/ 386562 h 1042858"/>
                <a:gd name="connsiteX68" fmla="*/ 82394 w 1122575"/>
                <a:gd name="connsiteY68" fmla="*/ 636485 h 1042858"/>
                <a:gd name="connsiteX69" fmla="*/ 56836 w 1122575"/>
                <a:gd name="connsiteY69" fmla="*/ 807738 h 1042858"/>
                <a:gd name="connsiteX70" fmla="*/ 35020 w 1122575"/>
                <a:gd name="connsiteY70" fmla="*/ 1015205 h 1042858"/>
                <a:gd name="connsiteX71" fmla="*/ 35020 w 1122575"/>
                <a:gd name="connsiteY71" fmla="*/ 1015205 h 1042858"/>
                <a:gd name="connsiteX72" fmla="*/ 22241 w 1122575"/>
                <a:gd name="connsiteY72" fmla="*/ 1038930 h 1042858"/>
                <a:gd name="connsiteX73" fmla="*/ 1107807 w 1122575"/>
                <a:gd name="connsiteY73" fmla="*/ 1020468 h 1042858"/>
                <a:gd name="connsiteX74" fmla="*/ 1092519 w 1122575"/>
                <a:gd name="connsiteY74" fmla="*/ 1005839 h 1042858"/>
                <a:gd name="connsiteX75" fmla="*/ 1071569 w 1122575"/>
                <a:gd name="connsiteY75" fmla="*/ 851978 h 1042858"/>
                <a:gd name="connsiteX76" fmla="*/ 879330 w 1122575"/>
                <a:gd name="connsiteY76" fmla="*/ 161613 h 1042858"/>
                <a:gd name="connsiteX77" fmla="*/ 860621 w 1122575"/>
                <a:gd name="connsiteY77" fmla="*/ 156439 h 1042858"/>
                <a:gd name="connsiteX78" fmla="*/ 858049 w 1122575"/>
                <a:gd name="connsiteY78" fmla="*/ 139315 h 1042858"/>
                <a:gd name="connsiteX79" fmla="*/ 790582 w 1122575"/>
                <a:gd name="connsiteY79" fmla="*/ 67959 h 1042858"/>
                <a:gd name="connsiteX80" fmla="*/ 789859 w 1122575"/>
                <a:gd name="connsiteY80" fmla="*/ 61448 h 1042858"/>
                <a:gd name="connsiteX81" fmla="*/ 881758 w 1122575"/>
                <a:gd name="connsiteY81" fmla="*/ 157511 h 1042858"/>
                <a:gd name="connsiteX82" fmla="*/ 1102816 w 1122575"/>
                <a:gd name="connsiteY82" fmla="*/ 853139 h 1042858"/>
                <a:gd name="connsiteX83" fmla="*/ 1102816 w 1122575"/>
                <a:gd name="connsiteY83" fmla="*/ 853139 h 1042858"/>
                <a:gd name="connsiteX84" fmla="*/ 1107807 w 1122575"/>
                <a:gd name="connsiteY84" fmla="*/ 1020468 h 1042858"/>
                <a:gd name="connsiteX85" fmla="*/ 1107807 w 1122575"/>
                <a:gd name="connsiteY85" fmla="*/ 1020468 h 1042858"/>
                <a:gd name="connsiteX86" fmla="*/ 937322 w 1122575"/>
                <a:gd name="connsiteY86" fmla="*/ 1008962 h 1042858"/>
                <a:gd name="connsiteX87" fmla="*/ 919515 w 1122575"/>
                <a:gd name="connsiteY87" fmla="*/ 961777 h 1042858"/>
                <a:gd name="connsiteX88" fmla="*/ 914434 w 1122575"/>
                <a:gd name="connsiteY88" fmla="*/ 915754 h 1042858"/>
                <a:gd name="connsiteX89" fmla="*/ 893573 w 1122575"/>
                <a:gd name="connsiteY89" fmla="*/ 855369 h 1042858"/>
                <a:gd name="connsiteX90" fmla="*/ 832464 w 1122575"/>
                <a:gd name="connsiteY90" fmla="*/ 770991 h 1042858"/>
                <a:gd name="connsiteX91" fmla="*/ 830098 w 1122575"/>
                <a:gd name="connsiteY91" fmla="*/ 747800 h 1042858"/>
                <a:gd name="connsiteX92" fmla="*/ 918845 w 1122575"/>
                <a:gd name="connsiteY92" fmla="*/ 843327 h 1042858"/>
                <a:gd name="connsiteX93" fmla="*/ 942743 w 1122575"/>
                <a:gd name="connsiteY93" fmla="*/ 912810 h 1042858"/>
                <a:gd name="connsiteX94" fmla="*/ 951682 w 1122575"/>
                <a:gd name="connsiteY94" fmla="*/ 980420 h 1042858"/>
                <a:gd name="connsiteX95" fmla="*/ 937322 w 1122575"/>
                <a:gd name="connsiteY95" fmla="*/ 1008962 h 1042858"/>
                <a:gd name="connsiteX96" fmla="*/ 937322 w 1122575"/>
                <a:gd name="connsiteY96" fmla="*/ 1008962 h 1042858"/>
                <a:gd name="connsiteX97" fmla="*/ 1021739 w 1122575"/>
                <a:gd name="connsiteY97" fmla="*/ 1004056 h 1042858"/>
                <a:gd name="connsiteX98" fmla="*/ 1003950 w 1122575"/>
                <a:gd name="connsiteY98" fmla="*/ 962224 h 1042858"/>
                <a:gd name="connsiteX99" fmla="*/ 990796 w 1122575"/>
                <a:gd name="connsiteY99" fmla="*/ 867766 h 1042858"/>
                <a:gd name="connsiteX100" fmla="*/ 950655 w 1122575"/>
                <a:gd name="connsiteY100" fmla="*/ 605535 h 1042858"/>
                <a:gd name="connsiteX101" fmla="*/ 965890 w 1122575"/>
                <a:gd name="connsiteY101" fmla="*/ 332241 h 1042858"/>
                <a:gd name="connsiteX102" fmla="*/ 967961 w 1122575"/>
                <a:gd name="connsiteY102" fmla="*/ 332152 h 1042858"/>
                <a:gd name="connsiteX103" fmla="*/ 968685 w 1122575"/>
                <a:gd name="connsiteY103" fmla="*/ 366314 h 1042858"/>
                <a:gd name="connsiteX104" fmla="*/ 1000164 w 1122575"/>
                <a:gd name="connsiteY104" fmla="*/ 768226 h 1042858"/>
                <a:gd name="connsiteX105" fmla="*/ 1021739 w 1122575"/>
                <a:gd name="connsiteY105" fmla="*/ 1004056 h 1042858"/>
                <a:gd name="connsiteX106" fmla="*/ 1021739 w 1122575"/>
                <a:gd name="connsiteY106" fmla="*/ 1004056 h 1042858"/>
                <a:gd name="connsiteX107" fmla="*/ 672588 w 1122575"/>
                <a:gd name="connsiteY107" fmla="*/ 241263 h 1042858"/>
                <a:gd name="connsiteX108" fmla="*/ 640520 w 1122575"/>
                <a:gd name="connsiteY108" fmla="*/ 227259 h 1042858"/>
                <a:gd name="connsiteX109" fmla="*/ 555987 w 1122575"/>
                <a:gd name="connsiteY109" fmla="*/ 148323 h 1042858"/>
                <a:gd name="connsiteX110" fmla="*/ 530384 w 1122575"/>
                <a:gd name="connsiteY110" fmla="*/ 96679 h 1042858"/>
                <a:gd name="connsiteX111" fmla="*/ 533108 w 1122575"/>
                <a:gd name="connsiteY111" fmla="*/ 47622 h 1042858"/>
                <a:gd name="connsiteX112" fmla="*/ 562943 w 1122575"/>
                <a:gd name="connsiteY112" fmla="*/ 45125 h 1042858"/>
                <a:gd name="connsiteX113" fmla="*/ 553968 w 1122575"/>
                <a:gd name="connsiteY113" fmla="*/ 73934 h 1042858"/>
                <a:gd name="connsiteX114" fmla="*/ 553968 w 1122575"/>
                <a:gd name="connsiteY114" fmla="*/ 73934 h 1042858"/>
                <a:gd name="connsiteX115" fmla="*/ 534215 w 1122575"/>
                <a:gd name="connsiteY115" fmla="*/ 100782 h 1042858"/>
                <a:gd name="connsiteX116" fmla="*/ 660460 w 1122575"/>
                <a:gd name="connsiteY116" fmla="*/ 214059 h 1042858"/>
                <a:gd name="connsiteX117" fmla="*/ 701861 w 1122575"/>
                <a:gd name="connsiteY117" fmla="*/ 198450 h 1042858"/>
                <a:gd name="connsiteX118" fmla="*/ 763970 w 1122575"/>
                <a:gd name="connsiteY118" fmla="*/ 124864 h 1042858"/>
                <a:gd name="connsiteX119" fmla="*/ 757567 w 1122575"/>
                <a:gd name="connsiteY119" fmla="*/ 66798 h 1042858"/>
                <a:gd name="connsiteX120" fmla="*/ 780696 w 1122575"/>
                <a:gd name="connsiteY120" fmla="*/ 91416 h 1042858"/>
                <a:gd name="connsiteX121" fmla="*/ 780696 w 1122575"/>
                <a:gd name="connsiteY121" fmla="*/ 91416 h 1042858"/>
                <a:gd name="connsiteX122" fmla="*/ 786036 w 1122575"/>
                <a:gd name="connsiteY122" fmla="*/ 105777 h 1042858"/>
                <a:gd name="connsiteX123" fmla="*/ 788162 w 1122575"/>
                <a:gd name="connsiteY123" fmla="*/ 108007 h 1042858"/>
                <a:gd name="connsiteX124" fmla="*/ 787688 w 1122575"/>
                <a:gd name="connsiteY124" fmla="*/ 132536 h 1042858"/>
                <a:gd name="connsiteX125" fmla="*/ 672588 w 1122575"/>
                <a:gd name="connsiteY125" fmla="*/ 241263 h 104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22575" h="1042858">
                  <a:moveTo>
                    <a:pt x="677116" y="1046334"/>
                  </a:moveTo>
                  <a:cubicBezTo>
                    <a:pt x="675365" y="1046423"/>
                    <a:pt x="673918" y="1044997"/>
                    <a:pt x="673883" y="1043211"/>
                  </a:cubicBezTo>
                  <a:cubicBezTo>
                    <a:pt x="667417" y="940727"/>
                    <a:pt x="662720" y="849838"/>
                    <a:pt x="661264" y="746728"/>
                  </a:cubicBezTo>
                  <a:cubicBezTo>
                    <a:pt x="607773" y="746996"/>
                    <a:pt x="546030" y="747175"/>
                    <a:pt x="494048" y="746728"/>
                  </a:cubicBezTo>
                  <a:cubicBezTo>
                    <a:pt x="509782" y="810236"/>
                    <a:pt x="480036" y="863038"/>
                    <a:pt x="433331" y="915129"/>
                  </a:cubicBezTo>
                  <a:cubicBezTo>
                    <a:pt x="419507" y="927437"/>
                    <a:pt x="410229" y="942691"/>
                    <a:pt x="408264" y="961331"/>
                  </a:cubicBezTo>
                  <a:cubicBezTo>
                    <a:pt x="407434" y="966148"/>
                    <a:pt x="400138" y="999149"/>
                    <a:pt x="399013" y="1004591"/>
                  </a:cubicBezTo>
                  <a:cubicBezTo>
                    <a:pt x="396432" y="1016631"/>
                    <a:pt x="395762" y="1032776"/>
                    <a:pt x="386716" y="1041070"/>
                  </a:cubicBezTo>
                  <a:cubicBezTo>
                    <a:pt x="368427" y="1054896"/>
                    <a:pt x="356443" y="1030814"/>
                    <a:pt x="363926" y="1014312"/>
                  </a:cubicBezTo>
                  <a:lnTo>
                    <a:pt x="363926" y="1014312"/>
                  </a:lnTo>
                  <a:cubicBezTo>
                    <a:pt x="370624" y="991658"/>
                    <a:pt x="378268" y="941441"/>
                    <a:pt x="389395" y="921193"/>
                  </a:cubicBezTo>
                  <a:cubicBezTo>
                    <a:pt x="406809" y="897022"/>
                    <a:pt x="434117" y="881056"/>
                    <a:pt x="450352" y="855369"/>
                  </a:cubicBezTo>
                  <a:cubicBezTo>
                    <a:pt x="475607" y="823972"/>
                    <a:pt x="485876" y="784192"/>
                    <a:pt x="492101" y="746284"/>
                  </a:cubicBezTo>
                  <a:cubicBezTo>
                    <a:pt x="545583" y="740039"/>
                    <a:pt x="605005" y="739059"/>
                    <a:pt x="661086" y="733885"/>
                  </a:cubicBezTo>
                  <a:cubicBezTo>
                    <a:pt x="660193" y="668328"/>
                    <a:pt x="661827" y="583593"/>
                    <a:pt x="662792" y="510097"/>
                  </a:cubicBezTo>
                  <a:cubicBezTo>
                    <a:pt x="664685" y="432764"/>
                    <a:pt x="663283" y="342679"/>
                    <a:pt x="676454" y="270520"/>
                  </a:cubicBezTo>
                  <a:cubicBezTo>
                    <a:pt x="676713" y="269093"/>
                    <a:pt x="678874" y="269183"/>
                    <a:pt x="679035" y="270609"/>
                  </a:cubicBezTo>
                  <a:cubicBezTo>
                    <a:pt x="695860" y="419295"/>
                    <a:pt x="691805" y="590816"/>
                    <a:pt x="693216" y="731566"/>
                  </a:cubicBezTo>
                  <a:cubicBezTo>
                    <a:pt x="722498" y="729514"/>
                    <a:pt x="753664" y="727552"/>
                    <a:pt x="784089" y="725769"/>
                  </a:cubicBezTo>
                  <a:cubicBezTo>
                    <a:pt x="793332" y="726394"/>
                    <a:pt x="804468" y="720863"/>
                    <a:pt x="811996" y="728889"/>
                  </a:cubicBezTo>
                  <a:cubicBezTo>
                    <a:pt x="818971" y="739148"/>
                    <a:pt x="804530" y="744054"/>
                    <a:pt x="796404" y="743161"/>
                  </a:cubicBezTo>
                  <a:cubicBezTo>
                    <a:pt x="763309" y="744588"/>
                    <a:pt x="727214" y="745748"/>
                    <a:pt x="693198" y="746284"/>
                  </a:cubicBezTo>
                  <a:cubicBezTo>
                    <a:pt x="693038" y="794091"/>
                    <a:pt x="690770" y="842347"/>
                    <a:pt x="688591" y="890600"/>
                  </a:cubicBezTo>
                  <a:cubicBezTo>
                    <a:pt x="686028" y="947416"/>
                    <a:pt x="683643" y="995136"/>
                    <a:pt x="680321" y="1043211"/>
                  </a:cubicBezTo>
                  <a:cubicBezTo>
                    <a:pt x="680304" y="1044997"/>
                    <a:pt x="678866" y="1046423"/>
                    <a:pt x="677116" y="1046334"/>
                  </a:cubicBezTo>
                  <a:close/>
                  <a:moveTo>
                    <a:pt x="264310" y="1040894"/>
                  </a:moveTo>
                  <a:cubicBezTo>
                    <a:pt x="261176" y="1040981"/>
                    <a:pt x="258247" y="1039376"/>
                    <a:pt x="256684" y="1036611"/>
                  </a:cubicBezTo>
                  <a:cubicBezTo>
                    <a:pt x="256907" y="1036789"/>
                    <a:pt x="257711" y="1037325"/>
                    <a:pt x="257943" y="1037414"/>
                  </a:cubicBezTo>
                  <a:cubicBezTo>
                    <a:pt x="257961" y="1037414"/>
                    <a:pt x="256961" y="1036611"/>
                    <a:pt x="254808" y="1035095"/>
                  </a:cubicBezTo>
                  <a:cubicBezTo>
                    <a:pt x="247915" y="1028138"/>
                    <a:pt x="248701" y="1018417"/>
                    <a:pt x="249799" y="1009497"/>
                  </a:cubicBezTo>
                  <a:cubicBezTo>
                    <a:pt x="256336" y="859561"/>
                    <a:pt x="280867" y="704629"/>
                    <a:pt x="263266" y="554871"/>
                  </a:cubicBezTo>
                  <a:cubicBezTo>
                    <a:pt x="264310" y="553623"/>
                    <a:pt x="266570" y="553623"/>
                    <a:pt x="267382" y="555228"/>
                  </a:cubicBezTo>
                  <a:cubicBezTo>
                    <a:pt x="285796" y="583948"/>
                    <a:pt x="295450" y="617575"/>
                    <a:pt x="298986" y="651380"/>
                  </a:cubicBezTo>
                  <a:cubicBezTo>
                    <a:pt x="305576" y="731387"/>
                    <a:pt x="293941" y="811218"/>
                    <a:pt x="290458" y="891047"/>
                  </a:cubicBezTo>
                  <a:cubicBezTo>
                    <a:pt x="290458" y="891047"/>
                    <a:pt x="282314" y="1016366"/>
                    <a:pt x="282314" y="1016366"/>
                  </a:cubicBezTo>
                  <a:cubicBezTo>
                    <a:pt x="281965" y="1024392"/>
                    <a:pt x="279706" y="1033669"/>
                    <a:pt x="271972" y="1037593"/>
                  </a:cubicBezTo>
                  <a:cubicBezTo>
                    <a:pt x="269820" y="1039466"/>
                    <a:pt x="267213" y="1040981"/>
                    <a:pt x="264310" y="1040894"/>
                  </a:cubicBezTo>
                  <a:close/>
                  <a:moveTo>
                    <a:pt x="22241" y="1038930"/>
                  </a:moveTo>
                  <a:cubicBezTo>
                    <a:pt x="16168" y="1039019"/>
                    <a:pt x="10810" y="1034470"/>
                    <a:pt x="9033" y="1028763"/>
                  </a:cubicBezTo>
                  <a:cubicBezTo>
                    <a:pt x="-11140" y="956871"/>
                    <a:pt x="10703" y="885783"/>
                    <a:pt x="27679" y="814964"/>
                  </a:cubicBezTo>
                  <a:lnTo>
                    <a:pt x="27679" y="814964"/>
                  </a:lnTo>
                  <a:cubicBezTo>
                    <a:pt x="54220" y="728445"/>
                    <a:pt x="55095" y="638447"/>
                    <a:pt x="66365" y="549253"/>
                  </a:cubicBezTo>
                  <a:cubicBezTo>
                    <a:pt x="84341" y="432853"/>
                    <a:pt x="158863" y="333759"/>
                    <a:pt x="234618" y="251788"/>
                  </a:cubicBezTo>
                  <a:cubicBezTo>
                    <a:pt x="202853" y="244920"/>
                    <a:pt x="213096" y="189530"/>
                    <a:pt x="217525" y="165984"/>
                  </a:cubicBezTo>
                  <a:cubicBezTo>
                    <a:pt x="227339" y="126826"/>
                    <a:pt x="261444" y="90526"/>
                    <a:pt x="303853" y="90793"/>
                  </a:cubicBezTo>
                  <a:cubicBezTo>
                    <a:pt x="312096" y="90615"/>
                    <a:pt x="320588" y="91595"/>
                    <a:pt x="328598" y="89097"/>
                  </a:cubicBezTo>
                  <a:cubicBezTo>
                    <a:pt x="348548" y="81070"/>
                    <a:pt x="349308" y="54580"/>
                    <a:pt x="361703" y="39239"/>
                  </a:cubicBezTo>
                  <a:cubicBezTo>
                    <a:pt x="394923" y="-3932"/>
                    <a:pt x="486019" y="-3754"/>
                    <a:pt x="532260" y="17297"/>
                  </a:cubicBezTo>
                  <a:cubicBezTo>
                    <a:pt x="534153" y="18188"/>
                    <a:pt x="533653" y="20061"/>
                    <a:pt x="531590" y="20150"/>
                  </a:cubicBezTo>
                  <a:cubicBezTo>
                    <a:pt x="507532" y="20328"/>
                    <a:pt x="479911" y="17920"/>
                    <a:pt x="457041" y="20685"/>
                  </a:cubicBezTo>
                  <a:cubicBezTo>
                    <a:pt x="428036" y="25056"/>
                    <a:pt x="389842" y="26839"/>
                    <a:pt x="373866" y="55381"/>
                  </a:cubicBezTo>
                  <a:cubicBezTo>
                    <a:pt x="365301" y="71347"/>
                    <a:pt x="361247" y="91238"/>
                    <a:pt x="345092" y="101853"/>
                  </a:cubicBezTo>
                  <a:cubicBezTo>
                    <a:pt x="332322" y="110505"/>
                    <a:pt x="316301" y="109612"/>
                    <a:pt x="301540" y="110773"/>
                  </a:cubicBezTo>
                  <a:cubicBezTo>
                    <a:pt x="277188" y="112646"/>
                    <a:pt x="254818" y="129681"/>
                    <a:pt x="243146" y="155102"/>
                  </a:cubicBezTo>
                  <a:cubicBezTo>
                    <a:pt x="234618" y="176062"/>
                    <a:pt x="226607" y="213436"/>
                    <a:pt x="239029" y="235467"/>
                  </a:cubicBezTo>
                  <a:cubicBezTo>
                    <a:pt x="242262" y="234931"/>
                    <a:pt x="245557" y="236536"/>
                    <a:pt x="246861" y="239569"/>
                  </a:cubicBezTo>
                  <a:cubicBezTo>
                    <a:pt x="292003" y="196309"/>
                    <a:pt x="340270" y="162772"/>
                    <a:pt x="397485" y="136728"/>
                  </a:cubicBezTo>
                  <a:cubicBezTo>
                    <a:pt x="401299" y="135034"/>
                    <a:pt x="401852" y="134319"/>
                    <a:pt x="403013" y="132447"/>
                  </a:cubicBezTo>
                  <a:cubicBezTo>
                    <a:pt x="407478" y="125132"/>
                    <a:pt x="418337" y="123349"/>
                    <a:pt x="426312" y="125400"/>
                  </a:cubicBezTo>
                  <a:cubicBezTo>
                    <a:pt x="427625" y="125757"/>
                    <a:pt x="430429" y="126650"/>
                    <a:pt x="430563" y="126650"/>
                  </a:cubicBezTo>
                  <a:cubicBezTo>
                    <a:pt x="482769" y="150107"/>
                    <a:pt x="514738" y="197738"/>
                    <a:pt x="563256" y="227527"/>
                  </a:cubicBezTo>
                  <a:cubicBezTo>
                    <a:pt x="574651" y="234752"/>
                    <a:pt x="586394" y="241085"/>
                    <a:pt x="599378" y="245098"/>
                  </a:cubicBezTo>
                  <a:cubicBezTo>
                    <a:pt x="607567" y="247685"/>
                    <a:pt x="616846" y="250629"/>
                    <a:pt x="620043" y="257855"/>
                  </a:cubicBezTo>
                  <a:cubicBezTo>
                    <a:pt x="623624" y="261779"/>
                    <a:pt x="622213" y="268290"/>
                    <a:pt x="617881" y="270966"/>
                  </a:cubicBezTo>
                  <a:cubicBezTo>
                    <a:pt x="610139" y="278903"/>
                    <a:pt x="597057" y="274086"/>
                    <a:pt x="587448" y="270520"/>
                  </a:cubicBezTo>
                  <a:cubicBezTo>
                    <a:pt x="520230" y="245634"/>
                    <a:pt x="473821" y="180879"/>
                    <a:pt x="419150" y="135746"/>
                  </a:cubicBezTo>
                  <a:cubicBezTo>
                    <a:pt x="418114" y="134944"/>
                    <a:pt x="416641" y="134766"/>
                    <a:pt x="415462" y="135391"/>
                  </a:cubicBezTo>
                  <a:cubicBezTo>
                    <a:pt x="309273" y="193633"/>
                    <a:pt x="219481" y="282740"/>
                    <a:pt x="156613" y="386562"/>
                  </a:cubicBezTo>
                  <a:cubicBezTo>
                    <a:pt x="107345" y="456402"/>
                    <a:pt x="84029" y="545329"/>
                    <a:pt x="82394" y="636485"/>
                  </a:cubicBezTo>
                  <a:cubicBezTo>
                    <a:pt x="79420" y="695709"/>
                    <a:pt x="72089" y="747710"/>
                    <a:pt x="56836" y="807738"/>
                  </a:cubicBezTo>
                  <a:cubicBezTo>
                    <a:pt x="39798" y="874813"/>
                    <a:pt x="22785" y="945722"/>
                    <a:pt x="35020" y="1015205"/>
                  </a:cubicBezTo>
                  <a:lnTo>
                    <a:pt x="35020" y="1015205"/>
                  </a:lnTo>
                  <a:cubicBezTo>
                    <a:pt x="38101" y="1026086"/>
                    <a:pt x="35708" y="1038486"/>
                    <a:pt x="22241" y="1038930"/>
                  </a:cubicBezTo>
                  <a:close/>
                  <a:moveTo>
                    <a:pt x="1107807" y="1020468"/>
                  </a:moveTo>
                  <a:cubicBezTo>
                    <a:pt x="1100753" y="1020468"/>
                    <a:pt x="1092957" y="1015830"/>
                    <a:pt x="1092519" y="1005839"/>
                  </a:cubicBezTo>
                  <a:cubicBezTo>
                    <a:pt x="1090295" y="954195"/>
                    <a:pt x="1080901" y="902464"/>
                    <a:pt x="1071569" y="851978"/>
                  </a:cubicBezTo>
                  <a:cubicBezTo>
                    <a:pt x="1021462" y="620697"/>
                    <a:pt x="1084884" y="330726"/>
                    <a:pt x="879330" y="161613"/>
                  </a:cubicBezTo>
                  <a:cubicBezTo>
                    <a:pt x="873614" y="167232"/>
                    <a:pt x="863077" y="163754"/>
                    <a:pt x="860621" y="156439"/>
                  </a:cubicBezTo>
                  <a:cubicBezTo>
                    <a:pt x="858746" y="150910"/>
                    <a:pt x="859228" y="145022"/>
                    <a:pt x="858049" y="139315"/>
                  </a:cubicBezTo>
                  <a:cubicBezTo>
                    <a:pt x="850602" y="106135"/>
                    <a:pt x="823248" y="77236"/>
                    <a:pt x="790582" y="67959"/>
                  </a:cubicBezTo>
                  <a:cubicBezTo>
                    <a:pt x="779116" y="64479"/>
                    <a:pt x="772114" y="62517"/>
                    <a:pt x="789859" y="61448"/>
                  </a:cubicBezTo>
                  <a:cubicBezTo>
                    <a:pt x="837769" y="62964"/>
                    <a:pt x="885706" y="109166"/>
                    <a:pt x="881758" y="157511"/>
                  </a:cubicBezTo>
                  <a:cubicBezTo>
                    <a:pt x="1124891" y="295673"/>
                    <a:pt x="1042394" y="623731"/>
                    <a:pt x="1102816" y="853139"/>
                  </a:cubicBezTo>
                  <a:lnTo>
                    <a:pt x="1102816" y="853139"/>
                  </a:lnTo>
                  <a:cubicBezTo>
                    <a:pt x="1106048" y="876418"/>
                    <a:pt x="1144385" y="1024303"/>
                    <a:pt x="1107807" y="1020468"/>
                  </a:cubicBezTo>
                  <a:lnTo>
                    <a:pt x="1107807" y="1020468"/>
                  </a:lnTo>
                  <a:close/>
                  <a:moveTo>
                    <a:pt x="937322" y="1008962"/>
                  </a:moveTo>
                  <a:cubicBezTo>
                    <a:pt x="917434" y="1005660"/>
                    <a:pt x="921435" y="977386"/>
                    <a:pt x="919515" y="961777"/>
                  </a:cubicBezTo>
                  <a:cubicBezTo>
                    <a:pt x="918104" y="946436"/>
                    <a:pt x="916318" y="931006"/>
                    <a:pt x="914434" y="915754"/>
                  </a:cubicBezTo>
                  <a:cubicBezTo>
                    <a:pt x="911728" y="894614"/>
                    <a:pt x="910469" y="870621"/>
                    <a:pt x="893573" y="855369"/>
                  </a:cubicBezTo>
                  <a:cubicBezTo>
                    <a:pt x="867729" y="831820"/>
                    <a:pt x="845118" y="803903"/>
                    <a:pt x="832464" y="770991"/>
                  </a:cubicBezTo>
                  <a:cubicBezTo>
                    <a:pt x="827597" y="763052"/>
                    <a:pt x="813479" y="720684"/>
                    <a:pt x="830098" y="747800"/>
                  </a:cubicBezTo>
                  <a:cubicBezTo>
                    <a:pt x="852878" y="785797"/>
                    <a:pt x="886482" y="814160"/>
                    <a:pt x="918845" y="843327"/>
                  </a:cubicBezTo>
                  <a:cubicBezTo>
                    <a:pt x="936268" y="862326"/>
                    <a:pt x="939054" y="888192"/>
                    <a:pt x="942743" y="912810"/>
                  </a:cubicBezTo>
                  <a:cubicBezTo>
                    <a:pt x="946136" y="934840"/>
                    <a:pt x="949226" y="957407"/>
                    <a:pt x="951682" y="980420"/>
                  </a:cubicBezTo>
                  <a:cubicBezTo>
                    <a:pt x="953629" y="991569"/>
                    <a:pt x="951673" y="1008605"/>
                    <a:pt x="937322" y="1008962"/>
                  </a:cubicBezTo>
                  <a:lnTo>
                    <a:pt x="937322" y="1008962"/>
                  </a:lnTo>
                  <a:close/>
                  <a:moveTo>
                    <a:pt x="1021739" y="1004056"/>
                  </a:moveTo>
                  <a:cubicBezTo>
                    <a:pt x="1002057" y="1002183"/>
                    <a:pt x="1005397" y="977119"/>
                    <a:pt x="1003950" y="962224"/>
                  </a:cubicBezTo>
                  <a:cubicBezTo>
                    <a:pt x="1000645" y="928687"/>
                    <a:pt x="996296" y="899163"/>
                    <a:pt x="990796" y="867766"/>
                  </a:cubicBezTo>
                  <a:cubicBezTo>
                    <a:pt x="975248" y="784993"/>
                    <a:pt x="949351" y="684292"/>
                    <a:pt x="950655" y="605535"/>
                  </a:cubicBezTo>
                  <a:cubicBezTo>
                    <a:pt x="952959" y="510809"/>
                    <a:pt x="960665" y="430713"/>
                    <a:pt x="965890" y="332241"/>
                  </a:cubicBezTo>
                  <a:cubicBezTo>
                    <a:pt x="965881" y="330994"/>
                    <a:pt x="967943" y="330815"/>
                    <a:pt x="967961" y="332152"/>
                  </a:cubicBezTo>
                  <a:cubicBezTo>
                    <a:pt x="968193" y="342768"/>
                    <a:pt x="968417" y="353471"/>
                    <a:pt x="968685" y="366314"/>
                  </a:cubicBezTo>
                  <a:cubicBezTo>
                    <a:pt x="971560" y="507153"/>
                    <a:pt x="967301" y="628101"/>
                    <a:pt x="1000164" y="768226"/>
                  </a:cubicBezTo>
                  <a:cubicBezTo>
                    <a:pt x="1004012" y="797926"/>
                    <a:pt x="1064568" y="1007890"/>
                    <a:pt x="1021739" y="1004056"/>
                  </a:cubicBezTo>
                  <a:lnTo>
                    <a:pt x="1021739" y="1004056"/>
                  </a:lnTo>
                  <a:close/>
                  <a:moveTo>
                    <a:pt x="672588" y="241263"/>
                  </a:moveTo>
                  <a:cubicBezTo>
                    <a:pt x="660443" y="241263"/>
                    <a:pt x="649843" y="234395"/>
                    <a:pt x="640520" y="227259"/>
                  </a:cubicBezTo>
                  <a:cubicBezTo>
                    <a:pt x="608898" y="203356"/>
                    <a:pt x="581259" y="178381"/>
                    <a:pt x="555987" y="148323"/>
                  </a:cubicBezTo>
                  <a:cubicBezTo>
                    <a:pt x="545012" y="139136"/>
                    <a:pt x="486966" y="49138"/>
                    <a:pt x="530384" y="96679"/>
                  </a:cubicBezTo>
                  <a:cubicBezTo>
                    <a:pt x="529652" y="80445"/>
                    <a:pt x="529321" y="63410"/>
                    <a:pt x="533108" y="47622"/>
                  </a:cubicBezTo>
                  <a:cubicBezTo>
                    <a:pt x="536751" y="33708"/>
                    <a:pt x="557067" y="31924"/>
                    <a:pt x="562943" y="45125"/>
                  </a:cubicBezTo>
                  <a:cubicBezTo>
                    <a:pt x="568284" y="55294"/>
                    <a:pt x="558773" y="65461"/>
                    <a:pt x="553968" y="73934"/>
                  </a:cubicBezTo>
                  <a:lnTo>
                    <a:pt x="553968" y="73934"/>
                  </a:lnTo>
                  <a:cubicBezTo>
                    <a:pt x="548513" y="83657"/>
                    <a:pt x="540591" y="91595"/>
                    <a:pt x="534215" y="100782"/>
                  </a:cubicBezTo>
                  <a:cubicBezTo>
                    <a:pt x="572981" y="142170"/>
                    <a:pt x="614328" y="183466"/>
                    <a:pt x="660460" y="214059"/>
                  </a:cubicBezTo>
                  <a:cubicBezTo>
                    <a:pt x="675552" y="226637"/>
                    <a:pt x="691073" y="209331"/>
                    <a:pt x="701861" y="198450"/>
                  </a:cubicBezTo>
                  <a:cubicBezTo>
                    <a:pt x="725329" y="176240"/>
                    <a:pt x="746074" y="151890"/>
                    <a:pt x="763970" y="124864"/>
                  </a:cubicBezTo>
                  <a:cubicBezTo>
                    <a:pt x="753736" y="109255"/>
                    <a:pt x="759317" y="85084"/>
                    <a:pt x="757567" y="66798"/>
                  </a:cubicBezTo>
                  <a:cubicBezTo>
                    <a:pt x="757773" y="26572"/>
                    <a:pt x="776463" y="81338"/>
                    <a:pt x="780696" y="91416"/>
                  </a:cubicBezTo>
                  <a:lnTo>
                    <a:pt x="780696" y="91416"/>
                  </a:lnTo>
                  <a:cubicBezTo>
                    <a:pt x="782509" y="95965"/>
                    <a:pt x="784259" y="100871"/>
                    <a:pt x="786036" y="105777"/>
                  </a:cubicBezTo>
                  <a:cubicBezTo>
                    <a:pt x="786813" y="106492"/>
                    <a:pt x="787537" y="107204"/>
                    <a:pt x="788162" y="108007"/>
                  </a:cubicBezTo>
                  <a:cubicBezTo>
                    <a:pt x="797851" y="113536"/>
                    <a:pt x="793055" y="125668"/>
                    <a:pt x="787688" y="132536"/>
                  </a:cubicBezTo>
                  <a:cubicBezTo>
                    <a:pt x="764434" y="165805"/>
                    <a:pt x="714256" y="236714"/>
                    <a:pt x="672588" y="241263"/>
                  </a:cubicBezTo>
                  <a:close/>
                </a:path>
              </a:pathLst>
            </a:custGeom>
            <a:solidFill>
              <a:schemeClr val="bg1"/>
            </a:solidFill>
            <a:ln w="8890" cap="flat">
              <a:noFill/>
              <a:prstDash val="solid"/>
              <a:miter/>
            </a:ln>
          </p:spPr>
          <p:txBody>
            <a:bodyPr rtlCol="0" anchor="ctr"/>
            <a:lstStyle/>
            <a:p>
              <a:endParaRPr lang="en-GB">
                <a:solidFill>
                  <a:schemeClr val="bg1"/>
                </a:solidFill>
              </a:endParaRPr>
            </a:p>
          </p:txBody>
        </p:sp>
        <p:sp>
          <p:nvSpPr>
            <p:cNvPr id="312" name="Freeform: Shape 311">
              <a:extLst>
                <a:ext uri="{FF2B5EF4-FFF2-40B4-BE49-F238E27FC236}">
                  <a16:creationId xmlns:a16="http://schemas.microsoft.com/office/drawing/2014/main" id="{FD82F061-4C05-CB97-2718-DEE70E118330}"/>
                </a:ext>
              </a:extLst>
            </p:cNvPr>
            <p:cNvSpPr/>
            <p:nvPr/>
          </p:nvSpPr>
          <p:spPr>
            <a:xfrm>
              <a:off x="9215861" y="2952724"/>
              <a:ext cx="483710" cy="567188"/>
            </a:xfrm>
            <a:custGeom>
              <a:avLst/>
              <a:gdLst>
                <a:gd name="connsiteX0" fmla="*/ 249846 w 483710"/>
                <a:gd name="connsiteY0" fmla="*/ 2095 h 567188"/>
                <a:gd name="connsiteX1" fmla="*/ 419071 w 483710"/>
                <a:gd name="connsiteY1" fmla="*/ 58467 h 567188"/>
                <a:gd name="connsiteX2" fmla="*/ 429787 w 483710"/>
                <a:gd name="connsiteY2" fmla="*/ 99586 h 567188"/>
                <a:gd name="connsiteX3" fmla="*/ 483280 w 483710"/>
                <a:gd name="connsiteY3" fmla="*/ 447533 h 567188"/>
                <a:gd name="connsiteX4" fmla="*/ 304141 w 483710"/>
                <a:gd name="connsiteY4" fmla="*/ 569284 h 567188"/>
                <a:gd name="connsiteX5" fmla="*/ 106874 w 483710"/>
                <a:gd name="connsiteY5" fmla="*/ 494003 h 567188"/>
                <a:gd name="connsiteX6" fmla="*/ 54186 w 483710"/>
                <a:gd name="connsiteY6" fmla="*/ 405077 h 567188"/>
                <a:gd name="connsiteX7" fmla="*/ 29896 w 483710"/>
                <a:gd name="connsiteY7" fmla="*/ 408377 h 567188"/>
                <a:gd name="connsiteX8" fmla="*/ 1229 w 483710"/>
                <a:gd name="connsiteY8" fmla="*/ 353879 h 567188"/>
                <a:gd name="connsiteX9" fmla="*/ 37039 w 483710"/>
                <a:gd name="connsiteY9" fmla="*/ 292781 h 567188"/>
                <a:gd name="connsiteX10" fmla="*/ 56597 w 483710"/>
                <a:gd name="connsiteY10" fmla="*/ 69705 h 567188"/>
                <a:gd name="connsiteX11" fmla="*/ 249846 w 483710"/>
                <a:gd name="connsiteY11" fmla="*/ 2095 h 56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10" h="567188">
                  <a:moveTo>
                    <a:pt x="249846" y="2095"/>
                  </a:moveTo>
                  <a:cubicBezTo>
                    <a:pt x="311196" y="2095"/>
                    <a:pt x="387637" y="20916"/>
                    <a:pt x="419071" y="58467"/>
                  </a:cubicBezTo>
                  <a:cubicBezTo>
                    <a:pt x="426662" y="67475"/>
                    <a:pt x="428180" y="90131"/>
                    <a:pt x="429787" y="99586"/>
                  </a:cubicBezTo>
                  <a:cubicBezTo>
                    <a:pt x="439701" y="157116"/>
                    <a:pt x="495157" y="376803"/>
                    <a:pt x="483280" y="447533"/>
                  </a:cubicBezTo>
                  <a:cubicBezTo>
                    <a:pt x="471313" y="518354"/>
                    <a:pt x="407016" y="569284"/>
                    <a:pt x="304141" y="569284"/>
                  </a:cubicBezTo>
                  <a:cubicBezTo>
                    <a:pt x="201265" y="569284"/>
                    <a:pt x="124466" y="513270"/>
                    <a:pt x="106874" y="494003"/>
                  </a:cubicBezTo>
                  <a:cubicBezTo>
                    <a:pt x="89281" y="474738"/>
                    <a:pt x="54186" y="405077"/>
                    <a:pt x="54186" y="405077"/>
                  </a:cubicBezTo>
                  <a:cubicBezTo>
                    <a:pt x="54186" y="405077"/>
                    <a:pt x="40612" y="412926"/>
                    <a:pt x="29896" y="408377"/>
                  </a:cubicBezTo>
                  <a:cubicBezTo>
                    <a:pt x="14982" y="402044"/>
                    <a:pt x="1408" y="380013"/>
                    <a:pt x="1229" y="353879"/>
                  </a:cubicBezTo>
                  <a:cubicBezTo>
                    <a:pt x="962" y="309015"/>
                    <a:pt x="37039" y="292781"/>
                    <a:pt x="37039" y="292781"/>
                  </a:cubicBezTo>
                  <a:cubicBezTo>
                    <a:pt x="37039" y="292781"/>
                    <a:pt x="24181" y="115729"/>
                    <a:pt x="56597" y="69705"/>
                  </a:cubicBezTo>
                  <a:cubicBezTo>
                    <a:pt x="88924" y="23592"/>
                    <a:pt x="173850" y="2095"/>
                    <a:pt x="249846" y="2095"/>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313" name="Freeform: Shape 312">
              <a:extLst>
                <a:ext uri="{FF2B5EF4-FFF2-40B4-BE49-F238E27FC236}">
                  <a16:creationId xmlns:a16="http://schemas.microsoft.com/office/drawing/2014/main" id="{B75456F8-46F7-471C-FF95-52D4B32E0DFF}"/>
                </a:ext>
              </a:extLst>
            </p:cNvPr>
            <p:cNvSpPr/>
            <p:nvPr/>
          </p:nvSpPr>
          <p:spPr>
            <a:xfrm>
              <a:off x="9210799" y="2912180"/>
              <a:ext cx="501882" cy="616919"/>
            </a:xfrm>
            <a:custGeom>
              <a:avLst/>
              <a:gdLst>
                <a:gd name="connsiteX0" fmla="*/ 313578 w 501882"/>
                <a:gd name="connsiteY0" fmla="*/ 619015 h 616919"/>
                <a:gd name="connsiteX1" fmla="*/ 266516 w 501882"/>
                <a:gd name="connsiteY1" fmla="*/ 613930 h 616919"/>
                <a:gd name="connsiteX2" fmla="*/ 259194 w 501882"/>
                <a:gd name="connsiteY2" fmla="*/ 589046 h 616919"/>
                <a:gd name="connsiteX3" fmla="*/ 462087 w 501882"/>
                <a:gd name="connsiteY3" fmla="*/ 524201 h 616919"/>
                <a:gd name="connsiteX4" fmla="*/ 470035 w 501882"/>
                <a:gd name="connsiteY4" fmla="*/ 401201 h 616919"/>
                <a:gd name="connsiteX5" fmla="*/ 444226 w 501882"/>
                <a:gd name="connsiteY5" fmla="*/ 232177 h 616919"/>
                <a:gd name="connsiteX6" fmla="*/ 444226 w 501882"/>
                <a:gd name="connsiteY6" fmla="*/ 232177 h 616919"/>
                <a:gd name="connsiteX7" fmla="*/ 434046 w 501882"/>
                <a:gd name="connsiteY7" fmla="*/ 151634 h 616919"/>
                <a:gd name="connsiteX8" fmla="*/ 433421 w 501882"/>
                <a:gd name="connsiteY8" fmla="*/ 130764 h 616919"/>
                <a:gd name="connsiteX9" fmla="*/ 442262 w 501882"/>
                <a:gd name="connsiteY9" fmla="*/ 156808 h 616919"/>
                <a:gd name="connsiteX10" fmla="*/ 471820 w 501882"/>
                <a:gd name="connsiteY10" fmla="*/ 282841 h 616919"/>
                <a:gd name="connsiteX11" fmla="*/ 498968 w 501882"/>
                <a:gd name="connsiteY11" fmla="*/ 430100 h 616919"/>
                <a:gd name="connsiteX12" fmla="*/ 489235 w 501882"/>
                <a:gd name="connsiteY12" fmla="*/ 531157 h 616919"/>
                <a:gd name="connsiteX13" fmla="*/ 313578 w 501882"/>
                <a:gd name="connsiteY13" fmla="*/ 619015 h 616919"/>
                <a:gd name="connsiteX14" fmla="*/ 142655 w 501882"/>
                <a:gd name="connsiteY14" fmla="*/ 559879 h 616919"/>
                <a:gd name="connsiteX15" fmla="*/ 60409 w 501882"/>
                <a:gd name="connsiteY15" fmla="*/ 450794 h 616919"/>
                <a:gd name="connsiteX16" fmla="*/ 38529 w 501882"/>
                <a:gd name="connsiteY16" fmla="*/ 459535 h 616919"/>
                <a:gd name="connsiteX17" fmla="*/ 23438 w 501882"/>
                <a:gd name="connsiteY17" fmla="*/ 341262 h 616919"/>
                <a:gd name="connsiteX18" fmla="*/ 22366 w 501882"/>
                <a:gd name="connsiteY18" fmla="*/ 193021 h 616919"/>
                <a:gd name="connsiteX19" fmla="*/ 32726 w 501882"/>
                <a:gd name="connsiteY19" fmla="*/ 115512 h 616919"/>
                <a:gd name="connsiteX20" fmla="*/ 105863 w 501882"/>
                <a:gd name="connsiteY20" fmla="*/ 4999 h 616919"/>
                <a:gd name="connsiteX21" fmla="*/ 140154 w 501882"/>
                <a:gd name="connsiteY21" fmla="*/ 2144 h 616919"/>
                <a:gd name="connsiteX22" fmla="*/ 353229 w 501882"/>
                <a:gd name="connsiteY22" fmla="*/ 6871 h 616919"/>
                <a:gd name="connsiteX23" fmla="*/ 410560 w 501882"/>
                <a:gd name="connsiteY23" fmla="*/ 7675 h 616919"/>
                <a:gd name="connsiteX24" fmla="*/ 449495 w 501882"/>
                <a:gd name="connsiteY24" fmla="*/ 20876 h 616919"/>
                <a:gd name="connsiteX25" fmla="*/ 460033 w 501882"/>
                <a:gd name="connsiteY25" fmla="*/ 21768 h 616919"/>
                <a:gd name="connsiteX26" fmla="*/ 468160 w 501882"/>
                <a:gd name="connsiteY26" fmla="*/ 35326 h 616919"/>
                <a:gd name="connsiteX27" fmla="*/ 459319 w 501882"/>
                <a:gd name="connsiteY27" fmla="*/ 73323 h 616919"/>
                <a:gd name="connsiteX28" fmla="*/ 449852 w 501882"/>
                <a:gd name="connsiteY28" fmla="*/ 121844 h 616919"/>
                <a:gd name="connsiteX29" fmla="*/ 427348 w 501882"/>
                <a:gd name="connsiteY29" fmla="*/ 116760 h 616919"/>
                <a:gd name="connsiteX30" fmla="*/ 121312 w 501882"/>
                <a:gd name="connsiteY30" fmla="*/ 146998 h 616919"/>
                <a:gd name="connsiteX31" fmla="*/ 114525 w 501882"/>
                <a:gd name="connsiteY31" fmla="*/ 168225 h 616919"/>
                <a:gd name="connsiteX32" fmla="*/ 119079 w 501882"/>
                <a:gd name="connsiteY32" fmla="*/ 180089 h 616919"/>
                <a:gd name="connsiteX33" fmla="*/ 129170 w 501882"/>
                <a:gd name="connsiteY33" fmla="*/ 208184 h 616919"/>
                <a:gd name="connsiteX34" fmla="*/ 111310 w 501882"/>
                <a:gd name="connsiteY34" fmla="*/ 233784 h 616919"/>
                <a:gd name="connsiteX35" fmla="*/ 86574 w 501882"/>
                <a:gd name="connsiteY35" fmla="*/ 286408 h 616919"/>
                <a:gd name="connsiteX36" fmla="*/ 88271 w 501882"/>
                <a:gd name="connsiteY36" fmla="*/ 338141 h 616919"/>
                <a:gd name="connsiteX37" fmla="*/ 74162 w 501882"/>
                <a:gd name="connsiteY37" fmla="*/ 351342 h 616919"/>
                <a:gd name="connsiteX38" fmla="*/ 71661 w 501882"/>
                <a:gd name="connsiteY38" fmla="*/ 350449 h 616919"/>
                <a:gd name="connsiteX39" fmla="*/ 37905 w 501882"/>
                <a:gd name="connsiteY39" fmla="*/ 349201 h 616919"/>
                <a:gd name="connsiteX40" fmla="*/ 40227 w 501882"/>
                <a:gd name="connsiteY40" fmla="*/ 436344 h 616919"/>
                <a:gd name="connsiteX41" fmla="*/ 62105 w 501882"/>
                <a:gd name="connsiteY41" fmla="*/ 446601 h 616919"/>
                <a:gd name="connsiteX42" fmla="*/ 149978 w 501882"/>
                <a:gd name="connsiteY42" fmla="*/ 540434 h 616919"/>
                <a:gd name="connsiteX43" fmla="*/ 142655 w 501882"/>
                <a:gd name="connsiteY43" fmla="*/ 559879 h 616919"/>
                <a:gd name="connsiteX44" fmla="*/ 68713 w 501882"/>
                <a:gd name="connsiteY44" fmla="*/ 414491 h 616919"/>
                <a:gd name="connsiteX45" fmla="*/ 59158 w 501882"/>
                <a:gd name="connsiteY45" fmla="*/ 406731 h 616919"/>
                <a:gd name="connsiteX46" fmla="*/ 34690 w 501882"/>
                <a:gd name="connsiteY46" fmla="*/ 384879 h 616919"/>
                <a:gd name="connsiteX47" fmla="*/ 34154 w 501882"/>
                <a:gd name="connsiteY47" fmla="*/ 382828 h 616919"/>
                <a:gd name="connsiteX48" fmla="*/ 66035 w 501882"/>
                <a:gd name="connsiteY48" fmla="*/ 384522 h 616919"/>
                <a:gd name="connsiteX49" fmla="*/ 68713 w 501882"/>
                <a:gd name="connsiteY49" fmla="*/ 414491 h 61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01882" h="616919">
                  <a:moveTo>
                    <a:pt x="313578" y="619015"/>
                  </a:moveTo>
                  <a:cubicBezTo>
                    <a:pt x="297772" y="619015"/>
                    <a:pt x="282055" y="617230"/>
                    <a:pt x="266516" y="613930"/>
                  </a:cubicBezTo>
                  <a:cubicBezTo>
                    <a:pt x="246067" y="612236"/>
                    <a:pt x="225527" y="587886"/>
                    <a:pt x="259194" y="589046"/>
                  </a:cubicBezTo>
                  <a:cubicBezTo>
                    <a:pt x="330725" y="605278"/>
                    <a:pt x="410381" y="593237"/>
                    <a:pt x="462087" y="524201"/>
                  </a:cubicBezTo>
                  <a:cubicBezTo>
                    <a:pt x="486376" y="487274"/>
                    <a:pt x="476464" y="442856"/>
                    <a:pt x="470035" y="401201"/>
                  </a:cubicBezTo>
                  <a:cubicBezTo>
                    <a:pt x="459407" y="333681"/>
                    <a:pt x="453067" y="290153"/>
                    <a:pt x="444226" y="232177"/>
                  </a:cubicBezTo>
                  <a:lnTo>
                    <a:pt x="444226" y="232177"/>
                  </a:lnTo>
                  <a:cubicBezTo>
                    <a:pt x="440208" y="204796"/>
                    <a:pt x="435921" y="180089"/>
                    <a:pt x="434046" y="151634"/>
                  </a:cubicBezTo>
                  <a:cubicBezTo>
                    <a:pt x="433600" y="144855"/>
                    <a:pt x="431724" y="130942"/>
                    <a:pt x="433421" y="130764"/>
                  </a:cubicBezTo>
                  <a:cubicBezTo>
                    <a:pt x="435028" y="130675"/>
                    <a:pt x="439493" y="148246"/>
                    <a:pt x="442262" y="156808"/>
                  </a:cubicBezTo>
                  <a:cubicBezTo>
                    <a:pt x="455300" y="197749"/>
                    <a:pt x="461640" y="236014"/>
                    <a:pt x="471820" y="282841"/>
                  </a:cubicBezTo>
                  <a:cubicBezTo>
                    <a:pt x="481108" y="331452"/>
                    <a:pt x="490842" y="380687"/>
                    <a:pt x="498968" y="430100"/>
                  </a:cubicBezTo>
                  <a:cubicBezTo>
                    <a:pt x="504684" y="463727"/>
                    <a:pt x="506916" y="500653"/>
                    <a:pt x="489235" y="531157"/>
                  </a:cubicBezTo>
                  <a:cubicBezTo>
                    <a:pt x="453871" y="590650"/>
                    <a:pt x="380376" y="618122"/>
                    <a:pt x="313578" y="619015"/>
                  </a:cubicBezTo>
                  <a:close/>
                  <a:moveTo>
                    <a:pt x="142655" y="559879"/>
                  </a:moveTo>
                  <a:cubicBezTo>
                    <a:pt x="99880" y="546500"/>
                    <a:pt x="68267" y="493250"/>
                    <a:pt x="60409" y="450794"/>
                  </a:cubicBezTo>
                  <a:cubicBezTo>
                    <a:pt x="57015" y="459356"/>
                    <a:pt x="46745" y="461229"/>
                    <a:pt x="38529" y="459535"/>
                  </a:cubicBezTo>
                  <a:cubicBezTo>
                    <a:pt x="-6746" y="451864"/>
                    <a:pt x="-9603" y="362848"/>
                    <a:pt x="23438" y="341262"/>
                  </a:cubicBezTo>
                  <a:cubicBezTo>
                    <a:pt x="3434" y="294256"/>
                    <a:pt x="16561" y="241721"/>
                    <a:pt x="22366" y="193021"/>
                  </a:cubicBezTo>
                  <a:cubicBezTo>
                    <a:pt x="22366" y="193021"/>
                    <a:pt x="32726" y="115512"/>
                    <a:pt x="32726" y="115512"/>
                  </a:cubicBezTo>
                  <a:cubicBezTo>
                    <a:pt x="36922" y="70557"/>
                    <a:pt x="54246" y="13740"/>
                    <a:pt x="105863" y="4999"/>
                  </a:cubicBezTo>
                  <a:cubicBezTo>
                    <a:pt x="117115" y="2679"/>
                    <a:pt x="128635" y="1878"/>
                    <a:pt x="140154" y="2144"/>
                  </a:cubicBezTo>
                  <a:cubicBezTo>
                    <a:pt x="171499" y="2769"/>
                    <a:pt x="302952" y="5802"/>
                    <a:pt x="353229" y="6871"/>
                  </a:cubicBezTo>
                  <a:cubicBezTo>
                    <a:pt x="367873" y="7228"/>
                    <a:pt x="395647" y="7407"/>
                    <a:pt x="410560" y="7675"/>
                  </a:cubicBezTo>
                  <a:cubicBezTo>
                    <a:pt x="422704" y="9280"/>
                    <a:pt x="449228" y="2858"/>
                    <a:pt x="449495" y="20876"/>
                  </a:cubicBezTo>
                  <a:lnTo>
                    <a:pt x="460033" y="21768"/>
                  </a:lnTo>
                  <a:cubicBezTo>
                    <a:pt x="466731" y="21947"/>
                    <a:pt x="471196" y="29438"/>
                    <a:pt x="468160" y="35326"/>
                  </a:cubicBezTo>
                  <a:cubicBezTo>
                    <a:pt x="464587" y="42817"/>
                    <a:pt x="461729" y="59587"/>
                    <a:pt x="459319" y="73323"/>
                  </a:cubicBezTo>
                  <a:cubicBezTo>
                    <a:pt x="455210" y="90091"/>
                    <a:pt x="454854" y="108108"/>
                    <a:pt x="449852" y="121844"/>
                  </a:cubicBezTo>
                  <a:cubicBezTo>
                    <a:pt x="444226" y="131833"/>
                    <a:pt x="425831" y="129960"/>
                    <a:pt x="427348" y="116760"/>
                  </a:cubicBezTo>
                  <a:cubicBezTo>
                    <a:pt x="324562" y="113371"/>
                    <a:pt x="218830" y="115512"/>
                    <a:pt x="121312" y="146998"/>
                  </a:cubicBezTo>
                  <a:cubicBezTo>
                    <a:pt x="113543" y="151723"/>
                    <a:pt x="113722" y="160464"/>
                    <a:pt x="114525" y="168225"/>
                  </a:cubicBezTo>
                  <a:cubicBezTo>
                    <a:pt x="115151" y="175808"/>
                    <a:pt x="118008" y="174379"/>
                    <a:pt x="119079" y="180089"/>
                  </a:cubicBezTo>
                  <a:cubicBezTo>
                    <a:pt x="121580" y="189720"/>
                    <a:pt x="124705" y="199265"/>
                    <a:pt x="129170" y="208184"/>
                  </a:cubicBezTo>
                  <a:cubicBezTo>
                    <a:pt x="138369" y="221028"/>
                    <a:pt x="123813" y="233070"/>
                    <a:pt x="111310" y="233784"/>
                  </a:cubicBezTo>
                  <a:cubicBezTo>
                    <a:pt x="86128" y="235746"/>
                    <a:pt x="87913" y="267143"/>
                    <a:pt x="86574" y="286408"/>
                  </a:cubicBezTo>
                  <a:cubicBezTo>
                    <a:pt x="85413" y="303711"/>
                    <a:pt x="86752" y="321014"/>
                    <a:pt x="88271" y="338141"/>
                  </a:cubicBezTo>
                  <a:cubicBezTo>
                    <a:pt x="89432" y="348398"/>
                    <a:pt x="81573" y="358389"/>
                    <a:pt x="74162" y="351342"/>
                  </a:cubicBezTo>
                  <a:cubicBezTo>
                    <a:pt x="73178" y="350449"/>
                    <a:pt x="72643" y="351610"/>
                    <a:pt x="71661" y="350449"/>
                  </a:cubicBezTo>
                  <a:cubicBezTo>
                    <a:pt x="63087" y="340550"/>
                    <a:pt x="47906" y="341887"/>
                    <a:pt x="37905" y="349201"/>
                  </a:cubicBezTo>
                  <a:cubicBezTo>
                    <a:pt x="14955" y="363560"/>
                    <a:pt x="17812" y="425819"/>
                    <a:pt x="40227" y="436344"/>
                  </a:cubicBezTo>
                  <a:cubicBezTo>
                    <a:pt x="46567" y="438930"/>
                    <a:pt x="65053" y="435452"/>
                    <a:pt x="62105" y="446601"/>
                  </a:cubicBezTo>
                  <a:cubicBezTo>
                    <a:pt x="79788" y="479246"/>
                    <a:pt x="111489" y="524557"/>
                    <a:pt x="149978" y="540434"/>
                  </a:cubicBezTo>
                  <a:cubicBezTo>
                    <a:pt x="162391" y="544091"/>
                    <a:pt x="153550" y="561305"/>
                    <a:pt x="142655" y="559879"/>
                  </a:cubicBezTo>
                  <a:close/>
                  <a:moveTo>
                    <a:pt x="68713" y="414491"/>
                  </a:moveTo>
                  <a:cubicBezTo>
                    <a:pt x="64160" y="414670"/>
                    <a:pt x="60051" y="411191"/>
                    <a:pt x="59158" y="406731"/>
                  </a:cubicBezTo>
                  <a:cubicBezTo>
                    <a:pt x="56568" y="395939"/>
                    <a:pt x="45853" y="386305"/>
                    <a:pt x="34690" y="384879"/>
                  </a:cubicBezTo>
                  <a:cubicBezTo>
                    <a:pt x="33797" y="384790"/>
                    <a:pt x="33171" y="383274"/>
                    <a:pt x="34154" y="382828"/>
                  </a:cubicBezTo>
                  <a:cubicBezTo>
                    <a:pt x="44334" y="377832"/>
                    <a:pt x="56390" y="378457"/>
                    <a:pt x="66035" y="384522"/>
                  </a:cubicBezTo>
                  <a:cubicBezTo>
                    <a:pt x="78448" y="391569"/>
                    <a:pt x="89878" y="411993"/>
                    <a:pt x="68713" y="41449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14" name="Freeform: Shape 313">
              <a:extLst>
                <a:ext uri="{FF2B5EF4-FFF2-40B4-BE49-F238E27FC236}">
                  <a16:creationId xmlns:a16="http://schemas.microsoft.com/office/drawing/2014/main" id="{DE19B782-23E1-FD02-E086-A6189F45E333}"/>
                </a:ext>
              </a:extLst>
            </p:cNvPr>
            <p:cNvSpPr/>
            <p:nvPr/>
          </p:nvSpPr>
          <p:spPr>
            <a:xfrm>
              <a:off x="9496529" y="3381750"/>
              <a:ext cx="95290" cy="46830"/>
            </a:xfrm>
            <a:custGeom>
              <a:avLst/>
              <a:gdLst>
                <a:gd name="connsiteX0" fmla="*/ 49861 w 95290"/>
                <a:gd name="connsiteY0" fmla="*/ 48066 h 46830"/>
                <a:gd name="connsiteX1" fmla="*/ 9881 w 95290"/>
                <a:gd name="connsiteY1" fmla="*/ 29602 h 46830"/>
                <a:gd name="connsiteX2" fmla="*/ 4559 w 95290"/>
                <a:gd name="connsiteY2" fmla="*/ 1239 h 46830"/>
                <a:gd name="connsiteX3" fmla="*/ 8104 w 95290"/>
                <a:gd name="connsiteY3" fmla="*/ 3380 h 46830"/>
                <a:gd name="connsiteX4" fmla="*/ 77080 w 95290"/>
                <a:gd name="connsiteY4" fmla="*/ 14350 h 46830"/>
                <a:gd name="connsiteX5" fmla="*/ 84171 w 95290"/>
                <a:gd name="connsiteY5" fmla="*/ 10872 h 46830"/>
                <a:gd name="connsiteX6" fmla="*/ 84234 w 95290"/>
                <a:gd name="connsiteY6" fmla="*/ 10872 h 46830"/>
                <a:gd name="connsiteX7" fmla="*/ 91771 w 95290"/>
                <a:gd name="connsiteY7" fmla="*/ 14261 h 46830"/>
                <a:gd name="connsiteX8" fmla="*/ 95289 w 95290"/>
                <a:gd name="connsiteY8" fmla="*/ 21842 h 46830"/>
                <a:gd name="connsiteX9" fmla="*/ 92369 w 95290"/>
                <a:gd name="connsiteY9" fmla="*/ 29425 h 46830"/>
                <a:gd name="connsiteX10" fmla="*/ 49861 w 95290"/>
                <a:gd name="connsiteY10" fmla="*/ 48066 h 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90" h="46830">
                  <a:moveTo>
                    <a:pt x="49861" y="48066"/>
                  </a:moveTo>
                  <a:cubicBezTo>
                    <a:pt x="34609" y="48245"/>
                    <a:pt x="19811" y="41109"/>
                    <a:pt x="9881" y="29602"/>
                  </a:cubicBezTo>
                  <a:cubicBezTo>
                    <a:pt x="4425" y="24072"/>
                    <a:pt x="-6023" y="2844"/>
                    <a:pt x="4559" y="1239"/>
                  </a:cubicBezTo>
                  <a:cubicBezTo>
                    <a:pt x="6032" y="1239"/>
                    <a:pt x="7488" y="2041"/>
                    <a:pt x="8104" y="3380"/>
                  </a:cubicBezTo>
                  <a:cubicBezTo>
                    <a:pt x="24464" y="28978"/>
                    <a:pt x="55559" y="39325"/>
                    <a:pt x="77080" y="14350"/>
                  </a:cubicBezTo>
                  <a:cubicBezTo>
                    <a:pt x="78804" y="12210"/>
                    <a:pt x="81403" y="10961"/>
                    <a:pt x="84171" y="10872"/>
                  </a:cubicBezTo>
                  <a:lnTo>
                    <a:pt x="84234" y="10872"/>
                  </a:lnTo>
                  <a:cubicBezTo>
                    <a:pt x="87082" y="10961"/>
                    <a:pt x="89797" y="12120"/>
                    <a:pt x="91771" y="14261"/>
                  </a:cubicBezTo>
                  <a:cubicBezTo>
                    <a:pt x="93851" y="16223"/>
                    <a:pt x="95110" y="18989"/>
                    <a:pt x="95289" y="21842"/>
                  </a:cubicBezTo>
                  <a:cubicBezTo>
                    <a:pt x="95387" y="24697"/>
                    <a:pt x="94334" y="27372"/>
                    <a:pt x="92369" y="29425"/>
                  </a:cubicBezTo>
                  <a:cubicBezTo>
                    <a:pt x="81537" y="41019"/>
                    <a:pt x="65811" y="48066"/>
                    <a:pt x="49861" y="4806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5" name="Freeform: Shape 314">
              <a:extLst>
                <a:ext uri="{FF2B5EF4-FFF2-40B4-BE49-F238E27FC236}">
                  <a16:creationId xmlns:a16="http://schemas.microsoft.com/office/drawing/2014/main" id="{B59D6902-D05E-80FF-5757-029B4B483DBC}"/>
                </a:ext>
              </a:extLst>
            </p:cNvPr>
            <p:cNvSpPr/>
            <p:nvPr/>
          </p:nvSpPr>
          <p:spPr>
            <a:xfrm>
              <a:off x="9523202" y="3290857"/>
              <a:ext cx="70846" cy="63352"/>
            </a:xfrm>
            <a:custGeom>
              <a:avLst/>
              <a:gdLst>
                <a:gd name="connsiteX0" fmla="*/ 39147 w 70846"/>
                <a:gd name="connsiteY0" fmla="*/ 64572 h 63352"/>
                <a:gd name="connsiteX1" fmla="*/ 3810 w 70846"/>
                <a:gd name="connsiteY1" fmla="*/ 36118 h 63352"/>
                <a:gd name="connsiteX2" fmla="*/ 8954 w 70846"/>
                <a:gd name="connsiteY2" fmla="*/ 34067 h 63352"/>
                <a:gd name="connsiteX3" fmla="*/ 12937 w 70846"/>
                <a:gd name="connsiteY3" fmla="*/ 35316 h 63352"/>
                <a:gd name="connsiteX4" fmla="*/ 53274 w 70846"/>
                <a:gd name="connsiteY4" fmla="*/ 44235 h 63352"/>
                <a:gd name="connsiteX5" fmla="*/ 38629 w 70846"/>
                <a:gd name="connsiteY5" fmla="*/ 8558 h 63352"/>
                <a:gd name="connsiteX6" fmla="*/ 37718 w 70846"/>
                <a:gd name="connsiteY6" fmla="*/ 4632 h 63352"/>
                <a:gd name="connsiteX7" fmla="*/ 42594 w 70846"/>
                <a:gd name="connsiteY7" fmla="*/ 1243 h 63352"/>
                <a:gd name="connsiteX8" fmla="*/ 70634 w 70846"/>
                <a:gd name="connsiteY8" fmla="*/ 34869 h 63352"/>
                <a:gd name="connsiteX9" fmla="*/ 39147 w 70846"/>
                <a:gd name="connsiteY9" fmla="*/ 64572 h 6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46" h="63352">
                  <a:moveTo>
                    <a:pt x="39147" y="64572"/>
                  </a:moveTo>
                  <a:cubicBezTo>
                    <a:pt x="27939" y="64928"/>
                    <a:pt x="-12443" y="51193"/>
                    <a:pt x="3810" y="36118"/>
                  </a:cubicBezTo>
                  <a:cubicBezTo>
                    <a:pt x="5230" y="34780"/>
                    <a:pt x="7061" y="34156"/>
                    <a:pt x="8954" y="34067"/>
                  </a:cubicBezTo>
                  <a:cubicBezTo>
                    <a:pt x="10374" y="34067"/>
                    <a:pt x="11758" y="34513"/>
                    <a:pt x="12937" y="35316"/>
                  </a:cubicBezTo>
                  <a:cubicBezTo>
                    <a:pt x="22849" y="43254"/>
                    <a:pt x="41353" y="57168"/>
                    <a:pt x="53274" y="44235"/>
                  </a:cubicBezTo>
                  <a:cubicBezTo>
                    <a:pt x="64901" y="30142"/>
                    <a:pt x="46746" y="12571"/>
                    <a:pt x="38629" y="8558"/>
                  </a:cubicBezTo>
                  <a:cubicBezTo>
                    <a:pt x="37513" y="7577"/>
                    <a:pt x="37146" y="6060"/>
                    <a:pt x="37718" y="4632"/>
                  </a:cubicBezTo>
                  <a:cubicBezTo>
                    <a:pt x="38397" y="2581"/>
                    <a:pt x="40379" y="1154"/>
                    <a:pt x="42594" y="1243"/>
                  </a:cubicBezTo>
                  <a:cubicBezTo>
                    <a:pt x="59320" y="2492"/>
                    <a:pt x="72733" y="18101"/>
                    <a:pt x="70634" y="34869"/>
                  </a:cubicBezTo>
                  <a:cubicBezTo>
                    <a:pt x="69688" y="51014"/>
                    <a:pt x="55632" y="65196"/>
                    <a:pt x="39147" y="64572"/>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6" name="Freeform: Shape 315">
              <a:extLst>
                <a:ext uri="{FF2B5EF4-FFF2-40B4-BE49-F238E27FC236}">
                  <a16:creationId xmlns:a16="http://schemas.microsoft.com/office/drawing/2014/main" id="{01F88240-E84D-8EEF-E0C6-C9E0CB193D7A}"/>
                </a:ext>
              </a:extLst>
            </p:cNvPr>
            <p:cNvSpPr/>
            <p:nvPr/>
          </p:nvSpPr>
          <p:spPr>
            <a:xfrm>
              <a:off x="9428118" y="3251827"/>
              <a:ext cx="69559" cy="50897"/>
            </a:xfrm>
            <a:custGeom>
              <a:avLst/>
              <a:gdLst>
                <a:gd name="connsiteX0" fmla="*/ 6003 w 69559"/>
                <a:gd name="connsiteY0" fmla="*/ 52136 h 50897"/>
                <a:gd name="connsiteX1" fmla="*/ 4145 w 69559"/>
                <a:gd name="connsiteY1" fmla="*/ 51869 h 50897"/>
                <a:gd name="connsiteX2" fmla="*/ 1600 w 69559"/>
                <a:gd name="connsiteY2" fmla="*/ 49728 h 50897"/>
                <a:gd name="connsiteX3" fmla="*/ 3163 w 69559"/>
                <a:gd name="connsiteY3" fmla="*/ 26270 h 50897"/>
                <a:gd name="connsiteX4" fmla="*/ 64745 w 69559"/>
                <a:gd name="connsiteY4" fmla="*/ 22078 h 50897"/>
                <a:gd name="connsiteX5" fmla="*/ 67710 w 69559"/>
                <a:gd name="connsiteY5" fmla="*/ 26270 h 50897"/>
                <a:gd name="connsiteX6" fmla="*/ 69148 w 69559"/>
                <a:gd name="connsiteY6" fmla="*/ 34208 h 50897"/>
                <a:gd name="connsiteX7" fmla="*/ 63307 w 69559"/>
                <a:gd name="connsiteY7" fmla="*/ 40273 h 50897"/>
                <a:gd name="connsiteX8" fmla="*/ 49635 w 69559"/>
                <a:gd name="connsiteY8" fmla="*/ 34564 h 50897"/>
                <a:gd name="connsiteX9" fmla="*/ 39080 w 69559"/>
                <a:gd name="connsiteY9" fmla="*/ 20561 h 50897"/>
                <a:gd name="connsiteX10" fmla="*/ 27765 w 69559"/>
                <a:gd name="connsiteY10" fmla="*/ 19669 h 50897"/>
                <a:gd name="connsiteX11" fmla="*/ 14602 w 69559"/>
                <a:gd name="connsiteY11" fmla="*/ 32781 h 50897"/>
                <a:gd name="connsiteX12" fmla="*/ 10280 w 69559"/>
                <a:gd name="connsiteY12" fmla="*/ 48122 h 50897"/>
                <a:gd name="connsiteX13" fmla="*/ 6708 w 69559"/>
                <a:gd name="connsiteY13" fmla="*/ 52136 h 50897"/>
                <a:gd name="connsiteX14" fmla="*/ 6003 w 69559"/>
                <a:gd name="connsiteY14" fmla="*/ 52136 h 5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59" h="50897">
                  <a:moveTo>
                    <a:pt x="6003" y="52136"/>
                  </a:moveTo>
                  <a:cubicBezTo>
                    <a:pt x="5378" y="52136"/>
                    <a:pt x="4743" y="52047"/>
                    <a:pt x="4145" y="51869"/>
                  </a:cubicBezTo>
                  <a:cubicBezTo>
                    <a:pt x="3002" y="51601"/>
                    <a:pt x="2056" y="50798"/>
                    <a:pt x="1600" y="49728"/>
                  </a:cubicBezTo>
                  <a:cubicBezTo>
                    <a:pt x="-1642" y="41076"/>
                    <a:pt x="662" y="32246"/>
                    <a:pt x="3163" y="26270"/>
                  </a:cubicBezTo>
                  <a:cubicBezTo>
                    <a:pt x="16558" y="-6554"/>
                    <a:pt x="48939" y="-6197"/>
                    <a:pt x="64745" y="22078"/>
                  </a:cubicBezTo>
                  <a:cubicBezTo>
                    <a:pt x="65710" y="23415"/>
                    <a:pt x="66701" y="24842"/>
                    <a:pt x="67710" y="26270"/>
                  </a:cubicBezTo>
                  <a:cubicBezTo>
                    <a:pt x="69487" y="28500"/>
                    <a:pt x="70032" y="31532"/>
                    <a:pt x="69148" y="34208"/>
                  </a:cubicBezTo>
                  <a:cubicBezTo>
                    <a:pt x="68148" y="36973"/>
                    <a:pt x="66022" y="39113"/>
                    <a:pt x="63307" y="40273"/>
                  </a:cubicBezTo>
                  <a:cubicBezTo>
                    <a:pt x="58110" y="42681"/>
                    <a:pt x="51511" y="40006"/>
                    <a:pt x="49635" y="34564"/>
                  </a:cubicBezTo>
                  <a:cubicBezTo>
                    <a:pt x="47019" y="28232"/>
                    <a:pt x="43179" y="23148"/>
                    <a:pt x="39080" y="20561"/>
                  </a:cubicBezTo>
                  <a:cubicBezTo>
                    <a:pt x="35740" y="18242"/>
                    <a:pt x="31418" y="17885"/>
                    <a:pt x="27765" y="19669"/>
                  </a:cubicBezTo>
                  <a:cubicBezTo>
                    <a:pt x="24327" y="21274"/>
                    <a:pt x="18541" y="26359"/>
                    <a:pt x="14602" y="32781"/>
                  </a:cubicBezTo>
                  <a:cubicBezTo>
                    <a:pt x="11575" y="37330"/>
                    <a:pt x="10066" y="42681"/>
                    <a:pt x="10280" y="48122"/>
                  </a:cubicBezTo>
                  <a:cubicBezTo>
                    <a:pt x="10530" y="50173"/>
                    <a:pt x="8708" y="51958"/>
                    <a:pt x="6708" y="52136"/>
                  </a:cubicBezTo>
                  <a:cubicBezTo>
                    <a:pt x="6485" y="52136"/>
                    <a:pt x="6244" y="52136"/>
                    <a:pt x="6003" y="5213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7" name="Freeform: Shape 316">
              <a:extLst>
                <a:ext uri="{FF2B5EF4-FFF2-40B4-BE49-F238E27FC236}">
                  <a16:creationId xmlns:a16="http://schemas.microsoft.com/office/drawing/2014/main" id="{A2210091-85F3-544B-DB05-29D4CBE0F4AC}"/>
                </a:ext>
              </a:extLst>
            </p:cNvPr>
            <p:cNvSpPr/>
            <p:nvPr/>
          </p:nvSpPr>
          <p:spPr>
            <a:xfrm>
              <a:off x="9582925" y="3250046"/>
              <a:ext cx="53600" cy="33768"/>
            </a:xfrm>
            <a:custGeom>
              <a:avLst/>
              <a:gdLst>
                <a:gd name="connsiteX0" fmla="*/ 45373 w 53600"/>
                <a:gd name="connsiteY0" fmla="*/ 35008 h 33768"/>
                <a:gd name="connsiteX1" fmla="*/ 37095 w 53600"/>
                <a:gd name="connsiteY1" fmla="*/ 28585 h 33768"/>
                <a:gd name="connsiteX2" fmla="*/ 22932 w 53600"/>
                <a:gd name="connsiteY2" fmla="*/ 17258 h 33768"/>
                <a:gd name="connsiteX3" fmla="*/ 11599 w 53600"/>
                <a:gd name="connsiteY3" fmla="*/ 25731 h 33768"/>
                <a:gd name="connsiteX4" fmla="*/ 11537 w 53600"/>
                <a:gd name="connsiteY4" fmla="*/ 25820 h 33768"/>
                <a:gd name="connsiteX5" fmla="*/ 7652 w 53600"/>
                <a:gd name="connsiteY5" fmla="*/ 30904 h 33768"/>
                <a:gd name="connsiteX6" fmla="*/ 4170 w 53600"/>
                <a:gd name="connsiteY6" fmla="*/ 31707 h 33768"/>
                <a:gd name="connsiteX7" fmla="*/ 17 w 53600"/>
                <a:gd name="connsiteY7" fmla="*/ 22699 h 33768"/>
                <a:gd name="connsiteX8" fmla="*/ 3053 w 53600"/>
                <a:gd name="connsiteY8" fmla="*/ 14314 h 33768"/>
                <a:gd name="connsiteX9" fmla="*/ 41435 w 53600"/>
                <a:gd name="connsiteY9" fmla="*/ 6198 h 33768"/>
                <a:gd name="connsiteX10" fmla="*/ 49392 w 53600"/>
                <a:gd name="connsiteY10" fmla="*/ 33937 h 33768"/>
                <a:gd name="connsiteX11" fmla="*/ 45373 w 53600"/>
                <a:gd name="connsiteY11" fmla="*/ 35008 h 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0" h="33768">
                  <a:moveTo>
                    <a:pt x="45373" y="35008"/>
                  </a:moveTo>
                  <a:cubicBezTo>
                    <a:pt x="41632" y="35008"/>
                    <a:pt x="37872" y="32331"/>
                    <a:pt x="37095" y="28585"/>
                  </a:cubicBezTo>
                  <a:cubicBezTo>
                    <a:pt x="35907" y="22163"/>
                    <a:pt x="29906" y="15920"/>
                    <a:pt x="22932" y="17258"/>
                  </a:cubicBezTo>
                  <a:cubicBezTo>
                    <a:pt x="18109" y="18239"/>
                    <a:pt x="13948" y="21450"/>
                    <a:pt x="11599" y="25731"/>
                  </a:cubicBezTo>
                  <a:lnTo>
                    <a:pt x="11537" y="25820"/>
                  </a:lnTo>
                  <a:cubicBezTo>
                    <a:pt x="10510" y="27693"/>
                    <a:pt x="9206" y="29478"/>
                    <a:pt x="7652" y="30904"/>
                  </a:cubicBezTo>
                  <a:cubicBezTo>
                    <a:pt x="6706" y="31707"/>
                    <a:pt x="5357" y="32063"/>
                    <a:pt x="4170" y="31707"/>
                  </a:cubicBezTo>
                  <a:cubicBezTo>
                    <a:pt x="347" y="27872"/>
                    <a:pt x="-81" y="25107"/>
                    <a:pt x="17" y="22699"/>
                  </a:cubicBezTo>
                  <a:cubicBezTo>
                    <a:pt x="249" y="19665"/>
                    <a:pt x="1294" y="16722"/>
                    <a:pt x="3053" y="14314"/>
                  </a:cubicBezTo>
                  <a:cubicBezTo>
                    <a:pt x="12635" y="935"/>
                    <a:pt x="28674" y="-2900"/>
                    <a:pt x="41435" y="6198"/>
                  </a:cubicBezTo>
                  <a:cubicBezTo>
                    <a:pt x="49044" y="11549"/>
                    <a:pt x="59581" y="26623"/>
                    <a:pt x="49392" y="33937"/>
                  </a:cubicBezTo>
                  <a:cubicBezTo>
                    <a:pt x="48168" y="34561"/>
                    <a:pt x="46793" y="35008"/>
                    <a:pt x="45373" y="35008"/>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8" name="Freeform: Shape 317">
              <a:extLst>
                <a:ext uri="{FF2B5EF4-FFF2-40B4-BE49-F238E27FC236}">
                  <a16:creationId xmlns:a16="http://schemas.microsoft.com/office/drawing/2014/main" id="{825C1965-5230-2A4E-6032-312B25ABC97B}"/>
                </a:ext>
              </a:extLst>
            </p:cNvPr>
            <p:cNvSpPr/>
            <p:nvPr/>
          </p:nvSpPr>
          <p:spPr>
            <a:xfrm>
              <a:off x="9405348" y="3182658"/>
              <a:ext cx="81617" cy="65479"/>
            </a:xfrm>
            <a:custGeom>
              <a:avLst/>
              <a:gdLst>
                <a:gd name="connsiteX0" fmla="*/ 4608 w 81617"/>
                <a:gd name="connsiteY0" fmla="*/ 66718 h 65479"/>
                <a:gd name="connsiteX1" fmla="*/ 4322 w 81617"/>
                <a:gd name="connsiteY1" fmla="*/ 66718 h 65479"/>
                <a:gd name="connsiteX2" fmla="*/ 2911 w 81617"/>
                <a:gd name="connsiteY2" fmla="*/ 66004 h 65479"/>
                <a:gd name="connsiteX3" fmla="*/ 9 w 81617"/>
                <a:gd name="connsiteY3" fmla="*/ 57620 h 65479"/>
                <a:gd name="connsiteX4" fmla="*/ 45856 w 81617"/>
                <a:gd name="connsiteY4" fmla="*/ 5263 h 65479"/>
                <a:gd name="connsiteX5" fmla="*/ 78255 w 81617"/>
                <a:gd name="connsiteY5" fmla="*/ 6244 h 65479"/>
                <a:gd name="connsiteX6" fmla="*/ 81621 w 81617"/>
                <a:gd name="connsiteY6" fmla="*/ 14539 h 65479"/>
                <a:gd name="connsiteX7" fmla="*/ 78228 w 81617"/>
                <a:gd name="connsiteY7" fmla="*/ 22923 h 65479"/>
                <a:gd name="connsiteX8" fmla="*/ 55510 w 81617"/>
                <a:gd name="connsiteY8" fmla="*/ 29702 h 65479"/>
                <a:gd name="connsiteX9" fmla="*/ 10287 w 81617"/>
                <a:gd name="connsiteY9" fmla="*/ 59493 h 65479"/>
                <a:gd name="connsiteX10" fmla="*/ 7430 w 81617"/>
                <a:gd name="connsiteY10" fmla="*/ 64667 h 65479"/>
                <a:gd name="connsiteX11" fmla="*/ 5947 w 81617"/>
                <a:gd name="connsiteY11" fmla="*/ 66450 h 65479"/>
                <a:gd name="connsiteX12" fmla="*/ 4608 w 81617"/>
                <a:gd name="connsiteY12" fmla="*/ 66718 h 65479"/>
                <a:gd name="connsiteX13" fmla="*/ 4608 w 81617"/>
                <a:gd name="connsiteY13" fmla="*/ 66718 h 6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617" h="65479">
                  <a:moveTo>
                    <a:pt x="4608" y="66718"/>
                  </a:moveTo>
                  <a:cubicBezTo>
                    <a:pt x="4509" y="66718"/>
                    <a:pt x="4411" y="66718"/>
                    <a:pt x="4322" y="66718"/>
                  </a:cubicBezTo>
                  <a:cubicBezTo>
                    <a:pt x="3795" y="66629"/>
                    <a:pt x="3304" y="66361"/>
                    <a:pt x="2911" y="66004"/>
                  </a:cubicBezTo>
                  <a:cubicBezTo>
                    <a:pt x="911" y="64310"/>
                    <a:pt x="-63" y="61455"/>
                    <a:pt x="9" y="57620"/>
                  </a:cubicBezTo>
                  <a:cubicBezTo>
                    <a:pt x="2205" y="34251"/>
                    <a:pt x="23513" y="13380"/>
                    <a:pt x="45856" y="5263"/>
                  </a:cubicBezTo>
                  <a:cubicBezTo>
                    <a:pt x="54536" y="1784"/>
                    <a:pt x="69967" y="-2141"/>
                    <a:pt x="78255" y="6244"/>
                  </a:cubicBezTo>
                  <a:cubicBezTo>
                    <a:pt x="80460" y="8474"/>
                    <a:pt x="81675" y="11417"/>
                    <a:pt x="81621" y="14539"/>
                  </a:cubicBezTo>
                  <a:cubicBezTo>
                    <a:pt x="81666" y="17661"/>
                    <a:pt x="80442" y="20694"/>
                    <a:pt x="78228" y="22923"/>
                  </a:cubicBezTo>
                  <a:cubicBezTo>
                    <a:pt x="72254" y="28989"/>
                    <a:pt x="63198" y="27918"/>
                    <a:pt x="55510" y="29702"/>
                  </a:cubicBezTo>
                  <a:cubicBezTo>
                    <a:pt x="37194" y="33449"/>
                    <a:pt x="21396" y="44509"/>
                    <a:pt x="10287" y="59493"/>
                  </a:cubicBezTo>
                  <a:cubicBezTo>
                    <a:pt x="9278" y="61099"/>
                    <a:pt x="8457" y="63240"/>
                    <a:pt x="7430" y="64667"/>
                  </a:cubicBezTo>
                  <a:cubicBezTo>
                    <a:pt x="6662" y="65915"/>
                    <a:pt x="6260" y="66272"/>
                    <a:pt x="5947" y="66450"/>
                  </a:cubicBezTo>
                  <a:cubicBezTo>
                    <a:pt x="5536" y="66629"/>
                    <a:pt x="5072" y="66718"/>
                    <a:pt x="4608" y="66718"/>
                  </a:cubicBezTo>
                  <a:lnTo>
                    <a:pt x="4608" y="66718"/>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19" name="Freeform: Shape 318">
              <a:extLst>
                <a:ext uri="{FF2B5EF4-FFF2-40B4-BE49-F238E27FC236}">
                  <a16:creationId xmlns:a16="http://schemas.microsoft.com/office/drawing/2014/main" id="{1F3A2CC5-6543-9946-94F7-187167CD5A32}"/>
                </a:ext>
              </a:extLst>
            </p:cNvPr>
            <p:cNvSpPr/>
            <p:nvPr/>
          </p:nvSpPr>
          <p:spPr>
            <a:xfrm>
              <a:off x="9570311" y="3178757"/>
              <a:ext cx="74626" cy="66435"/>
            </a:xfrm>
            <a:custGeom>
              <a:avLst/>
              <a:gdLst>
                <a:gd name="connsiteX0" fmla="*/ 68936 w 74626"/>
                <a:gd name="connsiteY0" fmla="*/ 67675 h 66435"/>
                <a:gd name="connsiteX1" fmla="*/ 66444 w 74626"/>
                <a:gd name="connsiteY1" fmla="*/ 65713 h 66435"/>
                <a:gd name="connsiteX2" fmla="*/ 45494 w 74626"/>
                <a:gd name="connsiteY2" fmla="*/ 36903 h 66435"/>
                <a:gd name="connsiteX3" fmla="*/ 25973 w 74626"/>
                <a:gd name="connsiteY3" fmla="*/ 30392 h 66435"/>
                <a:gd name="connsiteX4" fmla="*/ 156 w 74626"/>
                <a:gd name="connsiteY4" fmla="*/ 11483 h 66435"/>
                <a:gd name="connsiteX5" fmla="*/ 36109 w 74626"/>
                <a:gd name="connsiteY5" fmla="*/ 7112 h 66435"/>
                <a:gd name="connsiteX6" fmla="*/ 36126 w 74626"/>
                <a:gd name="connsiteY6" fmla="*/ 7112 h 66435"/>
                <a:gd name="connsiteX7" fmla="*/ 37636 w 74626"/>
                <a:gd name="connsiteY7" fmla="*/ 7736 h 66435"/>
                <a:gd name="connsiteX8" fmla="*/ 61345 w 74626"/>
                <a:gd name="connsiteY8" fmla="*/ 23613 h 66435"/>
                <a:gd name="connsiteX9" fmla="*/ 68936 w 74626"/>
                <a:gd name="connsiteY9" fmla="*/ 67675 h 66435"/>
                <a:gd name="connsiteX10" fmla="*/ 68936 w 74626"/>
                <a:gd name="connsiteY10" fmla="*/ 67675 h 6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26" h="66435">
                  <a:moveTo>
                    <a:pt x="68936" y="67675"/>
                  </a:moveTo>
                  <a:cubicBezTo>
                    <a:pt x="67784" y="67675"/>
                    <a:pt x="66685" y="66872"/>
                    <a:pt x="66444" y="65713"/>
                  </a:cubicBezTo>
                  <a:cubicBezTo>
                    <a:pt x="63194" y="51531"/>
                    <a:pt x="56737" y="42612"/>
                    <a:pt x="45494" y="36903"/>
                  </a:cubicBezTo>
                  <a:cubicBezTo>
                    <a:pt x="39261" y="33960"/>
                    <a:pt x="32706" y="31818"/>
                    <a:pt x="25973" y="30392"/>
                  </a:cubicBezTo>
                  <a:cubicBezTo>
                    <a:pt x="15078" y="28875"/>
                    <a:pt x="-1764" y="26556"/>
                    <a:pt x="156" y="11483"/>
                  </a:cubicBezTo>
                  <a:cubicBezTo>
                    <a:pt x="4023" y="-4930"/>
                    <a:pt x="26071" y="2117"/>
                    <a:pt x="36109" y="7112"/>
                  </a:cubicBezTo>
                  <a:lnTo>
                    <a:pt x="36126" y="7112"/>
                  </a:lnTo>
                  <a:cubicBezTo>
                    <a:pt x="36636" y="7379"/>
                    <a:pt x="37145" y="7558"/>
                    <a:pt x="37636" y="7736"/>
                  </a:cubicBezTo>
                  <a:cubicBezTo>
                    <a:pt x="46566" y="11304"/>
                    <a:pt x="54648" y="16656"/>
                    <a:pt x="61345" y="23613"/>
                  </a:cubicBezTo>
                  <a:cubicBezTo>
                    <a:pt x="70892" y="32890"/>
                    <a:pt x="81402" y="58666"/>
                    <a:pt x="68936" y="67675"/>
                  </a:cubicBezTo>
                  <a:lnTo>
                    <a:pt x="68936" y="67675"/>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320" name="Rounded Rectangle 20">
              <a:extLst>
                <a:ext uri="{FF2B5EF4-FFF2-40B4-BE49-F238E27FC236}">
                  <a16:creationId xmlns:a16="http://schemas.microsoft.com/office/drawing/2014/main" id="{C082D403-1F82-58A1-ADA9-AF216968808C}"/>
                </a:ext>
              </a:extLst>
            </p:cNvPr>
            <p:cNvSpPr/>
            <p:nvPr/>
          </p:nvSpPr>
          <p:spPr>
            <a:xfrm>
              <a:off x="3785484"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21" name="TextBox 320">
              <a:extLst>
                <a:ext uri="{FF2B5EF4-FFF2-40B4-BE49-F238E27FC236}">
                  <a16:creationId xmlns:a16="http://schemas.microsoft.com/office/drawing/2014/main" id="{88C0A524-D639-E1EC-5C0E-396001E3B30B}"/>
                </a:ext>
              </a:extLst>
            </p:cNvPr>
            <p:cNvSpPr txBox="1"/>
            <p:nvPr/>
          </p:nvSpPr>
          <p:spPr>
            <a:xfrm>
              <a:off x="4001544"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TO</a:t>
              </a:r>
              <a:endParaRPr lang="en-GB" sz="1600">
                <a:solidFill>
                  <a:schemeClr val="bg1"/>
                </a:solidFill>
                <a:latin typeface="Darker Grotesque" pitchFamily="2" charset="0"/>
              </a:endParaRPr>
            </a:p>
          </p:txBody>
        </p:sp>
        <p:sp>
          <p:nvSpPr>
            <p:cNvPr id="322" name="TextBox 321">
              <a:extLst>
                <a:ext uri="{FF2B5EF4-FFF2-40B4-BE49-F238E27FC236}">
                  <a16:creationId xmlns:a16="http://schemas.microsoft.com/office/drawing/2014/main" id="{D02479E9-A015-C176-22D3-D4F60A2F716A}"/>
                </a:ext>
              </a:extLst>
            </p:cNvPr>
            <p:cNvSpPr txBox="1"/>
            <p:nvPr/>
          </p:nvSpPr>
          <p:spPr>
            <a:xfrm>
              <a:off x="4031860" y="4671889"/>
              <a:ext cx="873957" cy="275332"/>
            </a:xfrm>
            <a:prstGeom prst="rect">
              <a:avLst/>
            </a:prstGeom>
            <a:noFill/>
          </p:spPr>
          <p:txBody>
            <a:bodyPr wrap="none" rtlCol="0">
              <a:spAutoFit/>
            </a:bodyPr>
            <a:lstStyle/>
            <a:p>
              <a:pPr algn="ctr">
                <a:lnSpc>
                  <a:spcPct val="70000"/>
                </a:lnSpc>
              </a:pPr>
              <a:r>
                <a:rPr lang="en-US" sz="1600">
                  <a:solidFill>
                    <a:schemeClr val="bg1"/>
                  </a:solidFill>
                  <a:latin typeface="+mj-lt"/>
                </a:rPr>
                <a:t>Han Solo</a:t>
              </a:r>
              <a:endParaRPr lang="en-GB" sz="1600">
                <a:solidFill>
                  <a:schemeClr val="bg1"/>
                </a:solidFill>
                <a:latin typeface="+mj-lt"/>
              </a:endParaRPr>
            </a:p>
          </p:txBody>
        </p:sp>
        <p:sp>
          <p:nvSpPr>
            <p:cNvPr id="323" name="Freeform: Shape 322">
              <a:extLst>
                <a:ext uri="{FF2B5EF4-FFF2-40B4-BE49-F238E27FC236}">
                  <a16:creationId xmlns:a16="http://schemas.microsoft.com/office/drawing/2014/main" id="{667AC2EC-6AA6-4A99-B689-95EFA021B020}"/>
                </a:ext>
              </a:extLst>
            </p:cNvPr>
            <p:cNvSpPr/>
            <p:nvPr/>
          </p:nvSpPr>
          <p:spPr>
            <a:xfrm>
              <a:off x="3953388" y="3399012"/>
              <a:ext cx="945119" cy="1042829"/>
            </a:xfrm>
            <a:custGeom>
              <a:avLst/>
              <a:gdLst>
                <a:gd name="connsiteX0" fmla="*/ 163255 w 945119"/>
                <a:gd name="connsiteY0" fmla="*/ 1042896 h 1042829"/>
                <a:gd name="connsiteX1" fmla="*/ 59700 w 945119"/>
                <a:gd name="connsiteY1" fmla="*/ 1032423 h 1042829"/>
                <a:gd name="connsiteX2" fmla="*/ 32228 w 945119"/>
                <a:gd name="connsiteY2" fmla="*/ 1031634 h 1042829"/>
                <a:gd name="connsiteX3" fmla="*/ 24182 w 945119"/>
                <a:gd name="connsiteY3" fmla="*/ 1017413 h 1042829"/>
                <a:gd name="connsiteX4" fmla="*/ 30344 w 945119"/>
                <a:gd name="connsiteY4" fmla="*/ 594330 h 1042829"/>
                <a:gd name="connsiteX5" fmla="*/ 128850 w 945119"/>
                <a:gd name="connsiteY5" fmla="*/ 268618 h 1042829"/>
                <a:gd name="connsiteX6" fmla="*/ 130562 w 945119"/>
                <a:gd name="connsiteY6" fmla="*/ 135942 h 1042829"/>
                <a:gd name="connsiteX7" fmla="*/ 176520 w 945119"/>
                <a:gd name="connsiteY7" fmla="*/ 85052 h 1042829"/>
                <a:gd name="connsiteX8" fmla="*/ 348285 w 945119"/>
                <a:gd name="connsiteY8" fmla="*/ 54628 h 1042829"/>
                <a:gd name="connsiteX9" fmla="*/ 422143 w 945119"/>
                <a:gd name="connsiteY9" fmla="*/ 105295 h 1042829"/>
                <a:gd name="connsiteX10" fmla="*/ 436863 w 945119"/>
                <a:gd name="connsiteY10" fmla="*/ 73138 h 1042829"/>
                <a:gd name="connsiteX11" fmla="*/ 436863 w 945119"/>
                <a:gd name="connsiteY11" fmla="*/ 73130 h 1042829"/>
                <a:gd name="connsiteX12" fmla="*/ 469813 w 945119"/>
                <a:gd name="connsiteY12" fmla="*/ 11123 h 1042829"/>
                <a:gd name="connsiteX13" fmla="*/ 624461 w 945119"/>
                <a:gd name="connsiteY13" fmla="*/ 9425 h 1042829"/>
                <a:gd name="connsiteX14" fmla="*/ 681717 w 945119"/>
                <a:gd name="connsiteY14" fmla="*/ 82908 h 1042829"/>
                <a:gd name="connsiteX15" fmla="*/ 853224 w 945119"/>
                <a:gd name="connsiteY15" fmla="*/ 82050 h 1042829"/>
                <a:gd name="connsiteX16" fmla="*/ 877016 w 945119"/>
                <a:gd name="connsiteY16" fmla="*/ 116549 h 1042829"/>
                <a:gd name="connsiteX17" fmla="*/ 849886 w 945119"/>
                <a:gd name="connsiteY17" fmla="*/ 158973 h 1042829"/>
                <a:gd name="connsiteX18" fmla="*/ 851342 w 945119"/>
                <a:gd name="connsiteY18" fmla="*/ 170201 h 1042829"/>
                <a:gd name="connsiteX19" fmla="*/ 837649 w 945119"/>
                <a:gd name="connsiteY19" fmla="*/ 320941 h 1042829"/>
                <a:gd name="connsiteX20" fmla="*/ 901750 w 945119"/>
                <a:gd name="connsiteY20" fmla="*/ 648454 h 1042829"/>
                <a:gd name="connsiteX21" fmla="*/ 927082 w 945119"/>
                <a:gd name="connsiteY21" fmla="*/ 1012292 h 1042829"/>
                <a:gd name="connsiteX22" fmla="*/ 864692 w 945119"/>
                <a:gd name="connsiteY22" fmla="*/ 1020166 h 1042829"/>
                <a:gd name="connsiteX23" fmla="*/ 647825 w 945119"/>
                <a:gd name="connsiteY23" fmla="*/ 1032603 h 1042829"/>
                <a:gd name="connsiteX24" fmla="*/ 163255 w 945119"/>
                <a:gd name="connsiteY24" fmla="*/ 1042896 h 1042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5119" h="1042829">
                  <a:moveTo>
                    <a:pt x="163255" y="1042896"/>
                  </a:moveTo>
                  <a:cubicBezTo>
                    <a:pt x="126112" y="1042794"/>
                    <a:pt x="94617" y="1040435"/>
                    <a:pt x="59700" y="1032423"/>
                  </a:cubicBezTo>
                  <a:cubicBezTo>
                    <a:pt x="53281" y="1041764"/>
                    <a:pt x="37961" y="1041515"/>
                    <a:pt x="32228" y="1031634"/>
                  </a:cubicBezTo>
                  <a:cubicBezTo>
                    <a:pt x="28633" y="1027586"/>
                    <a:pt x="23156" y="1016838"/>
                    <a:pt x="24182" y="1017413"/>
                  </a:cubicBezTo>
                  <a:cubicBezTo>
                    <a:pt x="-16384" y="881014"/>
                    <a:pt x="6210" y="737393"/>
                    <a:pt x="30344" y="594330"/>
                  </a:cubicBezTo>
                  <a:cubicBezTo>
                    <a:pt x="46862" y="482283"/>
                    <a:pt x="100694" y="375176"/>
                    <a:pt x="128850" y="268618"/>
                  </a:cubicBezTo>
                  <a:cubicBezTo>
                    <a:pt x="146994" y="221665"/>
                    <a:pt x="91109" y="174687"/>
                    <a:pt x="130562" y="135942"/>
                  </a:cubicBezTo>
                  <a:cubicBezTo>
                    <a:pt x="125598" y="109189"/>
                    <a:pt x="151444" y="86648"/>
                    <a:pt x="176520" y="85052"/>
                  </a:cubicBezTo>
                  <a:cubicBezTo>
                    <a:pt x="202110" y="11209"/>
                    <a:pt x="287093" y="24178"/>
                    <a:pt x="348285" y="54628"/>
                  </a:cubicBezTo>
                  <a:cubicBezTo>
                    <a:pt x="383203" y="71998"/>
                    <a:pt x="394928" y="105973"/>
                    <a:pt x="422143" y="105295"/>
                  </a:cubicBezTo>
                  <a:cubicBezTo>
                    <a:pt x="425824" y="99222"/>
                    <a:pt x="430958" y="87137"/>
                    <a:pt x="436863" y="73138"/>
                  </a:cubicBezTo>
                  <a:lnTo>
                    <a:pt x="436863" y="73130"/>
                  </a:lnTo>
                  <a:cubicBezTo>
                    <a:pt x="444823" y="55340"/>
                    <a:pt x="457575" y="21296"/>
                    <a:pt x="469813" y="11123"/>
                  </a:cubicBezTo>
                  <a:cubicBezTo>
                    <a:pt x="513203" y="-10586"/>
                    <a:pt x="582354" y="5728"/>
                    <a:pt x="624461" y="9425"/>
                  </a:cubicBezTo>
                  <a:cubicBezTo>
                    <a:pt x="663145" y="10103"/>
                    <a:pt x="670162" y="44310"/>
                    <a:pt x="681717" y="82908"/>
                  </a:cubicBezTo>
                  <a:cubicBezTo>
                    <a:pt x="716720" y="71380"/>
                    <a:pt x="806839" y="59809"/>
                    <a:pt x="853224" y="82050"/>
                  </a:cubicBezTo>
                  <a:cubicBezTo>
                    <a:pt x="874278" y="92163"/>
                    <a:pt x="883350" y="89281"/>
                    <a:pt x="877016" y="116549"/>
                  </a:cubicBezTo>
                  <a:cubicBezTo>
                    <a:pt x="872309" y="128454"/>
                    <a:pt x="857162" y="151845"/>
                    <a:pt x="849886" y="158973"/>
                  </a:cubicBezTo>
                  <a:cubicBezTo>
                    <a:pt x="847918" y="163030"/>
                    <a:pt x="852883" y="166169"/>
                    <a:pt x="851342" y="170201"/>
                  </a:cubicBezTo>
                  <a:cubicBezTo>
                    <a:pt x="831828" y="223192"/>
                    <a:pt x="831657" y="263935"/>
                    <a:pt x="837649" y="320941"/>
                  </a:cubicBezTo>
                  <a:cubicBezTo>
                    <a:pt x="852112" y="423038"/>
                    <a:pt x="883093" y="546219"/>
                    <a:pt x="901750" y="648454"/>
                  </a:cubicBezTo>
                  <a:cubicBezTo>
                    <a:pt x="909623" y="734657"/>
                    <a:pt x="980829" y="950432"/>
                    <a:pt x="927082" y="1012292"/>
                  </a:cubicBezTo>
                  <a:cubicBezTo>
                    <a:pt x="909794" y="1026848"/>
                    <a:pt x="885575" y="1015998"/>
                    <a:pt x="864692" y="1020166"/>
                  </a:cubicBezTo>
                  <a:cubicBezTo>
                    <a:pt x="793659" y="1029524"/>
                    <a:pt x="724678" y="1032629"/>
                    <a:pt x="647825" y="1032603"/>
                  </a:cubicBezTo>
                  <a:cubicBezTo>
                    <a:pt x="488127" y="1030399"/>
                    <a:pt x="165052" y="1042896"/>
                    <a:pt x="163255" y="10428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24" name="Freeform: Shape 323">
              <a:extLst>
                <a:ext uri="{FF2B5EF4-FFF2-40B4-BE49-F238E27FC236}">
                  <a16:creationId xmlns:a16="http://schemas.microsoft.com/office/drawing/2014/main" id="{3E68BF1D-5499-669C-0FE1-31A39519D251}"/>
                </a:ext>
              </a:extLst>
            </p:cNvPr>
            <p:cNvSpPr/>
            <p:nvPr/>
          </p:nvSpPr>
          <p:spPr>
            <a:xfrm>
              <a:off x="4061864" y="3431262"/>
              <a:ext cx="764539" cy="940390"/>
            </a:xfrm>
            <a:custGeom>
              <a:avLst/>
              <a:gdLst>
                <a:gd name="connsiteX0" fmla="*/ 541147 w 764539"/>
                <a:gd name="connsiteY0" fmla="*/ 887199 h 940390"/>
                <a:gd name="connsiteX1" fmla="*/ 534984 w 764539"/>
                <a:gd name="connsiteY1" fmla="*/ 580401 h 940390"/>
                <a:gd name="connsiteX2" fmla="*/ 573925 w 764539"/>
                <a:gd name="connsiteY2" fmla="*/ 135283 h 940390"/>
                <a:gd name="connsiteX3" fmla="*/ 577776 w 764539"/>
                <a:gd name="connsiteY3" fmla="*/ 108307 h 940390"/>
                <a:gd name="connsiteX4" fmla="*/ 572555 w 764539"/>
                <a:gd name="connsiteY4" fmla="*/ 62486 h 940390"/>
                <a:gd name="connsiteX5" fmla="*/ 575979 w 764539"/>
                <a:gd name="connsiteY5" fmla="*/ 45640 h 940390"/>
                <a:gd name="connsiteX6" fmla="*/ 736790 w 764539"/>
                <a:gd name="connsiteY6" fmla="*/ 40614 h 940390"/>
                <a:gd name="connsiteX7" fmla="*/ 739785 w 764539"/>
                <a:gd name="connsiteY7" fmla="*/ 41789 h 940390"/>
                <a:gd name="connsiteX8" fmla="*/ 765460 w 764539"/>
                <a:gd name="connsiteY8" fmla="*/ 62983 h 940390"/>
                <a:gd name="connsiteX9" fmla="*/ 760325 w 764539"/>
                <a:gd name="connsiteY9" fmla="*/ 83887 h 940390"/>
                <a:gd name="connsiteX10" fmla="*/ 753478 w 764539"/>
                <a:gd name="connsiteY10" fmla="*/ 108170 h 940390"/>
                <a:gd name="connsiteX11" fmla="*/ 748257 w 764539"/>
                <a:gd name="connsiteY11" fmla="*/ 123909 h 940390"/>
                <a:gd name="connsiteX12" fmla="*/ 742352 w 764539"/>
                <a:gd name="connsiteY12" fmla="*/ 134811 h 940390"/>
                <a:gd name="connsiteX13" fmla="*/ 729600 w 764539"/>
                <a:gd name="connsiteY13" fmla="*/ 170742 h 940390"/>
                <a:gd name="connsiteX14" fmla="*/ 633149 w 764539"/>
                <a:gd name="connsiteY14" fmla="*/ 482858 h 940390"/>
                <a:gd name="connsiteX15" fmla="*/ 572727 w 764539"/>
                <a:gd name="connsiteY15" fmla="*/ 934950 h 940390"/>
                <a:gd name="connsiteX16" fmla="*/ 565024 w 764539"/>
                <a:gd name="connsiteY16" fmla="*/ 938621 h 940390"/>
                <a:gd name="connsiteX17" fmla="*/ 541147 w 764539"/>
                <a:gd name="connsiteY17" fmla="*/ 887199 h 940390"/>
                <a:gd name="connsiteX18" fmla="*/ 348756 w 764539"/>
                <a:gd name="connsiteY18" fmla="*/ 552696 h 940390"/>
                <a:gd name="connsiteX19" fmla="*/ 331982 w 764539"/>
                <a:gd name="connsiteY19" fmla="*/ 553579 h 940390"/>
                <a:gd name="connsiteX20" fmla="*/ 309388 w 764539"/>
                <a:gd name="connsiteY20" fmla="*/ 369593 h 940390"/>
                <a:gd name="connsiteX21" fmla="*/ 300658 w 764539"/>
                <a:gd name="connsiteY21" fmla="*/ 334614 h 940390"/>
                <a:gd name="connsiteX22" fmla="*/ 211653 w 764539"/>
                <a:gd name="connsiteY22" fmla="*/ 133293 h 940390"/>
                <a:gd name="connsiteX23" fmla="*/ 75832 w 764539"/>
                <a:gd name="connsiteY23" fmla="*/ 150808 h 940390"/>
                <a:gd name="connsiteX24" fmla="*/ 15325 w 764539"/>
                <a:gd name="connsiteY24" fmla="*/ 158219 h 940390"/>
                <a:gd name="connsiteX25" fmla="*/ 7965 w 764539"/>
                <a:gd name="connsiteY25" fmla="*/ 105365 h 940390"/>
                <a:gd name="connsiteX26" fmla="*/ 60342 w 764539"/>
                <a:gd name="connsiteY26" fmla="*/ 60590 h 940390"/>
                <a:gd name="connsiteX27" fmla="*/ 68729 w 764539"/>
                <a:gd name="connsiteY27" fmla="*/ 26006 h 940390"/>
                <a:gd name="connsiteX28" fmla="*/ 164068 w 764539"/>
                <a:gd name="connsiteY28" fmla="*/ 68 h 940390"/>
                <a:gd name="connsiteX29" fmla="*/ 243490 w 764539"/>
                <a:gd name="connsiteY29" fmla="*/ 19573 h 940390"/>
                <a:gd name="connsiteX30" fmla="*/ 271903 w 764539"/>
                <a:gd name="connsiteY30" fmla="*/ 47501 h 940390"/>
                <a:gd name="connsiteX31" fmla="*/ 443838 w 764539"/>
                <a:gd name="connsiteY31" fmla="*/ 89359 h 940390"/>
                <a:gd name="connsiteX32" fmla="*/ 449487 w 764539"/>
                <a:gd name="connsiteY32" fmla="*/ 99661 h 940390"/>
                <a:gd name="connsiteX33" fmla="*/ 348756 w 764539"/>
                <a:gd name="connsiteY33" fmla="*/ 552696 h 94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4539" h="940390">
                  <a:moveTo>
                    <a:pt x="541147" y="887199"/>
                  </a:moveTo>
                  <a:cubicBezTo>
                    <a:pt x="541317" y="879385"/>
                    <a:pt x="530877" y="675122"/>
                    <a:pt x="534984" y="580401"/>
                  </a:cubicBezTo>
                  <a:cubicBezTo>
                    <a:pt x="538322" y="430956"/>
                    <a:pt x="569132" y="297337"/>
                    <a:pt x="573925" y="135283"/>
                  </a:cubicBezTo>
                  <a:lnTo>
                    <a:pt x="577776" y="108307"/>
                  </a:lnTo>
                  <a:cubicBezTo>
                    <a:pt x="576663" y="94669"/>
                    <a:pt x="573069" y="76056"/>
                    <a:pt x="572555" y="62486"/>
                  </a:cubicBezTo>
                  <a:cubicBezTo>
                    <a:pt x="571957" y="45949"/>
                    <a:pt x="575722" y="46489"/>
                    <a:pt x="575979" y="45640"/>
                  </a:cubicBezTo>
                  <a:cubicBezTo>
                    <a:pt x="637684" y="30123"/>
                    <a:pt x="680989" y="27825"/>
                    <a:pt x="736790" y="40614"/>
                  </a:cubicBezTo>
                  <a:cubicBezTo>
                    <a:pt x="737217" y="40716"/>
                    <a:pt x="739356" y="41583"/>
                    <a:pt x="739785" y="41789"/>
                  </a:cubicBezTo>
                  <a:cubicBezTo>
                    <a:pt x="745005" y="44542"/>
                    <a:pt x="746375" y="50229"/>
                    <a:pt x="765460" y="62983"/>
                  </a:cubicBezTo>
                  <a:cubicBezTo>
                    <a:pt x="768198" y="69571"/>
                    <a:pt x="764604" y="77582"/>
                    <a:pt x="760325" y="83887"/>
                  </a:cubicBezTo>
                  <a:cubicBezTo>
                    <a:pt x="756131" y="90234"/>
                    <a:pt x="753478" y="107209"/>
                    <a:pt x="753478" y="108170"/>
                  </a:cubicBezTo>
                  <a:cubicBezTo>
                    <a:pt x="753307" y="113822"/>
                    <a:pt x="751510" y="119277"/>
                    <a:pt x="748257" y="123909"/>
                  </a:cubicBezTo>
                  <a:cubicBezTo>
                    <a:pt x="744577" y="129176"/>
                    <a:pt x="742352" y="134811"/>
                    <a:pt x="742352" y="134811"/>
                  </a:cubicBezTo>
                  <a:cubicBezTo>
                    <a:pt x="742352" y="134811"/>
                    <a:pt x="734906" y="159248"/>
                    <a:pt x="729600" y="170742"/>
                  </a:cubicBezTo>
                  <a:cubicBezTo>
                    <a:pt x="685610" y="269597"/>
                    <a:pt x="658738" y="374868"/>
                    <a:pt x="633149" y="482858"/>
                  </a:cubicBezTo>
                  <a:cubicBezTo>
                    <a:pt x="597803" y="632218"/>
                    <a:pt x="570587" y="784956"/>
                    <a:pt x="572727" y="934950"/>
                  </a:cubicBezTo>
                  <a:cubicBezTo>
                    <a:pt x="572812" y="939273"/>
                    <a:pt x="566479" y="942721"/>
                    <a:pt x="565024" y="938621"/>
                  </a:cubicBezTo>
                  <a:cubicBezTo>
                    <a:pt x="560831" y="926115"/>
                    <a:pt x="542687" y="890802"/>
                    <a:pt x="541147" y="887199"/>
                  </a:cubicBezTo>
                  <a:close/>
                  <a:moveTo>
                    <a:pt x="348756" y="552696"/>
                  </a:moveTo>
                  <a:lnTo>
                    <a:pt x="331982" y="553579"/>
                  </a:lnTo>
                  <a:cubicBezTo>
                    <a:pt x="327190" y="499027"/>
                    <a:pt x="321370" y="423322"/>
                    <a:pt x="309388" y="369593"/>
                  </a:cubicBezTo>
                  <a:cubicBezTo>
                    <a:pt x="306393" y="356006"/>
                    <a:pt x="304082" y="345748"/>
                    <a:pt x="300658" y="334614"/>
                  </a:cubicBezTo>
                  <a:cubicBezTo>
                    <a:pt x="281574" y="262838"/>
                    <a:pt x="251791" y="195822"/>
                    <a:pt x="211653" y="133293"/>
                  </a:cubicBezTo>
                  <a:cubicBezTo>
                    <a:pt x="164582" y="119586"/>
                    <a:pt x="124443" y="136406"/>
                    <a:pt x="75832" y="150808"/>
                  </a:cubicBezTo>
                  <a:cubicBezTo>
                    <a:pt x="54180" y="156143"/>
                    <a:pt x="36550" y="161324"/>
                    <a:pt x="15325" y="158219"/>
                  </a:cubicBezTo>
                  <a:cubicBezTo>
                    <a:pt x="-5985" y="151700"/>
                    <a:pt x="3258" y="123103"/>
                    <a:pt x="7965" y="105365"/>
                  </a:cubicBezTo>
                  <a:cubicBezTo>
                    <a:pt x="14384" y="80893"/>
                    <a:pt x="44681" y="59492"/>
                    <a:pt x="60342" y="60590"/>
                  </a:cubicBezTo>
                  <a:cubicBezTo>
                    <a:pt x="65477" y="60264"/>
                    <a:pt x="61967" y="35707"/>
                    <a:pt x="68729" y="26006"/>
                  </a:cubicBezTo>
                  <a:cubicBezTo>
                    <a:pt x="92948" y="8019"/>
                    <a:pt x="133943" y="840"/>
                    <a:pt x="164068" y="68"/>
                  </a:cubicBezTo>
                  <a:cubicBezTo>
                    <a:pt x="192140" y="-26"/>
                    <a:pt x="218156" y="7444"/>
                    <a:pt x="243490" y="19573"/>
                  </a:cubicBezTo>
                  <a:cubicBezTo>
                    <a:pt x="254016" y="23510"/>
                    <a:pt x="271903" y="37731"/>
                    <a:pt x="271903" y="47501"/>
                  </a:cubicBezTo>
                  <a:cubicBezTo>
                    <a:pt x="308618" y="79915"/>
                    <a:pt x="391633" y="84907"/>
                    <a:pt x="443838" y="89359"/>
                  </a:cubicBezTo>
                  <a:cubicBezTo>
                    <a:pt x="448889" y="89788"/>
                    <a:pt x="451798" y="95115"/>
                    <a:pt x="449487" y="99661"/>
                  </a:cubicBezTo>
                  <a:cubicBezTo>
                    <a:pt x="386841" y="226504"/>
                    <a:pt x="366472" y="411631"/>
                    <a:pt x="348756" y="5526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25" name="Freeform: Shape 324">
              <a:extLst>
                <a:ext uri="{FF2B5EF4-FFF2-40B4-BE49-F238E27FC236}">
                  <a16:creationId xmlns:a16="http://schemas.microsoft.com/office/drawing/2014/main" id="{A93CDAC4-A788-B01C-2D45-FC3D52A95DE9}"/>
                </a:ext>
              </a:extLst>
            </p:cNvPr>
            <p:cNvSpPr/>
            <p:nvPr/>
          </p:nvSpPr>
          <p:spPr>
            <a:xfrm>
              <a:off x="3883272" y="3419581"/>
              <a:ext cx="1088717" cy="1035207"/>
            </a:xfrm>
            <a:custGeom>
              <a:avLst/>
              <a:gdLst>
                <a:gd name="connsiteX0" fmla="*/ 1089886 w 1088717"/>
                <a:gd name="connsiteY0" fmla="*/ 954454 h 1035207"/>
                <a:gd name="connsiteX1" fmla="*/ 1087404 w 1088717"/>
                <a:gd name="connsiteY1" fmla="*/ 948862 h 1035207"/>
                <a:gd name="connsiteX2" fmla="*/ 1033829 w 1088717"/>
                <a:gd name="connsiteY2" fmla="*/ 643710 h 1035207"/>
                <a:gd name="connsiteX3" fmla="*/ 912472 w 1088717"/>
                <a:gd name="connsiteY3" fmla="*/ 204956 h 1035207"/>
                <a:gd name="connsiteX4" fmla="*/ 928990 w 1088717"/>
                <a:gd name="connsiteY4" fmla="*/ 147093 h 1035207"/>
                <a:gd name="connsiteX5" fmla="*/ 953038 w 1088717"/>
                <a:gd name="connsiteY5" fmla="*/ 98107 h 1035207"/>
                <a:gd name="connsiteX6" fmla="*/ 840839 w 1088717"/>
                <a:gd name="connsiteY6" fmla="*/ 63926 h 1035207"/>
                <a:gd name="connsiteX7" fmla="*/ 841780 w 1088717"/>
                <a:gd name="connsiteY7" fmla="*/ 64870 h 1035207"/>
                <a:gd name="connsiteX8" fmla="*/ 937891 w 1088717"/>
                <a:gd name="connsiteY8" fmla="*/ 75334 h 1035207"/>
                <a:gd name="connsiteX9" fmla="*/ 937891 w 1088717"/>
                <a:gd name="connsiteY9" fmla="*/ 75334 h 1035207"/>
                <a:gd name="connsiteX10" fmla="*/ 940030 w 1088717"/>
                <a:gd name="connsiteY10" fmla="*/ 79957 h 1035207"/>
                <a:gd name="connsiteX11" fmla="*/ 921201 w 1088717"/>
                <a:gd name="connsiteY11" fmla="*/ 86039 h 1035207"/>
                <a:gd name="connsiteX12" fmla="*/ 927021 w 1088717"/>
                <a:gd name="connsiteY12" fmla="*/ 109464 h 1035207"/>
                <a:gd name="connsiteX13" fmla="*/ 928305 w 1088717"/>
                <a:gd name="connsiteY13" fmla="*/ 110707 h 1035207"/>
                <a:gd name="connsiteX14" fmla="*/ 927791 w 1088717"/>
                <a:gd name="connsiteY14" fmla="*/ 113212 h 1035207"/>
                <a:gd name="connsiteX15" fmla="*/ 904684 w 1088717"/>
                <a:gd name="connsiteY15" fmla="*/ 126052 h 1035207"/>
                <a:gd name="connsiteX16" fmla="*/ 779562 w 1088717"/>
                <a:gd name="connsiteY16" fmla="*/ 81501 h 1035207"/>
                <a:gd name="connsiteX17" fmla="*/ 779562 w 1088717"/>
                <a:gd name="connsiteY17" fmla="*/ 81501 h 1035207"/>
                <a:gd name="connsiteX18" fmla="*/ 754829 w 1088717"/>
                <a:gd name="connsiteY18" fmla="*/ 71586 h 1035207"/>
                <a:gd name="connsiteX19" fmla="*/ 749351 w 1088717"/>
                <a:gd name="connsiteY19" fmla="*/ 70368 h 1035207"/>
                <a:gd name="connsiteX20" fmla="*/ 749266 w 1088717"/>
                <a:gd name="connsiteY20" fmla="*/ 71148 h 1035207"/>
                <a:gd name="connsiteX21" fmla="*/ 742847 w 1088717"/>
                <a:gd name="connsiteY21" fmla="*/ 176951 h 1035207"/>
                <a:gd name="connsiteX22" fmla="*/ 735058 w 1088717"/>
                <a:gd name="connsiteY22" fmla="*/ 226966 h 1035207"/>
                <a:gd name="connsiteX23" fmla="*/ 726243 w 1088717"/>
                <a:gd name="connsiteY23" fmla="*/ 227970 h 1035207"/>
                <a:gd name="connsiteX24" fmla="*/ 593932 w 1088717"/>
                <a:gd name="connsiteY24" fmla="*/ 242243 h 1035207"/>
                <a:gd name="connsiteX25" fmla="*/ 622517 w 1088717"/>
                <a:gd name="connsiteY25" fmla="*/ 146870 h 1035207"/>
                <a:gd name="connsiteX26" fmla="*/ 642458 w 1088717"/>
                <a:gd name="connsiteY26" fmla="*/ 106041 h 1035207"/>
                <a:gd name="connsiteX27" fmla="*/ 641859 w 1088717"/>
                <a:gd name="connsiteY27" fmla="*/ 95036 h 1035207"/>
                <a:gd name="connsiteX28" fmla="*/ 614901 w 1088717"/>
                <a:gd name="connsiteY28" fmla="*/ 91588 h 1035207"/>
                <a:gd name="connsiteX29" fmla="*/ 475828 w 1088717"/>
                <a:gd name="connsiteY29" fmla="*/ 77624 h 1035207"/>
                <a:gd name="connsiteX30" fmla="*/ 475057 w 1088717"/>
                <a:gd name="connsiteY30" fmla="*/ 80601 h 1035207"/>
                <a:gd name="connsiteX31" fmla="*/ 615842 w 1088717"/>
                <a:gd name="connsiteY31" fmla="*/ 109043 h 1035207"/>
                <a:gd name="connsiteX32" fmla="*/ 568343 w 1088717"/>
                <a:gd name="connsiteY32" fmla="*/ 247252 h 1035207"/>
                <a:gd name="connsiteX33" fmla="*/ 520246 w 1088717"/>
                <a:gd name="connsiteY33" fmla="*/ 542325 h 1035207"/>
                <a:gd name="connsiteX34" fmla="*/ 519732 w 1088717"/>
                <a:gd name="connsiteY34" fmla="*/ 542333 h 1035207"/>
                <a:gd name="connsiteX35" fmla="*/ 493115 w 1088717"/>
                <a:gd name="connsiteY35" fmla="*/ 382270 h 1035207"/>
                <a:gd name="connsiteX36" fmla="*/ 483359 w 1088717"/>
                <a:gd name="connsiteY36" fmla="*/ 345266 h 1035207"/>
                <a:gd name="connsiteX37" fmla="*/ 399574 w 1088717"/>
                <a:gd name="connsiteY37" fmla="*/ 145952 h 1035207"/>
                <a:gd name="connsiteX38" fmla="*/ 396749 w 1088717"/>
                <a:gd name="connsiteY38" fmla="*/ 141449 h 1035207"/>
                <a:gd name="connsiteX39" fmla="*/ 388619 w 1088717"/>
                <a:gd name="connsiteY39" fmla="*/ 131010 h 1035207"/>
                <a:gd name="connsiteX40" fmla="*/ 387849 w 1088717"/>
                <a:gd name="connsiteY40" fmla="*/ 137409 h 1035207"/>
                <a:gd name="connsiteX41" fmla="*/ 223273 w 1088717"/>
                <a:gd name="connsiteY41" fmla="*/ 164308 h 1035207"/>
                <a:gd name="connsiteX42" fmla="*/ 189553 w 1088717"/>
                <a:gd name="connsiteY42" fmla="*/ 162627 h 1035207"/>
                <a:gd name="connsiteX43" fmla="*/ 208039 w 1088717"/>
                <a:gd name="connsiteY43" fmla="*/ 142555 h 1035207"/>
                <a:gd name="connsiteX44" fmla="*/ 202476 w 1088717"/>
                <a:gd name="connsiteY44" fmla="*/ 115605 h 1035207"/>
                <a:gd name="connsiteX45" fmla="*/ 201106 w 1088717"/>
                <a:gd name="connsiteY45" fmla="*/ 113830 h 1035207"/>
                <a:gd name="connsiteX46" fmla="*/ 212318 w 1088717"/>
                <a:gd name="connsiteY46" fmla="*/ 97361 h 1035207"/>
                <a:gd name="connsiteX47" fmla="*/ 251686 w 1088717"/>
                <a:gd name="connsiteY47" fmla="*/ 85961 h 1035207"/>
                <a:gd name="connsiteX48" fmla="*/ 265551 w 1088717"/>
                <a:gd name="connsiteY48" fmla="*/ 85104 h 1035207"/>
                <a:gd name="connsiteX49" fmla="*/ 264352 w 1088717"/>
                <a:gd name="connsiteY49" fmla="*/ 63952 h 1035207"/>
                <a:gd name="connsiteX50" fmla="*/ 254681 w 1088717"/>
                <a:gd name="connsiteY50" fmla="*/ 56060 h 1035207"/>
                <a:gd name="connsiteX51" fmla="*/ 273253 w 1088717"/>
                <a:gd name="connsiteY51" fmla="*/ 36881 h 1035207"/>
                <a:gd name="connsiteX52" fmla="*/ 424992 w 1088717"/>
                <a:gd name="connsiteY52" fmla="*/ 43846 h 1035207"/>
                <a:gd name="connsiteX53" fmla="*/ 446730 w 1088717"/>
                <a:gd name="connsiteY53" fmla="*/ 60495 h 1035207"/>
                <a:gd name="connsiteX54" fmla="*/ 450495 w 1088717"/>
                <a:gd name="connsiteY54" fmla="*/ 47569 h 1035207"/>
                <a:gd name="connsiteX55" fmla="*/ 295762 w 1088717"/>
                <a:gd name="connsiteY55" fmla="*/ 3335 h 1035207"/>
                <a:gd name="connsiteX56" fmla="*/ 228494 w 1088717"/>
                <a:gd name="connsiteY56" fmla="*/ 59817 h 1035207"/>
                <a:gd name="connsiteX57" fmla="*/ 177400 w 1088717"/>
                <a:gd name="connsiteY57" fmla="*/ 128163 h 1035207"/>
                <a:gd name="connsiteX58" fmla="*/ 186044 w 1088717"/>
                <a:gd name="connsiteY58" fmla="*/ 192656 h 1035207"/>
                <a:gd name="connsiteX59" fmla="*/ 60237 w 1088717"/>
                <a:gd name="connsiteY59" fmla="*/ 536835 h 1035207"/>
                <a:gd name="connsiteX60" fmla="*/ 33450 w 1088717"/>
                <a:gd name="connsiteY60" fmla="*/ 774242 h 1035207"/>
                <a:gd name="connsiteX61" fmla="*/ 33450 w 1088717"/>
                <a:gd name="connsiteY61" fmla="*/ 774250 h 1035207"/>
                <a:gd name="connsiteX62" fmla="*/ 14792 w 1088717"/>
                <a:gd name="connsiteY62" fmla="*/ 982520 h 1035207"/>
                <a:gd name="connsiteX63" fmla="*/ 23779 w 1088717"/>
                <a:gd name="connsiteY63" fmla="*/ 987160 h 1035207"/>
                <a:gd name="connsiteX64" fmla="*/ 121857 w 1088717"/>
                <a:gd name="connsiteY64" fmla="*/ 1034362 h 1035207"/>
                <a:gd name="connsiteX65" fmla="*/ 230205 w 1088717"/>
                <a:gd name="connsiteY65" fmla="*/ 1030116 h 1035207"/>
                <a:gd name="connsiteX66" fmla="*/ 255623 w 1088717"/>
                <a:gd name="connsiteY66" fmla="*/ 1029009 h 1035207"/>
                <a:gd name="connsiteX67" fmla="*/ 541384 w 1088717"/>
                <a:gd name="connsiteY67" fmla="*/ 1017936 h 1035207"/>
                <a:gd name="connsiteX68" fmla="*/ 543182 w 1088717"/>
                <a:gd name="connsiteY68" fmla="*/ 953571 h 1035207"/>
                <a:gd name="connsiteX69" fmla="*/ 591023 w 1088717"/>
                <a:gd name="connsiteY69" fmla="*/ 254586 h 1035207"/>
                <a:gd name="connsiteX70" fmla="*/ 731721 w 1088717"/>
                <a:gd name="connsiteY70" fmla="*/ 251352 h 1035207"/>
                <a:gd name="connsiteX71" fmla="*/ 699028 w 1088717"/>
                <a:gd name="connsiteY71" fmla="*/ 737170 h 1035207"/>
                <a:gd name="connsiteX72" fmla="*/ 705190 w 1088717"/>
                <a:gd name="connsiteY72" fmla="*/ 872291 h 1035207"/>
                <a:gd name="connsiteX73" fmla="*/ 713834 w 1088717"/>
                <a:gd name="connsiteY73" fmla="*/ 917520 h 1035207"/>
                <a:gd name="connsiteX74" fmla="*/ 719140 w 1088717"/>
                <a:gd name="connsiteY74" fmla="*/ 923258 h 1035207"/>
                <a:gd name="connsiteX75" fmla="*/ 784526 w 1088717"/>
                <a:gd name="connsiteY75" fmla="*/ 1021899 h 1035207"/>
                <a:gd name="connsiteX76" fmla="*/ 951327 w 1088717"/>
                <a:gd name="connsiteY76" fmla="*/ 1009865 h 1035207"/>
                <a:gd name="connsiteX77" fmla="*/ 1030919 w 1088717"/>
                <a:gd name="connsiteY77" fmla="*/ 1003586 h 1035207"/>
                <a:gd name="connsiteX78" fmla="*/ 1077049 w 1088717"/>
                <a:gd name="connsiteY78" fmla="*/ 996132 h 1035207"/>
                <a:gd name="connsiteX79" fmla="*/ 1089886 w 1088717"/>
                <a:gd name="connsiteY79" fmla="*/ 954454 h 1035207"/>
                <a:gd name="connsiteX80" fmla="*/ 901347 w 1088717"/>
                <a:gd name="connsiteY80" fmla="*/ 180485 h 1035207"/>
                <a:gd name="connsiteX81" fmla="*/ 897752 w 1088717"/>
                <a:gd name="connsiteY81" fmla="*/ 187664 h 1035207"/>
                <a:gd name="connsiteX82" fmla="*/ 895099 w 1088717"/>
                <a:gd name="connsiteY82" fmla="*/ 193377 h 1035207"/>
                <a:gd name="connsiteX83" fmla="*/ 875929 w 1088717"/>
                <a:gd name="connsiteY83" fmla="*/ 241076 h 1035207"/>
                <a:gd name="connsiteX84" fmla="*/ 875929 w 1088717"/>
                <a:gd name="connsiteY84" fmla="*/ 241093 h 1035207"/>
                <a:gd name="connsiteX85" fmla="*/ 745928 w 1088717"/>
                <a:gd name="connsiteY85" fmla="*/ 937231 h 1035207"/>
                <a:gd name="connsiteX86" fmla="*/ 745329 w 1088717"/>
                <a:gd name="connsiteY86" fmla="*/ 939435 h 1035207"/>
                <a:gd name="connsiteX87" fmla="*/ 740279 w 1088717"/>
                <a:gd name="connsiteY87" fmla="*/ 922666 h 1035207"/>
                <a:gd name="connsiteX88" fmla="*/ 740279 w 1088717"/>
                <a:gd name="connsiteY88" fmla="*/ 922658 h 1035207"/>
                <a:gd name="connsiteX89" fmla="*/ 731549 w 1088717"/>
                <a:gd name="connsiteY89" fmla="*/ 897586 h 1035207"/>
                <a:gd name="connsiteX90" fmla="*/ 752089 w 1088717"/>
                <a:gd name="connsiteY90" fmla="*/ 276655 h 1035207"/>
                <a:gd name="connsiteX91" fmla="*/ 761932 w 1088717"/>
                <a:gd name="connsiteY91" fmla="*/ 144048 h 1035207"/>
                <a:gd name="connsiteX92" fmla="*/ 756369 w 1088717"/>
                <a:gd name="connsiteY92" fmla="*/ 78430 h 1035207"/>
                <a:gd name="connsiteX93" fmla="*/ 758252 w 1088717"/>
                <a:gd name="connsiteY93" fmla="*/ 77255 h 1035207"/>
                <a:gd name="connsiteX94" fmla="*/ 833393 w 1088717"/>
                <a:gd name="connsiteY94" fmla="*/ 120194 h 1035207"/>
                <a:gd name="connsiteX95" fmla="*/ 893387 w 1088717"/>
                <a:gd name="connsiteY95" fmla="*/ 150121 h 1035207"/>
                <a:gd name="connsiteX96" fmla="*/ 915211 w 1088717"/>
                <a:gd name="connsiteY96" fmla="*/ 153226 h 1035207"/>
                <a:gd name="connsiteX97" fmla="*/ 915211 w 1088717"/>
                <a:gd name="connsiteY97" fmla="*/ 153629 h 1035207"/>
                <a:gd name="connsiteX98" fmla="*/ 915211 w 1088717"/>
                <a:gd name="connsiteY98" fmla="*/ 153638 h 1035207"/>
                <a:gd name="connsiteX99" fmla="*/ 903400 w 1088717"/>
                <a:gd name="connsiteY99" fmla="*/ 178023 h 1035207"/>
                <a:gd name="connsiteX100" fmla="*/ 901347 w 1088717"/>
                <a:gd name="connsiteY100" fmla="*/ 180485 h 103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88717" h="1035207">
                  <a:moveTo>
                    <a:pt x="1089886" y="954454"/>
                  </a:moveTo>
                  <a:cubicBezTo>
                    <a:pt x="1089286" y="952481"/>
                    <a:pt x="1088516" y="950594"/>
                    <a:pt x="1087404" y="948862"/>
                  </a:cubicBezTo>
                  <a:cubicBezTo>
                    <a:pt x="1101952" y="845040"/>
                    <a:pt x="1051288" y="745044"/>
                    <a:pt x="1033829" y="643710"/>
                  </a:cubicBezTo>
                  <a:cubicBezTo>
                    <a:pt x="1008752" y="494403"/>
                    <a:pt x="1020734" y="324415"/>
                    <a:pt x="912472" y="204956"/>
                  </a:cubicBezTo>
                  <a:cubicBezTo>
                    <a:pt x="918549" y="185691"/>
                    <a:pt x="925139" y="167593"/>
                    <a:pt x="928990" y="147093"/>
                  </a:cubicBezTo>
                  <a:cubicBezTo>
                    <a:pt x="948074" y="139862"/>
                    <a:pt x="962966" y="118196"/>
                    <a:pt x="953038" y="98107"/>
                  </a:cubicBezTo>
                  <a:cubicBezTo>
                    <a:pt x="995316" y="46600"/>
                    <a:pt x="865145" y="41256"/>
                    <a:pt x="840839" y="63926"/>
                  </a:cubicBezTo>
                  <a:cubicBezTo>
                    <a:pt x="839556" y="65067"/>
                    <a:pt x="841096" y="64947"/>
                    <a:pt x="841780" y="64870"/>
                  </a:cubicBezTo>
                  <a:cubicBezTo>
                    <a:pt x="873618" y="61164"/>
                    <a:pt x="908193" y="58076"/>
                    <a:pt x="937891" y="75334"/>
                  </a:cubicBezTo>
                  <a:lnTo>
                    <a:pt x="937891" y="75334"/>
                  </a:lnTo>
                  <a:cubicBezTo>
                    <a:pt x="940543" y="76475"/>
                    <a:pt x="942597" y="77710"/>
                    <a:pt x="940030" y="79957"/>
                  </a:cubicBezTo>
                  <a:cubicBezTo>
                    <a:pt x="934724" y="83834"/>
                    <a:pt x="926250" y="81141"/>
                    <a:pt x="921201" y="86039"/>
                  </a:cubicBezTo>
                  <a:cubicBezTo>
                    <a:pt x="912900" y="92618"/>
                    <a:pt x="916665" y="107517"/>
                    <a:pt x="927021" y="109464"/>
                  </a:cubicBezTo>
                  <a:cubicBezTo>
                    <a:pt x="927021" y="109472"/>
                    <a:pt x="928048" y="109670"/>
                    <a:pt x="928305" y="110707"/>
                  </a:cubicBezTo>
                  <a:cubicBezTo>
                    <a:pt x="928647" y="111900"/>
                    <a:pt x="927877" y="113152"/>
                    <a:pt x="927791" y="113212"/>
                  </a:cubicBezTo>
                  <a:cubicBezTo>
                    <a:pt x="923427" y="120692"/>
                    <a:pt x="911445" y="121069"/>
                    <a:pt x="904684" y="126052"/>
                  </a:cubicBezTo>
                  <a:cubicBezTo>
                    <a:pt x="862235" y="110416"/>
                    <a:pt x="820641" y="99437"/>
                    <a:pt x="779562" y="81501"/>
                  </a:cubicBezTo>
                  <a:lnTo>
                    <a:pt x="779562" y="81501"/>
                  </a:lnTo>
                  <a:cubicBezTo>
                    <a:pt x="771517" y="78216"/>
                    <a:pt x="763130" y="74819"/>
                    <a:pt x="754829" y="71586"/>
                  </a:cubicBezTo>
                  <a:cubicBezTo>
                    <a:pt x="752518" y="63060"/>
                    <a:pt x="750378" y="55863"/>
                    <a:pt x="749351" y="70368"/>
                  </a:cubicBezTo>
                  <a:cubicBezTo>
                    <a:pt x="749266" y="70616"/>
                    <a:pt x="749266" y="70891"/>
                    <a:pt x="749266" y="71148"/>
                  </a:cubicBezTo>
                  <a:cubicBezTo>
                    <a:pt x="747810" y="106556"/>
                    <a:pt x="745756" y="141629"/>
                    <a:pt x="742847" y="176951"/>
                  </a:cubicBezTo>
                  <a:cubicBezTo>
                    <a:pt x="740023" y="193180"/>
                    <a:pt x="737369" y="210009"/>
                    <a:pt x="735058" y="226966"/>
                  </a:cubicBezTo>
                  <a:cubicBezTo>
                    <a:pt x="732149" y="226048"/>
                    <a:pt x="728897" y="226503"/>
                    <a:pt x="726243" y="227970"/>
                  </a:cubicBezTo>
                  <a:cubicBezTo>
                    <a:pt x="685934" y="249645"/>
                    <a:pt x="637922" y="252501"/>
                    <a:pt x="593932" y="242243"/>
                  </a:cubicBezTo>
                  <a:cubicBezTo>
                    <a:pt x="602662" y="206715"/>
                    <a:pt x="609423" y="178924"/>
                    <a:pt x="622517" y="146870"/>
                  </a:cubicBezTo>
                  <a:cubicBezTo>
                    <a:pt x="628422" y="132794"/>
                    <a:pt x="635697" y="119576"/>
                    <a:pt x="642458" y="106041"/>
                  </a:cubicBezTo>
                  <a:cubicBezTo>
                    <a:pt x="644084" y="102507"/>
                    <a:pt x="643912" y="98382"/>
                    <a:pt x="641859" y="95036"/>
                  </a:cubicBezTo>
                  <a:cubicBezTo>
                    <a:pt x="635782" y="86768"/>
                    <a:pt x="623801" y="93098"/>
                    <a:pt x="614901" y="91588"/>
                  </a:cubicBezTo>
                  <a:cubicBezTo>
                    <a:pt x="569284" y="90405"/>
                    <a:pt x="518449" y="83971"/>
                    <a:pt x="475828" y="77624"/>
                  </a:cubicBezTo>
                  <a:cubicBezTo>
                    <a:pt x="474031" y="77204"/>
                    <a:pt x="473089" y="80077"/>
                    <a:pt x="475057" y="80601"/>
                  </a:cubicBezTo>
                  <a:cubicBezTo>
                    <a:pt x="521101" y="97721"/>
                    <a:pt x="567744" y="105424"/>
                    <a:pt x="615842" y="109043"/>
                  </a:cubicBezTo>
                  <a:cubicBezTo>
                    <a:pt x="590766" y="151322"/>
                    <a:pt x="580496" y="197700"/>
                    <a:pt x="568343" y="247252"/>
                  </a:cubicBezTo>
                  <a:cubicBezTo>
                    <a:pt x="545492" y="343980"/>
                    <a:pt x="529318" y="443590"/>
                    <a:pt x="520246" y="542325"/>
                  </a:cubicBezTo>
                  <a:cubicBezTo>
                    <a:pt x="520246" y="542694"/>
                    <a:pt x="519732" y="542702"/>
                    <a:pt x="519732" y="542333"/>
                  </a:cubicBezTo>
                  <a:cubicBezTo>
                    <a:pt x="514854" y="489127"/>
                    <a:pt x="505953" y="434103"/>
                    <a:pt x="493115" y="382270"/>
                  </a:cubicBezTo>
                  <a:cubicBezTo>
                    <a:pt x="489777" y="368503"/>
                    <a:pt x="487125" y="357112"/>
                    <a:pt x="483359" y="345266"/>
                  </a:cubicBezTo>
                  <a:cubicBezTo>
                    <a:pt x="464702" y="275009"/>
                    <a:pt x="438257" y="207641"/>
                    <a:pt x="399574" y="145952"/>
                  </a:cubicBezTo>
                  <a:cubicBezTo>
                    <a:pt x="398974" y="144254"/>
                    <a:pt x="398033" y="142710"/>
                    <a:pt x="396749" y="141449"/>
                  </a:cubicBezTo>
                  <a:cubicBezTo>
                    <a:pt x="393925" y="138207"/>
                    <a:pt x="392641" y="132417"/>
                    <a:pt x="388619" y="131010"/>
                  </a:cubicBezTo>
                  <a:cubicBezTo>
                    <a:pt x="384597" y="131216"/>
                    <a:pt x="386908" y="135170"/>
                    <a:pt x="387849" y="137409"/>
                  </a:cubicBezTo>
                  <a:cubicBezTo>
                    <a:pt x="331449" y="123248"/>
                    <a:pt x="277618" y="153852"/>
                    <a:pt x="223273" y="164308"/>
                  </a:cubicBezTo>
                  <a:cubicBezTo>
                    <a:pt x="213088" y="165715"/>
                    <a:pt x="197427" y="170518"/>
                    <a:pt x="189553" y="162627"/>
                  </a:cubicBezTo>
                  <a:cubicBezTo>
                    <a:pt x="187071" y="152651"/>
                    <a:pt x="200165" y="145721"/>
                    <a:pt x="208039" y="142555"/>
                  </a:cubicBezTo>
                  <a:cubicBezTo>
                    <a:pt x="230719" y="139305"/>
                    <a:pt x="223700" y="106727"/>
                    <a:pt x="202476" y="115605"/>
                  </a:cubicBezTo>
                  <a:cubicBezTo>
                    <a:pt x="202048" y="114696"/>
                    <a:pt x="201620" y="113684"/>
                    <a:pt x="201106" y="113830"/>
                  </a:cubicBezTo>
                  <a:cubicBezTo>
                    <a:pt x="200765" y="107414"/>
                    <a:pt x="207012" y="101530"/>
                    <a:pt x="212318" y="97361"/>
                  </a:cubicBezTo>
                  <a:cubicBezTo>
                    <a:pt x="223273" y="88818"/>
                    <a:pt x="237736" y="82891"/>
                    <a:pt x="251686" y="85961"/>
                  </a:cubicBezTo>
                  <a:cubicBezTo>
                    <a:pt x="256308" y="87488"/>
                    <a:pt x="261700" y="88826"/>
                    <a:pt x="265551" y="85104"/>
                  </a:cubicBezTo>
                  <a:cubicBezTo>
                    <a:pt x="271798" y="79708"/>
                    <a:pt x="271456" y="68472"/>
                    <a:pt x="264352" y="63952"/>
                  </a:cubicBezTo>
                  <a:cubicBezTo>
                    <a:pt x="261015" y="61713"/>
                    <a:pt x="257421" y="59165"/>
                    <a:pt x="254681" y="56060"/>
                  </a:cubicBezTo>
                  <a:cubicBezTo>
                    <a:pt x="244925" y="44627"/>
                    <a:pt x="264952" y="40329"/>
                    <a:pt x="273253" y="36881"/>
                  </a:cubicBezTo>
                  <a:cubicBezTo>
                    <a:pt x="321864" y="16939"/>
                    <a:pt x="378092" y="20833"/>
                    <a:pt x="424992" y="43846"/>
                  </a:cubicBezTo>
                  <a:cubicBezTo>
                    <a:pt x="433807" y="47320"/>
                    <a:pt x="445789" y="52072"/>
                    <a:pt x="446730" y="60495"/>
                  </a:cubicBezTo>
                  <a:cubicBezTo>
                    <a:pt x="452293" y="68764"/>
                    <a:pt x="452635" y="50579"/>
                    <a:pt x="450495" y="47569"/>
                  </a:cubicBezTo>
                  <a:cubicBezTo>
                    <a:pt x="423451" y="2915"/>
                    <a:pt x="342832" y="-5843"/>
                    <a:pt x="295762" y="3335"/>
                  </a:cubicBezTo>
                  <a:cubicBezTo>
                    <a:pt x="261272" y="11629"/>
                    <a:pt x="218908" y="22231"/>
                    <a:pt x="228494" y="59817"/>
                  </a:cubicBezTo>
                  <a:cubicBezTo>
                    <a:pt x="199310" y="64724"/>
                    <a:pt x="160797" y="95937"/>
                    <a:pt x="177400" y="128163"/>
                  </a:cubicBezTo>
                  <a:cubicBezTo>
                    <a:pt x="153095" y="145120"/>
                    <a:pt x="155320" y="184722"/>
                    <a:pt x="186044" y="192656"/>
                  </a:cubicBezTo>
                  <a:cubicBezTo>
                    <a:pt x="100034" y="281562"/>
                    <a:pt x="65030" y="412291"/>
                    <a:pt x="60237" y="536835"/>
                  </a:cubicBezTo>
                  <a:cubicBezTo>
                    <a:pt x="60922" y="617000"/>
                    <a:pt x="60836" y="697808"/>
                    <a:pt x="33450" y="774242"/>
                  </a:cubicBezTo>
                  <a:lnTo>
                    <a:pt x="33450" y="774250"/>
                  </a:lnTo>
                  <a:cubicBezTo>
                    <a:pt x="16076" y="841026"/>
                    <a:pt x="-16189" y="915315"/>
                    <a:pt x="14792" y="982520"/>
                  </a:cubicBezTo>
                  <a:cubicBezTo>
                    <a:pt x="15991" y="986131"/>
                    <a:pt x="20184" y="988078"/>
                    <a:pt x="23779" y="987160"/>
                  </a:cubicBezTo>
                  <a:cubicBezTo>
                    <a:pt x="30026" y="1034010"/>
                    <a:pt x="84371" y="1037690"/>
                    <a:pt x="121857" y="1034362"/>
                  </a:cubicBezTo>
                  <a:cubicBezTo>
                    <a:pt x="156604" y="1033221"/>
                    <a:pt x="195886" y="1031600"/>
                    <a:pt x="230205" y="1030116"/>
                  </a:cubicBezTo>
                  <a:cubicBezTo>
                    <a:pt x="233200" y="1029987"/>
                    <a:pt x="253655" y="1029095"/>
                    <a:pt x="255623" y="1029009"/>
                  </a:cubicBezTo>
                  <a:cubicBezTo>
                    <a:pt x="341977" y="1025184"/>
                    <a:pt x="454774" y="1021015"/>
                    <a:pt x="541384" y="1017936"/>
                  </a:cubicBezTo>
                  <a:cubicBezTo>
                    <a:pt x="569113" y="1014445"/>
                    <a:pt x="556276" y="967209"/>
                    <a:pt x="543182" y="953571"/>
                  </a:cubicBezTo>
                  <a:cubicBezTo>
                    <a:pt x="527349" y="717802"/>
                    <a:pt x="535651" y="484384"/>
                    <a:pt x="591023" y="254586"/>
                  </a:cubicBezTo>
                  <a:cubicBezTo>
                    <a:pt x="639890" y="276604"/>
                    <a:pt x="686105" y="271123"/>
                    <a:pt x="731721" y="251352"/>
                  </a:cubicBezTo>
                  <a:cubicBezTo>
                    <a:pt x="712293" y="403670"/>
                    <a:pt x="697060" y="595008"/>
                    <a:pt x="699028" y="737170"/>
                  </a:cubicBezTo>
                  <a:cubicBezTo>
                    <a:pt x="699970" y="789295"/>
                    <a:pt x="700654" y="825261"/>
                    <a:pt x="705190" y="872291"/>
                  </a:cubicBezTo>
                  <a:cubicBezTo>
                    <a:pt x="706817" y="887576"/>
                    <a:pt x="709726" y="902706"/>
                    <a:pt x="713834" y="917520"/>
                  </a:cubicBezTo>
                  <a:cubicBezTo>
                    <a:pt x="714433" y="920256"/>
                    <a:pt x="716488" y="922443"/>
                    <a:pt x="719140" y="923258"/>
                  </a:cubicBezTo>
                  <a:cubicBezTo>
                    <a:pt x="720424" y="968333"/>
                    <a:pt x="726243" y="1023674"/>
                    <a:pt x="784526" y="1021899"/>
                  </a:cubicBezTo>
                  <a:cubicBezTo>
                    <a:pt x="839983" y="1019300"/>
                    <a:pt x="896553" y="1014016"/>
                    <a:pt x="951327" y="1009865"/>
                  </a:cubicBezTo>
                  <a:cubicBezTo>
                    <a:pt x="977430" y="1007780"/>
                    <a:pt x="1004473" y="1005593"/>
                    <a:pt x="1030919" y="1003586"/>
                  </a:cubicBezTo>
                  <a:cubicBezTo>
                    <a:pt x="1046238" y="1001656"/>
                    <a:pt x="1063013" y="1003603"/>
                    <a:pt x="1077049" y="996132"/>
                  </a:cubicBezTo>
                  <a:cubicBezTo>
                    <a:pt x="1085948" y="990162"/>
                    <a:pt x="1092881" y="967063"/>
                    <a:pt x="1089886" y="954454"/>
                  </a:cubicBezTo>
                  <a:close/>
                  <a:moveTo>
                    <a:pt x="901347" y="180485"/>
                  </a:moveTo>
                  <a:cubicBezTo>
                    <a:pt x="900063" y="182870"/>
                    <a:pt x="898864" y="185280"/>
                    <a:pt x="897752" y="187664"/>
                  </a:cubicBezTo>
                  <a:cubicBezTo>
                    <a:pt x="897495" y="188136"/>
                    <a:pt x="895355" y="192794"/>
                    <a:pt x="895099" y="193377"/>
                  </a:cubicBezTo>
                  <a:cubicBezTo>
                    <a:pt x="887995" y="208928"/>
                    <a:pt x="881833" y="225268"/>
                    <a:pt x="875929" y="241076"/>
                  </a:cubicBezTo>
                  <a:lnTo>
                    <a:pt x="875929" y="241093"/>
                  </a:lnTo>
                  <a:cubicBezTo>
                    <a:pt x="790602" y="462374"/>
                    <a:pt x="747126" y="700390"/>
                    <a:pt x="745928" y="937231"/>
                  </a:cubicBezTo>
                  <a:cubicBezTo>
                    <a:pt x="745928" y="938552"/>
                    <a:pt x="745671" y="940610"/>
                    <a:pt x="745329" y="939435"/>
                  </a:cubicBezTo>
                  <a:cubicBezTo>
                    <a:pt x="743531" y="933551"/>
                    <a:pt x="741734" y="928507"/>
                    <a:pt x="740279" y="922666"/>
                  </a:cubicBezTo>
                  <a:lnTo>
                    <a:pt x="740279" y="922658"/>
                  </a:lnTo>
                  <a:cubicBezTo>
                    <a:pt x="738225" y="914029"/>
                    <a:pt x="734973" y="905700"/>
                    <a:pt x="731549" y="897586"/>
                  </a:cubicBezTo>
                  <a:cubicBezTo>
                    <a:pt x="721451" y="692276"/>
                    <a:pt x="730352" y="479418"/>
                    <a:pt x="752089" y="276655"/>
                  </a:cubicBezTo>
                  <a:cubicBezTo>
                    <a:pt x="756540" y="229960"/>
                    <a:pt x="760306" y="189431"/>
                    <a:pt x="761932" y="144048"/>
                  </a:cubicBezTo>
                  <a:cubicBezTo>
                    <a:pt x="762446" y="130487"/>
                    <a:pt x="758252" y="90550"/>
                    <a:pt x="756369" y="78430"/>
                  </a:cubicBezTo>
                  <a:cubicBezTo>
                    <a:pt x="756197" y="77384"/>
                    <a:pt x="757310" y="76689"/>
                    <a:pt x="758252" y="77255"/>
                  </a:cubicBezTo>
                  <a:cubicBezTo>
                    <a:pt x="782814" y="92755"/>
                    <a:pt x="808232" y="105947"/>
                    <a:pt x="833393" y="120194"/>
                  </a:cubicBezTo>
                  <a:cubicBezTo>
                    <a:pt x="852735" y="131345"/>
                    <a:pt x="872334" y="141586"/>
                    <a:pt x="893387" y="150121"/>
                  </a:cubicBezTo>
                  <a:cubicBezTo>
                    <a:pt x="900148" y="153166"/>
                    <a:pt x="908022" y="156399"/>
                    <a:pt x="915211" y="153226"/>
                  </a:cubicBezTo>
                  <a:cubicBezTo>
                    <a:pt x="915297" y="153183"/>
                    <a:pt x="915211" y="153629"/>
                    <a:pt x="915211" y="153629"/>
                  </a:cubicBezTo>
                  <a:lnTo>
                    <a:pt x="915211" y="153638"/>
                  </a:lnTo>
                  <a:cubicBezTo>
                    <a:pt x="911017" y="161666"/>
                    <a:pt x="907337" y="169300"/>
                    <a:pt x="903400" y="178023"/>
                  </a:cubicBezTo>
                  <a:cubicBezTo>
                    <a:pt x="902459" y="178684"/>
                    <a:pt x="901774" y="179524"/>
                    <a:pt x="901347" y="180485"/>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nvGrpSpPr>
            <p:cNvPr id="326" name="Graphic 39" descr="Man wearing a jacket">
              <a:extLst>
                <a:ext uri="{FF2B5EF4-FFF2-40B4-BE49-F238E27FC236}">
                  <a16:creationId xmlns:a16="http://schemas.microsoft.com/office/drawing/2014/main" id="{5E95B7CB-505C-30F3-29A0-2D2CA000E4EE}"/>
                </a:ext>
              </a:extLst>
            </p:cNvPr>
            <p:cNvGrpSpPr/>
            <p:nvPr/>
          </p:nvGrpSpPr>
          <p:grpSpPr>
            <a:xfrm>
              <a:off x="4071652" y="3884092"/>
              <a:ext cx="788425" cy="570059"/>
              <a:chOff x="4071652" y="4001036"/>
              <a:chExt cx="788425" cy="570059"/>
            </a:xfrm>
            <a:solidFill>
              <a:srgbClr val="FFFFFF"/>
            </a:solidFill>
          </p:grpSpPr>
          <p:sp>
            <p:nvSpPr>
              <p:cNvPr id="382" name="Freeform: Shape 381">
                <a:extLst>
                  <a:ext uri="{FF2B5EF4-FFF2-40B4-BE49-F238E27FC236}">
                    <a16:creationId xmlns:a16="http://schemas.microsoft.com/office/drawing/2014/main" id="{ACACC731-2403-B6D5-3116-8F68B1C828A0}"/>
                  </a:ext>
                </a:extLst>
              </p:cNvPr>
              <p:cNvSpPr/>
              <p:nvPr/>
            </p:nvSpPr>
            <p:spPr>
              <a:xfrm>
                <a:off x="4833313" y="4266172"/>
                <a:ext cx="26764" cy="249603"/>
              </a:xfrm>
              <a:custGeom>
                <a:avLst/>
                <a:gdLst>
                  <a:gd name="connsiteX0" fmla="*/ 7361 w 26764"/>
                  <a:gd name="connsiteY0" fmla="*/ 78 h 249603"/>
                  <a:gd name="connsiteX1" fmla="*/ 1884 w 26764"/>
                  <a:gd name="connsiteY1" fmla="*/ 5370 h 249603"/>
                  <a:gd name="connsiteX2" fmla="*/ 17632 w 26764"/>
                  <a:gd name="connsiteY2" fmla="*/ 244544 h 249603"/>
                  <a:gd name="connsiteX3" fmla="*/ 28586 w 26764"/>
                  <a:gd name="connsiteY3" fmla="*/ 244544 h 249603"/>
                  <a:gd name="connsiteX4" fmla="*/ 12838 w 26764"/>
                  <a:gd name="connsiteY4" fmla="*/ 5379 h 249603"/>
                  <a:gd name="connsiteX5" fmla="*/ 7361 w 26764"/>
                  <a:gd name="connsiteY5" fmla="*/ 78 h 249603"/>
                  <a:gd name="connsiteX6" fmla="*/ 7361 w 26764"/>
                  <a:gd name="connsiteY6" fmla="*/ 78 h 2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64" h="249603">
                    <a:moveTo>
                      <a:pt x="7361" y="78"/>
                    </a:moveTo>
                    <a:cubicBezTo>
                      <a:pt x="4451" y="-33"/>
                      <a:pt x="1713" y="2377"/>
                      <a:pt x="1884" y="5370"/>
                    </a:cubicBezTo>
                    <a:cubicBezTo>
                      <a:pt x="1969" y="76357"/>
                      <a:pt x="7875" y="165760"/>
                      <a:pt x="17632" y="244544"/>
                    </a:cubicBezTo>
                    <a:cubicBezTo>
                      <a:pt x="17973" y="250917"/>
                      <a:pt x="29528" y="251826"/>
                      <a:pt x="28586" y="244544"/>
                    </a:cubicBezTo>
                    <a:cubicBezTo>
                      <a:pt x="19343" y="170512"/>
                      <a:pt x="12838" y="78056"/>
                      <a:pt x="12838" y="5379"/>
                    </a:cubicBezTo>
                    <a:cubicBezTo>
                      <a:pt x="12924" y="2360"/>
                      <a:pt x="10357" y="-119"/>
                      <a:pt x="7361" y="78"/>
                    </a:cubicBezTo>
                    <a:lnTo>
                      <a:pt x="7361" y="78"/>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3" name="Freeform: Shape 382">
                <a:extLst>
                  <a:ext uri="{FF2B5EF4-FFF2-40B4-BE49-F238E27FC236}">
                    <a16:creationId xmlns:a16="http://schemas.microsoft.com/office/drawing/2014/main" id="{B00354CE-FA01-8DBF-7F89-A82624FB3DE3}"/>
                  </a:ext>
                </a:extLst>
              </p:cNvPr>
              <p:cNvSpPr/>
              <p:nvPr/>
            </p:nvSpPr>
            <p:spPr>
              <a:xfrm>
                <a:off x="4194443" y="4357574"/>
                <a:ext cx="139610" cy="96426"/>
              </a:xfrm>
              <a:custGeom>
                <a:avLst/>
                <a:gdLst>
                  <a:gd name="connsiteX0" fmla="*/ 135901 w 139610"/>
                  <a:gd name="connsiteY0" fmla="*/ 68 h 96426"/>
                  <a:gd name="connsiteX1" fmla="*/ 4190 w 139610"/>
                  <a:gd name="connsiteY1" fmla="*/ 85989 h 96426"/>
                  <a:gd name="connsiteX2" fmla="*/ 2220 w 139610"/>
                  <a:gd name="connsiteY2" fmla="*/ 92722 h 96426"/>
                  <a:gd name="connsiteX3" fmla="*/ 9666 w 139610"/>
                  <a:gd name="connsiteY3" fmla="*/ 95450 h 96426"/>
                  <a:gd name="connsiteX4" fmla="*/ 72570 w 139610"/>
                  <a:gd name="connsiteY4" fmla="*/ 50186 h 96426"/>
                  <a:gd name="connsiteX5" fmla="*/ 138811 w 139610"/>
                  <a:gd name="connsiteY5" fmla="*/ 10224 h 96426"/>
                  <a:gd name="connsiteX6" fmla="*/ 135901 w 139610"/>
                  <a:gd name="connsiteY6" fmla="*/ 68 h 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10" h="96426">
                    <a:moveTo>
                      <a:pt x="135901" y="68"/>
                    </a:moveTo>
                    <a:cubicBezTo>
                      <a:pt x="89430" y="22781"/>
                      <a:pt x="47837" y="53163"/>
                      <a:pt x="4190" y="85989"/>
                    </a:cubicBezTo>
                    <a:cubicBezTo>
                      <a:pt x="2135" y="87567"/>
                      <a:pt x="1365" y="90295"/>
                      <a:pt x="2220" y="92722"/>
                    </a:cubicBezTo>
                    <a:cubicBezTo>
                      <a:pt x="2991" y="95913"/>
                      <a:pt x="7099" y="97783"/>
                      <a:pt x="9666" y="95450"/>
                    </a:cubicBezTo>
                    <a:cubicBezTo>
                      <a:pt x="31747" y="78475"/>
                      <a:pt x="52287" y="63670"/>
                      <a:pt x="72570" y="50186"/>
                    </a:cubicBezTo>
                    <a:cubicBezTo>
                      <a:pt x="95249" y="35056"/>
                      <a:pt x="116902" y="21984"/>
                      <a:pt x="138811" y="10224"/>
                    </a:cubicBezTo>
                    <a:cubicBezTo>
                      <a:pt x="143860" y="7908"/>
                      <a:pt x="141122" y="-52"/>
                      <a:pt x="135901" y="68"/>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4" name="Freeform: Shape 383">
                <a:extLst>
                  <a:ext uri="{FF2B5EF4-FFF2-40B4-BE49-F238E27FC236}">
                    <a16:creationId xmlns:a16="http://schemas.microsoft.com/office/drawing/2014/main" id="{C7BF7D3B-797D-ABC3-F19F-ADB7B84C6FAF}"/>
                  </a:ext>
                </a:extLst>
              </p:cNvPr>
              <p:cNvSpPr/>
              <p:nvPr/>
            </p:nvSpPr>
            <p:spPr>
              <a:xfrm>
                <a:off x="4716933" y="4351640"/>
                <a:ext cx="45496" cy="38453"/>
              </a:xfrm>
              <a:custGeom>
                <a:avLst/>
                <a:gdLst>
                  <a:gd name="connsiteX0" fmla="*/ 7349 w 45496"/>
                  <a:gd name="connsiteY0" fmla="*/ 67 h 38453"/>
                  <a:gd name="connsiteX1" fmla="*/ 45263 w 45496"/>
                  <a:gd name="connsiteY1" fmla="*/ 37516 h 38453"/>
                  <a:gd name="connsiteX2" fmla="*/ 44663 w 45496"/>
                  <a:gd name="connsiteY2" fmla="*/ 28793 h 38453"/>
                  <a:gd name="connsiteX3" fmla="*/ 11971 w 45496"/>
                  <a:gd name="connsiteY3" fmla="*/ 2357 h 38453"/>
                  <a:gd name="connsiteX4" fmla="*/ 7349 w 45496"/>
                  <a:gd name="connsiteY4" fmla="*/ 67 h 38453"/>
                  <a:gd name="connsiteX5" fmla="*/ 7349 w 45496"/>
                  <a:gd name="connsiteY5" fmla="*/ 67 h 3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96" h="38453">
                    <a:moveTo>
                      <a:pt x="7349" y="67"/>
                    </a:moveTo>
                    <a:cubicBezTo>
                      <a:pt x="-15245" y="1311"/>
                      <a:pt x="39016" y="45691"/>
                      <a:pt x="45263" y="37516"/>
                    </a:cubicBezTo>
                    <a:cubicBezTo>
                      <a:pt x="48087" y="35269"/>
                      <a:pt x="48258" y="30320"/>
                      <a:pt x="44663" y="28793"/>
                    </a:cubicBezTo>
                    <a:cubicBezTo>
                      <a:pt x="31911" y="22506"/>
                      <a:pt x="20786" y="13482"/>
                      <a:pt x="11971" y="2357"/>
                    </a:cubicBezTo>
                    <a:cubicBezTo>
                      <a:pt x="10858" y="908"/>
                      <a:pt x="9146" y="58"/>
                      <a:pt x="7349" y="67"/>
                    </a:cubicBezTo>
                    <a:lnTo>
                      <a:pt x="7349" y="67"/>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5" name="Freeform: Shape 384">
                <a:extLst>
                  <a:ext uri="{FF2B5EF4-FFF2-40B4-BE49-F238E27FC236}">
                    <a16:creationId xmlns:a16="http://schemas.microsoft.com/office/drawing/2014/main" id="{1D3DC4EE-9272-45B5-0F94-CB9E2A49BC43}"/>
                  </a:ext>
                </a:extLst>
              </p:cNvPr>
              <p:cNvSpPr/>
              <p:nvPr/>
            </p:nvSpPr>
            <p:spPr>
              <a:xfrm>
                <a:off x="4167170" y="4026210"/>
                <a:ext cx="138157" cy="55471"/>
              </a:xfrm>
              <a:custGeom>
                <a:avLst/>
                <a:gdLst>
                  <a:gd name="connsiteX0" fmla="*/ 8525 w 138157"/>
                  <a:gd name="connsiteY0" fmla="*/ 69 h 55471"/>
                  <a:gd name="connsiteX1" fmla="*/ 6899 w 138157"/>
                  <a:gd name="connsiteY1" fmla="*/ 51104 h 55471"/>
                  <a:gd name="connsiteX2" fmla="*/ 23588 w 138157"/>
                  <a:gd name="connsiteY2" fmla="*/ 55539 h 55471"/>
                  <a:gd name="connsiteX3" fmla="*/ 139638 w 138157"/>
                  <a:gd name="connsiteY3" fmla="*/ 30613 h 55471"/>
                  <a:gd name="connsiteX4" fmla="*/ 109171 w 138157"/>
                  <a:gd name="connsiteY4" fmla="*/ 28820 h 55471"/>
                  <a:gd name="connsiteX5" fmla="*/ 16570 w 138157"/>
                  <a:gd name="connsiteY5" fmla="*/ 44414 h 55471"/>
                  <a:gd name="connsiteX6" fmla="*/ 14260 w 138157"/>
                  <a:gd name="connsiteY6" fmla="*/ 6913 h 55471"/>
                  <a:gd name="connsiteX7" fmla="*/ 8525 w 138157"/>
                  <a:gd name="connsiteY7" fmla="*/ 69 h 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57" h="55471">
                    <a:moveTo>
                      <a:pt x="8525" y="69"/>
                    </a:moveTo>
                    <a:cubicBezTo>
                      <a:pt x="-4227" y="3731"/>
                      <a:pt x="4930" y="41695"/>
                      <a:pt x="6899" y="51104"/>
                    </a:cubicBezTo>
                    <a:cubicBezTo>
                      <a:pt x="9381" y="57598"/>
                      <a:pt x="18025" y="54750"/>
                      <a:pt x="23588" y="55539"/>
                    </a:cubicBezTo>
                    <a:cubicBezTo>
                      <a:pt x="62613" y="54312"/>
                      <a:pt x="103265" y="43556"/>
                      <a:pt x="139638" y="30613"/>
                    </a:cubicBezTo>
                    <a:cubicBezTo>
                      <a:pt x="143575" y="13441"/>
                      <a:pt x="117045" y="28297"/>
                      <a:pt x="109171" y="28820"/>
                    </a:cubicBezTo>
                    <a:cubicBezTo>
                      <a:pt x="79045" y="37158"/>
                      <a:pt x="47893" y="45786"/>
                      <a:pt x="16570" y="44414"/>
                    </a:cubicBezTo>
                    <a:cubicBezTo>
                      <a:pt x="13917" y="32869"/>
                      <a:pt x="11520" y="19385"/>
                      <a:pt x="14260" y="6913"/>
                    </a:cubicBezTo>
                    <a:cubicBezTo>
                      <a:pt x="15287" y="3362"/>
                      <a:pt x="12034" y="-17"/>
                      <a:pt x="8525" y="69"/>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6" name="Freeform: Shape 385">
                <a:extLst>
                  <a:ext uri="{FF2B5EF4-FFF2-40B4-BE49-F238E27FC236}">
                    <a16:creationId xmlns:a16="http://schemas.microsoft.com/office/drawing/2014/main" id="{BB176953-AABD-00E9-5BAF-04608DEA72E1}"/>
                  </a:ext>
                </a:extLst>
              </p:cNvPr>
              <p:cNvSpPr/>
              <p:nvPr/>
            </p:nvSpPr>
            <p:spPr>
              <a:xfrm>
                <a:off x="4729498" y="4001036"/>
                <a:ext cx="67560" cy="52815"/>
              </a:xfrm>
              <a:custGeom>
                <a:avLst/>
                <a:gdLst>
                  <a:gd name="connsiteX0" fmla="*/ 6680 w 67560"/>
                  <a:gd name="connsiteY0" fmla="*/ 34386 h 52815"/>
                  <a:gd name="connsiteX1" fmla="*/ 44849 w 67560"/>
                  <a:gd name="connsiteY1" fmla="*/ 51876 h 52815"/>
                  <a:gd name="connsiteX2" fmla="*/ 68043 w 67560"/>
                  <a:gd name="connsiteY2" fmla="*/ 1655 h 52815"/>
                  <a:gd name="connsiteX3" fmla="*/ 56746 w 67560"/>
                  <a:gd name="connsiteY3" fmla="*/ 24342 h 52815"/>
                  <a:gd name="connsiteX4" fmla="*/ 6680 w 67560"/>
                  <a:gd name="connsiteY4" fmla="*/ 34386 h 52815"/>
                  <a:gd name="connsiteX5" fmla="*/ 6680 w 67560"/>
                  <a:gd name="connsiteY5" fmla="*/ 34386 h 5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60" h="52815">
                    <a:moveTo>
                      <a:pt x="6680" y="34386"/>
                    </a:moveTo>
                    <a:cubicBezTo>
                      <a:pt x="-13603" y="45854"/>
                      <a:pt x="36377" y="56207"/>
                      <a:pt x="44849" y="51876"/>
                    </a:cubicBezTo>
                    <a:cubicBezTo>
                      <a:pt x="65304" y="47741"/>
                      <a:pt x="72835" y="17892"/>
                      <a:pt x="68043" y="1655"/>
                    </a:cubicBezTo>
                    <a:cubicBezTo>
                      <a:pt x="54093" y="-6202"/>
                      <a:pt x="59912" y="17291"/>
                      <a:pt x="56746" y="24342"/>
                    </a:cubicBezTo>
                    <a:cubicBezTo>
                      <a:pt x="51782" y="50538"/>
                      <a:pt x="23198" y="41145"/>
                      <a:pt x="6680" y="34386"/>
                    </a:cubicBezTo>
                    <a:lnTo>
                      <a:pt x="6680" y="34386"/>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387" name="Freeform: Shape 386">
                <a:extLst>
                  <a:ext uri="{FF2B5EF4-FFF2-40B4-BE49-F238E27FC236}">
                    <a16:creationId xmlns:a16="http://schemas.microsoft.com/office/drawing/2014/main" id="{5B981EE4-8F2A-6047-AAC7-667CFFBCECAF}"/>
                  </a:ext>
                </a:extLst>
              </p:cNvPr>
              <p:cNvSpPr/>
              <p:nvPr/>
            </p:nvSpPr>
            <p:spPr>
              <a:xfrm>
                <a:off x="4071652" y="4117812"/>
                <a:ext cx="59718" cy="453283"/>
              </a:xfrm>
              <a:custGeom>
                <a:avLst/>
                <a:gdLst>
                  <a:gd name="connsiteX0" fmla="*/ 50640 w 59718"/>
                  <a:gd name="connsiteY0" fmla="*/ 448443 h 453283"/>
                  <a:gd name="connsiteX1" fmla="*/ 35662 w 59718"/>
                  <a:gd name="connsiteY1" fmla="*/ 54309 h 453283"/>
                  <a:gd name="connsiteX2" fmla="*/ 1942 w 59718"/>
                  <a:gd name="connsiteY2" fmla="*/ 29314 h 453283"/>
                  <a:gd name="connsiteX3" fmla="*/ 35748 w 59718"/>
                  <a:gd name="connsiteY3" fmla="*/ 40044 h 453283"/>
                  <a:gd name="connsiteX4" fmla="*/ 45676 w 59718"/>
                  <a:gd name="connsiteY4" fmla="*/ 1678 h 453283"/>
                  <a:gd name="connsiteX5" fmla="*/ 47387 w 59718"/>
                  <a:gd name="connsiteY5" fmla="*/ 109831 h 453283"/>
                  <a:gd name="connsiteX6" fmla="*/ 61594 w 59718"/>
                  <a:gd name="connsiteY6" fmla="*/ 447979 h 453283"/>
                  <a:gd name="connsiteX7" fmla="*/ 56117 w 59718"/>
                  <a:gd name="connsiteY7" fmla="*/ 453340 h 453283"/>
                  <a:gd name="connsiteX8" fmla="*/ 50640 w 59718"/>
                  <a:gd name="connsiteY8" fmla="*/ 448443 h 4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18" h="453283">
                    <a:moveTo>
                      <a:pt x="50640" y="448443"/>
                    </a:moveTo>
                    <a:cubicBezTo>
                      <a:pt x="46532" y="317311"/>
                      <a:pt x="36005" y="186436"/>
                      <a:pt x="35662" y="54309"/>
                    </a:cubicBezTo>
                    <a:cubicBezTo>
                      <a:pt x="25906" y="43887"/>
                      <a:pt x="11357" y="39281"/>
                      <a:pt x="1942" y="29314"/>
                    </a:cubicBezTo>
                    <a:cubicBezTo>
                      <a:pt x="317" y="9972"/>
                      <a:pt x="29072" y="36485"/>
                      <a:pt x="35748" y="40044"/>
                    </a:cubicBezTo>
                    <a:cubicBezTo>
                      <a:pt x="37631" y="29005"/>
                      <a:pt x="29928" y="-8049"/>
                      <a:pt x="45676" y="1678"/>
                    </a:cubicBezTo>
                    <a:cubicBezTo>
                      <a:pt x="49013" y="34864"/>
                      <a:pt x="45162" y="70434"/>
                      <a:pt x="47387" y="109831"/>
                    </a:cubicBezTo>
                    <a:cubicBezTo>
                      <a:pt x="49955" y="223671"/>
                      <a:pt x="57828" y="334397"/>
                      <a:pt x="61594" y="447979"/>
                    </a:cubicBezTo>
                    <a:cubicBezTo>
                      <a:pt x="61594" y="447979"/>
                      <a:pt x="61337" y="453066"/>
                      <a:pt x="56117" y="453340"/>
                    </a:cubicBezTo>
                    <a:cubicBezTo>
                      <a:pt x="51152" y="453606"/>
                      <a:pt x="50640" y="448443"/>
                      <a:pt x="50640" y="448443"/>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grpSp>
        <p:sp>
          <p:nvSpPr>
            <p:cNvPr id="327" name="Freeform: Shape 326">
              <a:extLst>
                <a:ext uri="{FF2B5EF4-FFF2-40B4-BE49-F238E27FC236}">
                  <a16:creationId xmlns:a16="http://schemas.microsoft.com/office/drawing/2014/main" id="{96A3DA48-0527-0E8F-2DE0-82189CEF5B57}"/>
                </a:ext>
              </a:extLst>
            </p:cNvPr>
            <p:cNvSpPr/>
            <p:nvPr/>
          </p:nvSpPr>
          <p:spPr>
            <a:xfrm>
              <a:off x="4286604" y="3022284"/>
              <a:ext cx="494110" cy="496266"/>
            </a:xfrm>
            <a:custGeom>
              <a:avLst/>
              <a:gdLst>
                <a:gd name="connsiteX0" fmla="*/ 91211 w 494110"/>
                <a:gd name="connsiteY0" fmla="*/ 211457 h 496266"/>
                <a:gd name="connsiteX1" fmla="*/ 1348 w 494110"/>
                <a:gd name="connsiteY1" fmla="*/ 284795 h 496266"/>
                <a:gd name="connsiteX2" fmla="*/ 89747 w 494110"/>
                <a:gd name="connsiteY2" fmla="*/ 350489 h 496266"/>
                <a:gd name="connsiteX3" fmla="*/ 115816 w 494110"/>
                <a:gd name="connsiteY3" fmla="*/ 381128 h 496266"/>
                <a:gd name="connsiteX4" fmla="*/ 347574 w 494110"/>
                <a:gd name="connsiteY4" fmla="*/ 495886 h 496266"/>
                <a:gd name="connsiteX5" fmla="*/ 464095 w 494110"/>
                <a:gd name="connsiteY5" fmla="*/ 413791 h 496266"/>
                <a:gd name="connsiteX6" fmla="*/ 493878 w 494110"/>
                <a:gd name="connsiteY6" fmla="*/ 278439 h 496266"/>
                <a:gd name="connsiteX7" fmla="*/ 464284 w 494110"/>
                <a:gd name="connsiteY7" fmla="*/ 120983 h 496266"/>
                <a:gd name="connsiteX8" fmla="*/ 220184 w 494110"/>
                <a:gd name="connsiteY8" fmla="*/ 2073 h 496266"/>
                <a:gd name="connsiteX9" fmla="*/ 91211 w 494110"/>
                <a:gd name="connsiteY9" fmla="*/ 211457 h 49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110" h="496266">
                  <a:moveTo>
                    <a:pt x="91211" y="211457"/>
                  </a:moveTo>
                  <a:cubicBezTo>
                    <a:pt x="91211" y="211457"/>
                    <a:pt x="-12952" y="215652"/>
                    <a:pt x="1348" y="284795"/>
                  </a:cubicBezTo>
                  <a:cubicBezTo>
                    <a:pt x="17361" y="362198"/>
                    <a:pt x="89747" y="350489"/>
                    <a:pt x="89747" y="350489"/>
                  </a:cubicBezTo>
                  <a:lnTo>
                    <a:pt x="115816" y="381128"/>
                  </a:lnTo>
                  <a:cubicBezTo>
                    <a:pt x="115816" y="381128"/>
                    <a:pt x="204189" y="503949"/>
                    <a:pt x="347574" y="495886"/>
                  </a:cubicBezTo>
                  <a:cubicBezTo>
                    <a:pt x="347574" y="495886"/>
                    <a:pt x="421475" y="489959"/>
                    <a:pt x="464095" y="413791"/>
                  </a:cubicBezTo>
                  <a:cubicBezTo>
                    <a:pt x="491550" y="364728"/>
                    <a:pt x="495205" y="309755"/>
                    <a:pt x="493878" y="278439"/>
                  </a:cubicBezTo>
                  <a:cubicBezTo>
                    <a:pt x="490438" y="197459"/>
                    <a:pt x="464284" y="120983"/>
                    <a:pt x="464284" y="120983"/>
                  </a:cubicBezTo>
                  <a:cubicBezTo>
                    <a:pt x="464284" y="120983"/>
                    <a:pt x="390665" y="-18513"/>
                    <a:pt x="220184" y="2073"/>
                  </a:cubicBezTo>
                  <a:cubicBezTo>
                    <a:pt x="84655" y="18439"/>
                    <a:pt x="98477" y="166246"/>
                    <a:pt x="91211" y="211457"/>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grpSp>
          <p:nvGrpSpPr>
            <p:cNvPr id="328" name="Graphic 39" descr="Man wearing a jacket">
              <a:extLst>
                <a:ext uri="{FF2B5EF4-FFF2-40B4-BE49-F238E27FC236}">
                  <a16:creationId xmlns:a16="http://schemas.microsoft.com/office/drawing/2014/main" id="{96ECAE82-8A69-6B01-0620-67210BEF78A4}"/>
                </a:ext>
              </a:extLst>
            </p:cNvPr>
            <p:cNvGrpSpPr/>
            <p:nvPr/>
          </p:nvGrpSpPr>
          <p:grpSpPr>
            <a:xfrm>
              <a:off x="4242458" y="2851065"/>
              <a:ext cx="612685" cy="673912"/>
              <a:chOff x="4242458" y="2968009"/>
              <a:chExt cx="612685" cy="673912"/>
            </a:xfrm>
            <a:solidFill>
              <a:srgbClr val="191246"/>
            </a:solidFill>
          </p:grpSpPr>
          <p:sp>
            <p:nvSpPr>
              <p:cNvPr id="380" name="Freeform: Shape 379">
                <a:extLst>
                  <a:ext uri="{FF2B5EF4-FFF2-40B4-BE49-F238E27FC236}">
                    <a16:creationId xmlns:a16="http://schemas.microsoft.com/office/drawing/2014/main" id="{9DAD88FC-966E-AACE-6F51-CD66091113B9}"/>
                  </a:ext>
                </a:extLst>
              </p:cNvPr>
              <p:cNvSpPr/>
              <p:nvPr/>
            </p:nvSpPr>
            <p:spPr>
              <a:xfrm>
                <a:off x="4319950" y="3387106"/>
                <a:ext cx="46831" cy="43944"/>
              </a:xfrm>
              <a:custGeom>
                <a:avLst/>
                <a:gdLst>
                  <a:gd name="connsiteX0" fmla="*/ 2570 w 46831"/>
                  <a:gd name="connsiteY0" fmla="*/ 1474 h 43944"/>
                  <a:gd name="connsiteX1" fmla="*/ 3828 w 46831"/>
                  <a:gd name="connsiteY1" fmla="*/ 11150 h 43944"/>
                  <a:gd name="connsiteX2" fmla="*/ 14740 w 46831"/>
                  <a:gd name="connsiteY2" fmla="*/ 13569 h 43944"/>
                  <a:gd name="connsiteX3" fmla="*/ 24522 w 46831"/>
                  <a:gd name="connsiteY3" fmla="*/ 22206 h 43944"/>
                  <a:gd name="connsiteX4" fmla="*/ 30444 w 46831"/>
                  <a:gd name="connsiteY4" fmla="*/ 32285 h 43944"/>
                  <a:gd name="connsiteX5" fmla="*/ 35802 w 46831"/>
                  <a:gd name="connsiteY5" fmla="*/ 42312 h 43944"/>
                  <a:gd name="connsiteX6" fmla="*/ 44873 w 46831"/>
                  <a:gd name="connsiteY6" fmla="*/ 41137 h 43944"/>
                  <a:gd name="connsiteX7" fmla="*/ 33303 w 46831"/>
                  <a:gd name="connsiteY7" fmla="*/ 10875 h 43944"/>
                  <a:gd name="connsiteX8" fmla="*/ 2570 w 46831"/>
                  <a:gd name="connsiteY8" fmla="*/ 1474 h 4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31" h="43944">
                    <a:moveTo>
                      <a:pt x="2570" y="1474"/>
                    </a:moveTo>
                    <a:cubicBezTo>
                      <a:pt x="-1547" y="3310"/>
                      <a:pt x="-417" y="10283"/>
                      <a:pt x="3828" y="11150"/>
                    </a:cubicBezTo>
                    <a:cubicBezTo>
                      <a:pt x="7696" y="11939"/>
                      <a:pt x="11145" y="11613"/>
                      <a:pt x="14740" y="13569"/>
                    </a:cubicBezTo>
                    <a:cubicBezTo>
                      <a:pt x="18514" y="15619"/>
                      <a:pt x="21817" y="18895"/>
                      <a:pt x="24522" y="22206"/>
                    </a:cubicBezTo>
                    <a:cubicBezTo>
                      <a:pt x="26978" y="25208"/>
                      <a:pt x="29040" y="28665"/>
                      <a:pt x="30444" y="32285"/>
                    </a:cubicBezTo>
                    <a:cubicBezTo>
                      <a:pt x="32027" y="36350"/>
                      <a:pt x="32404" y="39292"/>
                      <a:pt x="35802" y="42312"/>
                    </a:cubicBezTo>
                    <a:cubicBezTo>
                      <a:pt x="38720" y="44902"/>
                      <a:pt x="42700" y="44336"/>
                      <a:pt x="44873" y="41137"/>
                    </a:cubicBezTo>
                    <a:cubicBezTo>
                      <a:pt x="51378" y="31564"/>
                      <a:pt x="40166" y="17437"/>
                      <a:pt x="33303" y="10875"/>
                    </a:cubicBezTo>
                    <a:cubicBezTo>
                      <a:pt x="25882" y="3756"/>
                      <a:pt x="12805" y="-3089"/>
                      <a:pt x="2570" y="1474"/>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81" name="Freeform: Shape 380">
                <a:extLst>
                  <a:ext uri="{FF2B5EF4-FFF2-40B4-BE49-F238E27FC236}">
                    <a16:creationId xmlns:a16="http://schemas.microsoft.com/office/drawing/2014/main" id="{AB2AC31C-1D42-8A55-0A77-AC462FB81158}"/>
                  </a:ext>
                </a:extLst>
              </p:cNvPr>
              <p:cNvSpPr/>
              <p:nvPr/>
            </p:nvSpPr>
            <p:spPr>
              <a:xfrm>
                <a:off x="4242458" y="2968009"/>
                <a:ext cx="612685" cy="673912"/>
              </a:xfrm>
              <a:custGeom>
                <a:avLst/>
                <a:gdLst>
                  <a:gd name="connsiteX0" fmla="*/ 612234 w 612685"/>
                  <a:gd name="connsiteY0" fmla="*/ 300350 h 673912"/>
                  <a:gd name="connsiteX1" fmla="*/ 600021 w 612685"/>
                  <a:gd name="connsiteY1" fmla="*/ 281188 h 673912"/>
                  <a:gd name="connsiteX2" fmla="*/ 566798 w 612685"/>
                  <a:gd name="connsiteY2" fmla="*/ 211642 h 673912"/>
                  <a:gd name="connsiteX3" fmla="*/ 517579 w 612685"/>
                  <a:gd name="connsiteY3" fmla="*/ 154045 h 673912"/>
                  <a:gd name="connsiteX4" fmla="*/ 557084 w 612685"/>
                  <a:gd name="connsiteY4" fmla="*/ 160701 h 673912"/>
                  <a:gd name="connsiteX5" fmla="*/ 559694 w 612685"/>
                  <a:gd name="connsiteY5" fmla="*/ 152381 h 673912"/>
                  <a:gd name="connsiteX6" fmla="*/ 339866 w 612685"/>
                  <a:gd name="connsiteY6" fmla="*/ 42529 h 673912"/>
                  <a:gd name="connsiteX7" fmla="*/ 347389 w 612685"/>
                  <a:gd name="connsiteY7" fmla="*/ 30890 h 673912"/>
                  <a:gd name="connsiteX8" fmla="*/ 357539 w 612685"/>
                  <a:gd name="connsiteY8" fmla="*/ 5175 h 673912"/>
                  <a:gd name="connsiteX9" fmla="*/ 355519 w 612685"/>
                  <a:gd name="connsiteY9" fmla="*/ 11 h 673912"/>
                  <a:gd name="connsiteX10" fmla="*/ 333345 w 612685"/>
                  <a:gd name="connsiteY10" fmla="*/ 4694 h 673912"/>
                  <a:gd name="connsiteX11" fmla="*/ 251716 w 612685"/>
                  <a:gd name="connsiteY11" fmla="*/ 31362 h 673912"/>
                  <a:gd name="connsiteX12" fmla="*/ 167245 w 612685"/>
                  <a:gd name="connsiteY12" fmla="*/ 72525 h 673912"/>
                  <a:gd name="connsiteX13" fmla="*/ 169993 w 612685"/>
                  <a:gd name="connsiteY13" fmla="*/ 56614 h 673912"/>
                  <a:gd name="connsiteX14" fmla="*/ 174563 w 612685"/>
                  <a:gd name="connsiteY14" fmla="*/ 38378 h 673912"/>
                  <a:gd name="connsiteX15" fmla="*/ 166116 w 612685"/>
                  <a:gd name="connsiteY15" fmla="*/ 36885 h 673912"/>
                  <a:gd name="connsiteX16" fmla="*/ 131455 w 612685"/>
                  <a:gd name="connsiteY16" fmla="*/ 89525 h 673912"/>
                  <a:gd name="connsiteX17" fmla="*/ 129187 w 612685"/>
                  <a:gd name="connsiteY17" fmla="*/ 93711 h 673912"/>
                  <a:gd name="connsiteX18" fmla="*/ 124017 w 612685"/>
                  <a:gd name="connsiteY18" fmla="*/ 93102 h 673912"/>
                  <a:gd name="connsiteX19" fmla="*/ 112301 w 612685"/>
                  <a:gd name="connsiteY19" fmla="*/ 92270 h 673912"/>
                  <a:gd name="connsiteX20" fmla="*/ 108493 w 612685"/>
                  <a:gd name="connsiteY20" fmla="*/ 96070 h 673912"/>
                  <a:gd name="connsiteX21" fmla="*/ 924 w 612685"/>
                  <a:gd name="connsiteY21" fmla="*/ 353076 h 673912"/>
                  <a:gd name="connsiteX22" fmla="*/ 2832 w 612685"/>
                  <a:gd name="connsiteY22" fmla="*/ 386820 h 673912"/>
                  <a:gd name="connsiteX23" fmla="*/ 2669 w 612685"/>
                  <a:gd name="connsiteY23" fmla="*/ 387909 h 673912"/>
                  <a:gd name="connsiteX24" fmla="*/ 7967 w 612685"/>
                  <a:gd name="connsiteY24" fmla="*/ 389350 h 673912"/>
                  <a:gd name="connsiteX25" fmla="*/ 26307 w 612685"/>
                  <a:gd name="connsiteY25" fmla="*/ 356258 h 673912"/>
                  <a:gd name="connsiteX26" fmla="*/ 37510 w 612685"/>
                  <a:gd name="connsiteY26" fmla="*/ 444477 h 673912"/>
                  <a:gd name="connsiteX27" fmla="*/ 54627 w 612685"/>
                  <a:gd name="connsiteY27" fmla="*/ 493558 h 673912"/>
                  <a:gd name="connsiteX28" fmla="*/ 80687 w 612685"/>
                  <a:gd name="connsiteY28" fmla="*/ 553325 h 673912"/>
                  <a:gd name="connsiteX29" fmla="*/ 99780 w 612685"/>
                  <a:gd name="connsiteY29" fmla="*/ 588664 h 673912"/>
                  <a:gd name="connsiteX30" fmla="*/ 119533 w 612685"/>
                  <a:gd name="connsiteY30" fmla="*/ 611275 h 673912"/>
                  <a:gd name="connsiteX31" fmla="*/ 124385 w 612685"/>
                  <a:gd name="connsiteY31" fmla="*/ 608676 h 673912"/>
                  <a:gd name="connsiteX32" fmla="*/ 128827 w 612685"/>
                  <a:gd name="connsiteY32" fmla="*/ 598563 h 673912"/>
                  <a:gd name="connsiteX33" fmla="*/ 130547 w 612685"/>
                  <a:gd name="connsiteY33" fmla="*/ 587524 h 673912"/>
                  <a:gd name="connsiteX34" fmla="*/ 139611 w 612685"/>
                  <a:gd name="connsiteY34" fmla="*/ 606891 h 673912"/>
                  <a:gd name="connsiteX35" fmla="*/ 154160 w 612685"/>
                  <a:gd name="connsiteY35" fmla="*/ 625993 h 673912"/>
                  <a:gd name="connsiteX36" fmla="*/ 157429 w 612685"/>
                  <a:gd name="connsiteY36" fmla="*/ 625144 h 673912"/>
                  <a:gd name="connsiteX37" fmla="*/ 161434 w 612685"/>
                  <a:gd name="connsiteY37" fmla="*/ 621602 h 673912"/>
                  <a:gd name="connsiteX38" fmla="*/ 171182 w 612685"/>
                  <a:gd name="connsiteY38" fmla="*/ 580010 h 673912"/>
                  <a:gd name="connsiteX39" fmla="*/ 189848 w 612685"/>
                  <a:gd name="connsiteY39" fmla="*/ 599215 h 673912"/>
                  <a:gd name="connsiteX40" fmla="*/ 221856 w 612685"/>
                  <a:gd name="connsiteY40" fmla="*/ 621181 h 673912"/>
                  <a:gd name="connsiteX41" fmla="*/ 227102 w 612685"/>
                  <a:gd name="connsiteY41" fmla="*/ 614337 h 673912"/>
                  <a:gd name="connsiteX42" fmla="*/ 201016 w 612685"/>
                  <a:gd name="connsiteY42" fmla="*/ 588012 h 673912"/>
                  <a:gd name="connsiteX43" fmla="*/ 139208 w 612685"/>
                  <a:gd name="connsiteY43" fmla="*/ 511021 h 673912"/>
                  <a:gd name="connsiteX44" fmla="*/ 138532 w 612685"/>
                  <a:gd name="connsiteY44" fmla="*/ 509949 h 673912"/>
                  <a:gd name="connsiteX45" fmla="*/ 129572 w 612685"/>
                  <a:gd name="connsiteY45" fmla="*/ 499613 h 673912"/>
                  <a:gd name="connsiteX46" fmla="*/ 123119 w 612685"/>
                  <a:gd name="connsiteY46" fmla="*/ 503327 h 673912"/>
                  <a:gd name="connsiteX47" fmla="*/ 123555 w 612685"/>
                  <a:gd name="connsiteY47" fmla="*/ 507745 h 673912"/>
                  <a:gd name="connsiteX48" fmla="*/ 63313 w 612685"/>
                  <a:gd name="connsiteY48" fmla="*/ 478264 h 673912"/>
                  <a:gd name="connsiteX49" fmla="*/ 73524 w 612685"/>
                  <a:gd name="connsiteY49" fmla="*/ 412801 h 673912"/>
                  <a:gd name="connsiteX50" fmla="*/ 93413 w 612685"/>
                  <a:gd name="connsiteY50" fmla="*/ 406771 h 673912"/>
                  <a:gd name="connsiteX51" fmla="*/ 105189 w 612685"/>
                  <a:gd name="connsiteY51" fmla="*/ 406900 h 673912"/>
                  <a:gd name="connsiteX52" fmla="*/ 118728 w 612685"/>
                  <a:gd name="connsiteY52" fmla="*/ 407732 h 673912"/>
                  <a:gd name="connsiteX53" fmla="*/ 154639 w 612685"/>
                  <a:gd name="connsiteY53" fmla="*/ 461229 h 673912"/>
                  <a:gd name="connsiteX54" fmla="*/ 164918 w 612685"/>
                  <a:gd name="connsiteY54" fmla="*/ 458527 h 673912"/>
                  <a:gd name="connsiteX55" fmla="*/ 166809 w 612685"/>
                  <a:gd name="connsiteY55" fmla="*/ 428266 h 673912"/>
                  <a:gd name="connsiteX56" fmla="*/ 181332 w 612685"/>
                  <a:gd name="connsiteY56" fmla="*/ 441261 h 673912"/>
                  <a:gd name="connsiteX57" fmla="*/ 189951 w 612685"/>
                  <a:gd name="connsiteY57" fmla="*/ 436303 h 673912"/>
                  <a:gd name="connsiteX58" fmla="*/ 200862 w 612685"/>
                  <a:gd name="connsiteY58" fmla="*/ 361285 h 673912"/>
                  <a:gd name="connsiteX59" fmla="*/ 228138 w 612685"/>
                  <a:gd name="connsiteY59" fmla="*/ 289140 h 673912"/>
                  <a:gd name="connsiteX60" fmla="*/ 250920 w 612685"/>
                  <a:gd name="connsiteY60" fmla="*/ 315438 h 673912"/>
                  <a:gd name="connsiteX61" fmla="*/ 260574 w 612685"/>
                  <a:gd name="connsiteY61" fmla="*/ 309803 h 673912"/>
                  <a:gd name="connsiteX62" fmla="*/ 247779 w 612685"/>
                  <a:gd name="connsiteY62" fmla="*/ 233395 h 673912"/>
                  <a:gd name="connsiteX63" fmla="*/ 278914 w 612685"/>
                  <a:gd name="connsiteY63" fmla="*/ 337817 h 673912"/>
                  <a:gd name="connsiteX64" fmla="*/ 289406 w 612685"/>
                  <a:gd name="connsiteY64" fmla="*/ 339189 h 673912"/>
                  <a:gd name="connsiteX65" fmla="*/ 307927 w 612685"/>
                  <a:gd name="connsiteY65" fmla="*/ 249186 h 673912"/>
                  <a:gd name="connsiteX66" fmla="*/ 325719 w 612685"/>
                  <a:gd name="connsiteY66" fmla="*/ 288642 h 673912"/>
                  <a:gd name="connsiteX67" fmla="*/ 337461 w 612685"/>
                  <a:gd name="connsiteY67" fmla="*/ 287047 h 673912"/>
                  <a:gd name="connsiteX68" fmla="*/ 338231 w 612685"/>
                  <a:gd name="connsiteY68" fmla="*/ 241766 h 673912"/>
                  <a:gd name="connsiteX69" fmla="*/ 508251 w 612685"/>
                  <a:gd name="connsiteY69" fmla="*/ 326211 h 673912"/>
                  <a:gd name="connsiteX70" fmla="*/ 519137 w 612685"/>
                  <a:gd name="connsiteY70" fmla="*/ 374228 h 673912"/>
                  <a:gd name="connsiteX71" fmla="*/ 528962 w 612685"/>
                  <a:gd name="connsiteY71" fmla="*/ 470090 h 673912"/>
                  <a:gd name="connsiteX72" fmla="*/ 447718 w 612685"/>
                  <a:gd name="connsiteY72" fmla="*/ 638499 h 673912"/>
                  <a:gd name="connsiteX73" fmla="*/ 353799 w 612685"/>
                  <a:gd name="connsiteY73" fmla="*/ 660183 h 673912"/>
                  <a:gd name="connsiteX74" fmla="*/ 318453 w 612685"/>
                  <a:gd name="connsiteY74" fmla="*/ 657387 h 673912"/>
                  <a:gd name="connsiteX75" fmla="*/ 317315 w 612685"/>
                  <a:gd name="connsiteY75" fmla="*/ 665827 h 673912"/>
                  <a:gd name="connsiteX76" fmla="*/ 382264 w 612685"/>
                  <a:gd name="connsiteY76" fmla="*/ 673710 h 673912"/>
                  <a:gd name="connsiteX77" fmla="*/ 513873 w 612685"/>
                  <a:gd name="connsiteY77" fmla="*/ 590517 h 673912"/>
                  <a:gd name="connsiteX78" fmla="*/ 542937 w 612685"/>
                  <a:gd name="connsiteY78" fmla="*/ 492177 h 673912"/>
                  <a:gd name="connsiteX79" fmla="*/ 539600 w 612685"/>
                  <a:gd name="connsiteY79" fmla="*/ 392995 h 673912"/>
                  <a:gd name="connsiteX80" fmla="*/ 524503 w 612685"/>
                  <a:gd name="connsiteY80" fmla="*/ 328399 h 673912"/>
                  <a:gd name="connsiteX81" fmla="*/ 576614 w 612685"/>
                  <a:gd name="connsiteY81" fmla="*/ 327155 h 673912"/>
                  <a:gd name="connsiteX82" fmla="*/ 576614 w 612685"/>
                  <a:gd name="connsiteY82" fmla="*/ 319796 h 673912"/>
                  <a:gd name="connsiteX83" fmla="*/ 559977 w 612685"/>
                  <a:gd name="connsiteY83" fmla="*/ 306689 h 673912"/>
                  <a:gd name="connsiteX84" fmla="*/ 534379 w 612685"/>
                  <a:gd name="connsiteY84" fmla="*/ 280820 h 673912"/>
                  <a:gd name="connsiteX85" fmla="*/ 589221 w 612685"/>
                  <a:gd name="connsiteY85" fmla="*/ 302984 h 673912"/>
                  <a:gd name="connsiteX86" fmla="*/ 609649 w 612685"/>
                  <a:gd name="connsiteY86" fmla="*/ 304699 h 673912"/>
                  <a:gd name="connsiteX87" fmla="*/ 612234 w 612685"/>
                  <a:gd name="connsiteY87" fmla="*/ 300350 h 67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12685" h="673912">
                    <a:moveTo>
                      <a:pt x="612234" y="300350"/>
                    </a:moveTo>
                    <a:cubicBezTo>
                      <a:pt x="608391" y="293814"/>
                      <a:pt x="603812" y="287784"/>
                      <a:pt x="600021" y="281188"/>
                    </a:cubicBezTo>
                    <a:cubicBezTo>
                      <a:pt x="587440" y="258715"/>
                      <a:pt x="580645" y="233481"/>
                      <a:pt x="566798" y="211642"/>
                    </a:cubicBezTo>
                    <a:cubicBezTo>
                      <a:pt x="553284" y="190345"/>
                      <a:pt x="537392" y="169947"/>
                      <a:pt x="517579" y="154045"/>
                    </a:cubicBezTo>
                    <a:cubicBezTo>
                      <a:pt x="530802" y="155915"/>
                      <a:pt x="543613" y="160675"/>
                      <a:pt x="557084" y="160701"/>
                    </a:cubicBezTo>
                    <a:cubicBezTo>
                      <a:pt x="561885" y="160710"/>
                      <a:pt x="562758" y="154611"/>
                      <a:pt x="559694" y="152381"/>
                    </a:cubicBezTo>
                    <a:cubicBezTo>
                      <a:pt x="521114" y="74077"/>
                      <a:pt x="425004" y="28780"/>
                      <a:pt x="339866" y="42529"/>
                    </a:cubicBezTo>
                    <a:cubicBezTo>
                      <a:pt x="342810" y="38807"/>
                      <a:pt x="345258" y="34587"/>
                      <a:pt x="347389" y="30890"/>
                    </a:cubicBezTo>
                    <a:cubicBezTo>
                      <a:pt x="351882" y="22904"/>
                      <a:pt x="357188" y="14524"/>
                      <a:pt x="357539" y="5175"/>
                    </a:cubicBezTo>
                    <a:cubicBezTo>
                      <a:pt x="359388" y="3433"/>
                      <a:pt x="358241" y="97"/>
                      <a:pt x="355519" y="11"/>
                    </a:cubicBezTo>
                    <a:cubicBezTo>
                      <a:pt x="348296" y="-203"/>
                      <a:pt x="340260" y="2781"/>
                      <a:pt x="333345" y="4694"/>
                    </a:cubicBezTo>
                    <a:cubicBezTo>
                      <a:pt x="305744" y="12345"/>
                      <a:pt x="278965" y="22604"/>
                      <a:pt x="251716" y="31362"/>
                    </a:cubicBezTo>
                    <a:cubicBezTo>
                      <a:pt x="221257" y="41243"/>
                      <a:pt x="192244" y="52368"/>
                      <a:pt x="167245" y="72525"/>
                    </a:cubicBezTo>
                    <a:cubicBezTo>
                      <a:pt x="169590" y="67764"/>
                      <a:pt x="169128" y="61786"/>
                      <a:pt x="169993" y="56614"/>
                    </a:cubicBezTo>
                    <a:cubicBezTo>
                      <a:pt x="171037" y="50412"/>
                      <a:pt x="172629" y="44348"/>
                      <a:pt x="174563" y="38378"/>
                    </a:cubicBezTo>
                    <a:cubicBezTo>
                      <a:pt x="176326" y="32597"/>
                      <a:pt x="167228" y="31139"/>
                      <a:pt x="166116" y="36885"/>
                    </a:cubicBezTo>
                    <a:cubicBezTo>
                      <a:pt x="149846" y="50729"/>
                      <a:pt x="139876" y="70209"/>
                      <a:pt x="131455" y="89525"/>
                    </a:cubicBezTo>
                    <a:cubicBezTo>
                      <a:pt x="130873" y="90906"/>
                      <a:pt x="130308" y="93239"/>
                      <a:pt x="129187" y="93711"/>
                    </a:cubicBezTo>
                    <a:cubicBezTo>
                      <a:pt x="128356" y="94063"/>
                      <a:pt x="124685" y="93179"/>
                      <a:pt x="124017" y="93102"/>
                    </a:cubicBezTo>
                    <a:cubicBezTo>
                      <a:pt x="120106" y="92647"/>
                      <a:pt x="116238" y="92399"/>
                      <a:pt x="112301" y="92270"/>
                    </a:cubicBezTo>
                    <a:cubicBezTo>
                      <a:pt x="109913" y="92193"/>
                      <a:pt x="108570" y="94106"/>
                      <a:pt x="108493" y="96070"/>
                    </a:cubicBezTo>
                    <a:cubicBezTo>
                      <a:pt x="28250" y="132824"/>
                      <a:pt x="5057" y="273323"/>
                      <a:pt x="924" y="353076"/>
                    </a:cubicBezTo>
                    <a:cubicBezTo>
                      <a:pt x="393" y="363223"/>
                      <a:pt x="-1644" y="377316"/>
                      <a:pt x="2832" y="386820"/>
                    </a:cubicBezTo>
                    <a:cubicBezTo>
                      <a:pt x="2781" y="387180"/>
                      <a:pt x="2721" y="387540"/>
                      <a:pt x="2669" y="387909"/>
                    </a:cubicBezTo>
                    <a:cubicBezTo>
                      <a:pt x="2284" y="390834"/>
                      <a:pt x="6666" y="391615"/>
                      <a:pt x="7967" y="389350"/>
                    </a:cubicBezTo>
                    <a:cubicBezTo>
                      <a:pt x="14266" y="378414"/>
                      <a:pt x="19341" y="366817"/>
                      <a:pt x="26307" y="356258"/>
                    </a:cubicBezTo>
                    <a:cubicBezTo>
                      <a:pt x="21027" y="386039"/>
                      <a:pt x="31870" y="415374"/>
                      <a:pt x="37510" y="444477"/>
                    </a:cubicBezTo>
                    <a:cubicBezTo>
                      <a:pt x="35396" y="462576"/>
                      <a:pt x="42123" y="480494"/>
                      <a:pt x="54627" y="493558"/>
                    </a:cubicBezTo>
                    <a:cubicBezTo>
                      <a:pt x="62038" y="513963"/>
                      <a:pt x="71127" y="533880"/>
                      <a:pt x="80687" y="553325"/>
                    </a:cubicBezTo>
                    <a:cubicBezTo>
                      <a:pt x="86592" y="565334"/>
                      <a:pt x="92788" y="577248"/>
                      <a:pt x="99780" y="588664"/>
                    </a:cubicBezTo>
                    <a:cubicBezTo>
                      <a:pt x="105087" y="597336"/>
                      <a:pt x="111043" y="605485"/>
                      <a:pt x="119533" y="611275"/>
                    </a:cubicBezTo>
                    <a:cubicBezTo>
                      <a:pt x="121655" y="612724"/>
                      <a:pt x="124146" y="610846"/>
                      <a:pt x="124385" y="608676"/>
                    </a:cubicBezTo>
                    <a:cubicBezTo>
                      <a:pt x="127663" y="606840"/>
                      <a:pt x="128151" y="602620"/>
                      <a:pt x="128827" y="598563"/>
                    </a:cubicBezTo>
                    <a:cubicBezTo>
                      <a:pt x="129418" y="595055"/>
                      <a:pt x="130188" y="591280"/>
                      <a:pt x="130547" y="587524"/>
                    </a:cubicBezTo>
                    <a:cubicBezTo>
                      <a:pt x="133123" y="594188"/>
                      <a:pt x="136110" y="600647"/>
                      <a:pt x="139611" y="606891"/>
                    </a:cubicBezTo>
                    <a:cubicBezTo>
                      <a:pt x="143051" y="613041"/>
                      <a:pt x="147441" y="622983"/>
                      <a:pt x="154160" y="625993"/>
                    </a:cubicBezTo>
                    <a:cubicBezTo>
                      <a:pt x="155426" y="626560"/>
                      <a:pt x="156787" y="626131"/>
                      <a:pt x="157429" y="625144"/>
                    </a:cubicBezTo>
                    <a:cubicBezTo>
                      <a:pt x="159252" y="625101"/>
                      <a:pt x="161169" y="623909"/>
                      <a:pt x="161434" y="621602"/>
                    </a:cubicBezTo>
                    <a:cubicBezTo>
                      <a:pt x="162975" y="607363"/>
                      <a:pt x="166364" y="593485"/>
                      <a:pt x="171182" y="580010"/>
                    </a:cubicBezTo>
                    <a:cubicBezTo>
                      <a:pt x="177139" y="586666"/>
                      <a:pt x="183352" y="593090"/>
                      <a:pt x="189848" y="599215"/>
                    </a:cubicBezTo>
                    <a:cubicBezTo>
                      <a:pt x="199151" y="607989"/>
                      <a:pt x="208993" y="618866"/>
                      <a:pt x="221856" y="621181"/>
                    </a:cubicBezTo>
                    <a:cubicBezTo>
                      <a:pt x="225878" y="621911"/>
                      <a:pt x="229036" y="618119"/>
                      <a:pt x="227102" y="614337"/>
                    </a:cubicBezTo>
                    <a:cubicBezTo>
                      <a:pt x="221419" y="603229"/>
                      <a:pt x="210045" y="596478"/>
                      <a:pt x="201016" y="588012"/>
                    </a:cubicBezTo>
                    <a:cubicBezTo>
                      <a:pt x="176831" y="565471"/>
                      <a:pt x="156710" y="539001"/>
                      <a:pt x="139208" y="511021"/>
                    </a:cubicBezTo>
                    <a:cubicBezTo>
                      <a:pt x="139029" y="510635"/>
                      <a:pt x="138798" y="510275"/>
                      <a:pt x="138532" y="509949"/>
                    </a:cubicBezTo>
                    <a:cubicBezTo>
                      <a:pt x="136042" y="506003"/>
                      <a:pt x="133303" y="501861"/>
                      <a:pt x="129572" y="499613"/>
                    </a:cubicBezTo>
                    <a:cubicBezTo>
                      <a:pt x="126653" y="497855"/>
                      <a:pt x="123290" y="500154"/>
                      <a:pt x="123119" y="503327"/>
                    </a:cubicBezTo>
                    <a:cubicBezTo>
                      <a:pt x="123042" y="504785"/>
                      <a:pt x="123213" y="506269"/>
                      <a:pt x="123555" y="507745"/>
                    </a:cubicBezTo>
                    <a:cubicBezTo>
                      <a:pt x="100516" y="508457"/>
                      <a:pt x="77871" y="495668"/>
                      <a:pt x="63313" y="478264"/>
                    </a:cubicBezTo>
                    <a:cubicBezTo>
                      <a:pt x="47498" y="458664"/>
                      <a:pt x="50365" y="425633"/>
                      <a:pt x="73524" y="412801"/>
                    </a:cubicBezTo>
                    <a:cubicBezTo>
                      <a:pt x="79634" y="409413"/>
                      <a:pt x="86455" y="407371"/>
                      <a:pt x="93413" y="406771"/>
                    </a:cubicBezTo>
                    <a:cubicBezTo>
                      <a:pt x="97324" y="406436"/>
                      <a:pt x="101287" y="406428"/>
                      <a:pt x="105189" y="406900"/>
                    </a:cubicBezTo>
                    <a:cubicBezTo>
                      <a:pt x="109640" y="407440"/>
                      <a:pt x="114364" y="406985"/>
                      <a:pt x="118728" y="407732"/>
                    </a:cubicBezTo>
                    <a:cubicBezTo>
                      <a:pt x="125832" y="428034"/>
                      <a:pt x="135092" y="450181"/>
                      <a:pt x="154639" y="461229"/>
                    </a:cubicBezTo>
                    <a:cubicBezTo>
                      <a:pt x="157908" y="463022"/>
                      <a:pt x="163223" y="462336"/>
                      <a:pt x="164918" y="458527"/>
                    </a:cubicBezTo>
                    <a:cubicBezTo>
                      <a:pt x="169188" y="448963"/>
                      <a:pt x="169000" y="438405"/>
                      <a:pt x="166809" y="428266"/>
                    </a:cubicBezTo>
                    <a:cubicBezTo>
                      <a:pt x="171020" y="433018"/>
                      <a:pt x="175769" y="437401"/>
                      <a:pt x="181332" y="441261"/>
                    </a:cubicBezTo>
                    <a:cubicBezTo>
                      <a:pt x="184670" y="443577"/>
                      <a:pt x="190464" y="440549"/>
                      <a:pt x="189951" y="436303"/>
                    </a:cubicBezTo>
                    <a:cubicBezTo>
                      <a:pt x="186844" y="410665"/>
                      <a:pt x="188136" y="384307"/>
                      <a:pt x="200862" y="361285"/>
                    </a:cubicBezTo>
                    <a:cubicBezTo>
                      <a:pt x="215951" y="335415"/>
                      <a:pt x="228566" y="321159"/>
                      <a:pt x="228138" y="289140"/>
                    </a:cubicBezTo>
                    <a:cubicBezTo>
                      <a:pt x="235438" y="298146"/>
                      <a:pt x="243226" y="306784"/>
                      <a:pt x="250920" y="315438"/>
                    </a:cubicBezTo>
                    <a:cubicBezTo>
                      <a:pt x="255036" y="320070"/>
                      <a:pt x="261626" y="315061"/>
                      <a:pt x="260574" y="309803"/>
                    </a:cubicBezTo>
                    <a:cubicBezTo>
                      <a:pt x="255302" y="284448"/>
                      <a:pt x="247223" y="259616"/>
                      <a:pt x="247779" y="233395"/>
                    </a:cubicBezTo>
                    <a:cubicBezTo>
                      <a:pt x="273043" y="260534"/>
                      <a:pt x="271768" y="303147"/>
                      <a:pt x="278914" y="337817"/>
                    </a:cubicBezTo>
                    <a:cubicBezTo>
                      <a:pt x="279736" y="342423"/>
                      <a:pt x="287507" y="343701"/>
                      <a:pt x="289406" y="339189"/>
                    </a:cubicBezTo>
                    <a:cubicBezTo>
                      <a:pt x="301148" y="311338"/>
                      <a:pt x="307541" y="279910"/>
                      <a:pt x="307927" y="249186"/>
                    </a:cubicBezTo>
                    <a:cubicBezTo>
                      <a:pt x="314525" y="262052"/>
                      <a:pt x="320653" y="275184"/>
                      <a:pt x="325719" y="288642"/>
                    </a:cubicBezTo>
                    <a:cubicBezTo>
                      <a:pt x="328030" y="294784"/>
                      <a:pt x="337256" y="294132"/>
                      <a:pt x="337461" y="287047"/>
                    </a:cubicBezTo>
                    <a:cubicBezTo>
                      <a:pt x="337889" y="271976"/>
                      <a:pt x="338240" y="256871"/>
                      <a:pt x="338231" y="241766"/>
                    </a:cubicBezTo>
                    <a:cubicBezTo>
                      <a:pt x="377266" y="295873"/>
                      <a:pt x="445835" y="315052"/>
                      <a:pt x="508251" y="326211"/>
                    </a:cubicBezTo>
                    <a:cubicBezTo>
                      <a:pt x="510407" y="342491"/>
                      <a:pt x="515294" y="358300"/>
                      <a:pt x="519137" y="374228"/>
                    </a:cubicBezTo>
                    <a:cubicBezTo>
                      <a:pt x="526856" y="405905"/>
                      <a:pt x="530519" y="437444"/>
                      <a:pt x="528962" y="470090"/>
                    </a:cubicBezTo>
                    <a:cubicBezTo>
                      <a:pt x="526266" y="533957"/>
                      <a:pt x="504956" y="603469"/>
                      <a:pt x="447718" y="638499"/>
                    </a:cubicBezTo>
                    <a:cubicBezTo>
                      <a:pt x="418543" y="657953"/>
                      <a:pt x="388015" y="661341"/>
                      <a:pt x="353799" y="660183"/>
                    </a:cubicBezTo>
                    <a:cubicBezTo>
                      <a:pt x="341929" y="659840"/>
                      <a:pt x="330289" y="658013"/>
                      <a:pt x="318453" y="657387"/>
                    </a:cubicBezTo>
                    <a:cubicBezTo>
                      <a:pt x="313310" y="657112"/>
                      <a:pt x="313070" y="664215"/>
                      <a:pt x="317315" y="665827"/>
                    </a:cubicBezTo>
                    <a:cubicBezTo>
                      <a:pt x="337393" y="673470"/>
                      <a:pt x="360971" y="674447"/>
                      <a:pt x="382264" y="673710"/>
                    </a:cubicBezTo>
                    <a:cubicBezTo>
                      <a:pt x="436977" y="672629"/>
                      <a:pt x="487428" y="637539"/>
                      <a:pt x="513873" y="590517"/>
                    </a:cubicBezTo>
                    <a:cubicBezTo>
                      <a:pt x="530528" y="560342"/>
                      <a:pt x="539060" y="526238"/>
                      <a:pt x="542937" y="492177"/>
                    </a:cubicBezTo>
                    <a:cubicBezTo>
                      <a:pt x="546677" y="459325"/>
                      <a:pt x="545950" y="425495"/>
                      <a:pt x="539600" y="392995"/>
                    </a:cubicBezTo>
                    <a:cubicBezTo>
                      <a:pt x="535389" y="371269"/>
                      <a:pt x="528594" y="350151"/>
                      <a:pt x="524503" y="328399"/>
                    </a:cubicBezTo>
                    <a:cubicBezTo>
                      <a:pt x="541927" y="330243"/>
                      <a:pt x="559489" y="330337"/>
                      <a:pt x="576614" y="327155"/>
                    </a:cubicBezTo>
                    <a:cubicBezTo>
                      <a:pt x="580619" y="326409"/>
                      <a:pt x="579926" y="320868"/>
                      <a:pt x="576614" y="319796"/>
                    </a:cubicBezTo>
                    <a:cubicBezTo>
                      <a:pt x="572498" y="314357"/>
                      <a:pt x="565163" y="310772"/>
                      <a:pt x="559977" y="306689"/>
                    </a:cubicBezTo>
                    <a:cubicBezTo>
                      <a:pt x="550426" y="298987"/>
                      <a:pt x="541457" y="291147"/>
                      <a:pt x="534379" y="280820"/>
                    </a:cubicBezTo>
                    <a:cubicBezTo>
                      <a:pt x="552471" y="289980"/>
                      <a:pt x="569708" y="298069"/>
                      <a:pt x="589221" y="302984"/>
                    </a:cubicBezTo>
                    <a:cubicBezTo>
                      <a:pt x="595408" y="304605"/>
                      <a:pt x="603333" y="306989"/>
                      <a:pt x="609649" y="304699"/>
                    </a:cubicBezTo>
                    <a:cubicBezTo>
                      <a:pt x="611772" y="304605"/>
                      <a:pt x="613552" y="302589"/>
                      <a:pt x="612234" y="300350"/>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sp>
          <p:nvSpPr>
            <p:cNvPr id="329" name="Freeform: Shape 328">
              <a:extLst>
                <a:ext uri="{FF2B5EF4-FFF2-40B4-BE49-F238E27FC236}">
                  <a16:creationId xmlns:a16="http://schemas.microsoft.com/office/drawing/2014/main" id="{EEC04D80-40BA-1328-67F4-BD5B707CEDB4}"/>
                </a:ext>
              </a:extLst>
            </p:cNvPr>
            <p:cNvSpPr/>
            <p:nvPr/>
          </p:nvSpPr>
          <p:spPr>
            <a:xfrm>
              <a:off x="4597700" y="3442230"/>
              <a:ext cx="63624" cy="22939"/>
            </a:xfrm>
            <a:custGeom>
              <a:avLst/>
              <a:gdLst>
                <a:gd name="connsiteX0" fmla="*/ 40146 w 63624"/>
                <a:gd name="connsiteY0" fmla="*/ 23765 h 22939"/>
                <a:gd name="connsiteX1" fmla="*/ 2832 w 63624"/>
                <a:gd name="connsiteY1" fmla="*/ 12623 h 22939"/>
                <a:gd name="connsiteX2" fmla="*/ 2148 w 63624"/>
                <a:gd name="connsiteY2" fmla="*/ 9981 h 22939"/>
                <a:gd name="connsiteX3" fmla="*/ 4116 w 63624"/>
                <a:gd name="connsiteY3" fmla="*/ 7983 h 22939"/>
                <a:gd name="connsiteX4" fmla="*/ 20206 w 63624"/>
                <a:gd name="connsiteY4" fmla="*/ 6027 h 22939"/>
                <a:gd name="connsiteX5" fmla="*/ 31331 w 63624"/>
                <a:gd name="connsiteY5" fmla="*/ 4938 h 22939"/>
                <a:gd name="connsiteX6" fmla="*/ 39975 w 63624"/>
                <a:gd name="connsiteY6" fmla="*/ 3050 h 22939"/>
                <a:gd name="connsiteX7" fmla="*/ 52727 w 63624"/>
                <a:gd name="connsiteY7" fmla="*/ 829 h 22939"/>
                <a:gd name="connsiteX8" fmla="*/ 60772 w 63624"/>
                <a:gd name="connsiteY8" fmla="*/ 2553 h 22939"/>
                <a:gd name="connsiteX9" fmla="*/ 65308 w 63624"/>
                <a:gd name="connsiteY9" fmla="*/ 8695 h 22939"/>
                <a:gd name="connsiteX10" fmla="*/ 57091 w 63624"/>
                <a:gd name="connsiteY10" fmla="*/ 21664 h 22939"/>
                <a:gd name="connsiteX11" fmla="*/ 47849 w 63624"/>
                <a:gd name="connsiteY11" fmla="*/ 23439 h 22939"/>
                <a:gd name="connsiteX12" fmla="*/ 40146 w 63624"/>
                <a:gd name="connsiteY12" fmla="*/ 23765 h 2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624" h="22939">
                  <a:moveTo>
                    <a:pt x="40146" y="23765"/>
                  </a:moveTo>
                  <a:cubicBezTo>
                    <a:pt x="27137" y="23533"/>
                    <a:pt x="13102" y="21261"/>
                    <a:pt x="2832" y="12623"/>
                  </a:cubicBezTo>
                  <a:cubicBezTo>
                    <a:pt x="2148" y="11954"/>
                    <a:pt x="1891" y="10925"/>
                    <a:pt x="2148" y="9981"/>
                  </a:cubicBezTo>
                  <a:cubicBezTo>
                    <a:pt x="2404" y="9003"/>
                    <a:pt x="3089" y="8223"/>
                    <a:pt x="4116" y="7983"/>
                  </a:cubicBezTo>
                  <a:cubicBezTo>
                    <a:pt x="9422" y="6979"/>
                    <a:pt x="14814" y="6327"/>
                    <a:pt x="20206" y="6027"/>
                  </a:cubicBezTo>
                  <a:cubicBezTo>
                    <a:pt x="23885" y="5744"/>
                    <a:pt x="27651" y="5452"/>
                    <a:pt x="31331" y="4938"/>
                  </a:cubicBezTo>
                  <a:cubicBezTo>
                    <a:pt x="34241" y="4466"/>
                    <a:pt x="37151" y="3840"/>
                    <a:pt x="39975" y="3050"/>
                  </a:cubicBezTo>
                  <a:cubicBezTo>
                    <a:pt x="44083" y="1781"/>
                    <a:pt x="48447" y="1035"/>
                    <a:pt x="52727" y="829"/>
                  </a:cubicBezTo>
                  <a:cubicBezTo>
                    <a:pt x="55551" y="778"/>
                    <a:pt x="58290" y="1369"/>
                    <a:pt x="60772" y="2553"/>
                  </a:cubicBezTo>
                  <a:cubicBezTo>
                    <a:pt x="63083" y="3840"/>
                    <a:pt x="64708" y="6087"/>
                    <a:pt x="65308" y="8695"/>
                  </a:cubicBezTo>
                  <a:cubicBezTo>
                    <a:pt x="67105" y="14459"/>
                    <a:pt x="61970" y="19519"/>
                    <a:pt x="57091" y="21664"/>
                  </a:cubicBezTo>
                  <a:cubicBezTo>
                    <a:pt x="54096" y="22736"/>
                    <a:pt x="51015" y="23328"/>
                    <a:pt x="47849" y="23439"/>
                  </a:cubicBezTo>
                  <a:cubicBezTo>
                    <a:pt x="45195" y="23654"/>
                    <a:pt x="42628" y="23765"/>
                    <a:pt x="40146" y="23765"/>
                  </a:cubicBez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0" name="Freeform: Shape 329">
              <a:extLst>
                <a:ext uri="{FF2B5EF4-FFF2-40B4-BE49-F238E27FC236}">
                  <a16:creationId xmlns:a16="http://schemas.microsoft.com/office/drawing/2014/main" id="{DE560715-D47E-285E-E367-0CB65A0C6A12}"/>
                </a:ext>
              </a:extLst>
            </p:cNvPr>
            <p:cNvSpPr/>
            <p:nvPr/>
          </p:nvSpPr>
          <p:spPr>
            <a:xfrm>
              <a:off x="4609127" y="3302197"/>
              <a:ext cx="67949" cy="60923"/>
            </a:xfrm>
            <a:custGeom>
              <a:avLst/>
              <a:gdLst>
                <a:gd name="connsiteX0" fmla="*/ 39588 w 67949"/>
                <a:gd name="connsiteY0" fmla="*/ 61727 h 60923"/>
                <a:gd name="connsiteX1" fmla="*/ 5698 w 67949"/>
                <a:gd name="connsiteY1" fmla="*/ 34356 h 60923"/>
                <a:gd name="connsiteX2" fmla="*/ 10661 w 67949"/>
                <a:gd name="connsiteY2" fmla="*/ 32426 h 60923"/>
                <a:gd name="connsiteX3" fmla="*/ 14512 w 67949"/>
                <a:gd name="connsiteY3" fmla="*/ 33601 h 60923"/>
                <a:gd name="connsiteX4" fmla="*/ 53110 w 67949"/>
                <a:gd name="connsiteY4" fmla="*/ 42187 h 60923"/>
                <a:gd name="connsiteX5" fmla="*/ 39074 w 67949"/>
                <a:gd name="connsiteY5" fmla="*/ 7869 h 60923"/>
                <a:gd name="connsiteX6" fmla="*/ 38219 w 67949"/>
                <a:gd name="connsiteY6" fmla="*/ 4155 h 60923"/>
                <a:gd name="connsiteX7" fmla="*/ 42926 w 67949"/>
                <a:gd name="connsiteY7" fmla="*/ 827 h 60923"/>
                <a:gd name="connsiteX8" fmla="*/ 69800 w 67949"/>
                <a:gd name="connsiteY8" fmla="*/ 33207 h 60923"/>
                <a:gd name="connsiteX9" fmla="*/ 39588 w 67949"/>
                <a:gd name="connsiteY9" fmla="*/ 61727 h 60923"/>
                <a:gd name="connsiteX10" fmla="*/ 39588 w 67949"/>
                <a:gd name="connsiteY10" fmla="*/ 61727 h 6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949" h="60923">
                  <a:moveTo>
                    <a:pt x="39588" y="61727"/>
                  </a:moveTo>
                  <a:cubicBezTo>
                    <a:pt x="28805" y="62113"/>
                    <a:pt x="-9879" y="48835"/>
                    <a:pt x="5698" y="34356"/>
                  </a:cubicBezTo>
                  <a:cubicBezTo>
                    <a:pt x="7067" y="33147"/>
                    <a:pt x="8865" y="32469"/>
                    <a:pt x="10661" y="32426"/>
                  </a:cubicBezTo>
                  <a:cubicBezTo>
                    <a:pt x="12031" y="32435"/>
                    <a:pt x="13315" y="32846"/>
                    <a:pt x="14512" y="33601"/>
                  </a:cubicBezTo>
                  <a:cubicBezTo>
                    <a:pt x="24013" y="41269"/>
                    <a:pt x="41728" y="54650"/>
                    <a:pt x="53110" y="42187"/>
                  </a:cubicBezTo>
                  <a:cubicBezTo>
                    <a:pt x="64322" y="28626"/>
                    <a:pt x="46863" y="11737"/>
                    <a:pt x="39074" y="7869"/>
                  </a:cubicBezTo>
                  <a:cubicBezTo>
                    <a:pt x="38048" y="6951"/>
                    <a:pt x="37706" y="5450"/>
                    <a:pt x="38219" y="4155"/>
                  </a:cubicBezTo>
                  <a:cubicBezTo>
                    <a:pt x="38904" y="2131"/>
                    <a:pt x="40787" y="784"/>
                    <a:pt x="42926" y="827"/>
                  </a:cubicBezTo>
                  <a:cubicBezTo>
                    <a:pt x="58930" y="2054"/>
                    <a:pt x="71768" y="17073"/>
                    <a:pt x="69800" y="33207"/>
                  </a:cubicBezTo>
                  <a:cubicBezTo>
                    <a:pt x="68858" y="48715"/>
                    <a:pt x="55421" y="62387"/>
                    <a:pt x="39588" y="61727"/>
                  </a:cubicBezTo>
                  <a:lnTo>
                    <a:pt x="39588" y="6172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1" name="Freeform: Shape 330">
              <a:extLst>
                <a:ext uri="{FF2B5EF4-FFF2-40B4-BE49-F238E27FC236}">
                  <a16:creationId xmlns:a16="http://schemas.microsoft.com/office/drawing/2014/main" id="{8702D0C8-2E3F-5434-A6F3-93877DDE4D29}"/>
                </a:ext>
              </a:extLst>
            </p:cNvPr>
            <p:cNvSpPr/>
            <p:nvPr/>
          </p:nvSpPr>
          <p:spPr>
            <a:xfrm>
              <a:off x="4679614" y="3243416"/>
              <a:ext cx="32350" cy="54176"/>
            </a:xfrm>
            <a:custGeom>
              <a:avLst/>
              <a:gdLst>
                <a:gd name="connsiteX0" fmla="*/ 18225 w 32350"/>
                <a:gd name="connsiteY0" fmla="*/ 55002 h 54176"/>
                <a:gd name="connsiteX1" fmla="*/ 2050 w 32350"/>
                <a:gd name="connsiteY1" fmla="*/ 27778 h 54176"/>
                <a:gd name="connsiteX2" fmla="*/ 34401 w 32350"/>
                <a:gd name="connsiteY2" fmla="*/ 27778 h 54176"/>
                <a:gd name="connsiteX3" fmla="*/ 18225 w 32350"/>
                <a:gd name="connsiteY3" fmla="*/ 55002 h 54176"/>
                <a:gd name="connsiteX4" fmla="*/ 18225 w 32350"/>
                <a:gd name="connsiteY4" fmla="*/ 55002 h 5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0" h="54176">
                  <a:moveTo>
                    <a:pt x="18225" y="55002"/>
                  </a:moveTo>
                  <a:cubicBezTo>
                    <a:pt x="5816" y="53887"/>
                    <a:pt x="2136" y="38190"/>
                    <a:pt x="2050" y="27778"/>
                  </a:cubicBezTo>
                  <a:cubicBezTo>
                    <a:pt x="2478" y="-8197"/>
                    <a:pt x="33972" y="-8119"/>
                    <a:pt x="34401" y="27778"/>
                  </a:cubicBezTo>
                  <a:cubicBezTo>
                    <a:pt x="34315" y="38182"/>
                    <a:pt x="30550" y="53904"/>
                    <a:pt x="18225" y="55002"/>
                  </a:cubicBezTo>
                  <a:lnTo>
                    <a:pt x="18225" y="55002"/>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2" name="Freeform: Shape 331">
              <a:extLst>
                <a:ext uri="{FF2B5EF4-FFF2-40B4-BE49-F238E27FC236}">
                  <a16:creationId xmlns:a16="http://schemas.microsoft.com/office/drawing/2014/main" id="{DE538D54-A6DE-4599-E622-53891758E0B5}"/>
                </a:ext>
              </a:extLst>
            </p:cNvPr>
            <p:cNvSpPr/>
            <p:nvPr/>
          </p:nvSpPr>
          <p:spPr>
            <a:xfrm>
              <a:off x="4491075" y="3250107"/>
              <a:ext cx="114172" cy="47313"/>
            </a:xfrm>
            <a:custGeom>
              <a:avLst/>
              <a:gdLst>
                <a:gd name="connsiteX0" fmla="*/ 61958 w 114172"/>
                <a:gd name="connsiteY0" fmla="*/ 48140 h 47313"/>
                <a:gd name="connsiteX1" fmla="*/ 51603 w 114172"/>
                <a:gd name="connsiteY1" fmla="*/ 40291 h 47313"/>
                <a:gd name="connsiteX2" fmla="*/ 52458 w 114172"/>
                <a:gd name="connsiteY2" fmla="*/ 19662 h 47313"/>
                <a:gd name="connsiteX3" fmla="*/ 52801 w 114172"/>
                <a:gd name="connsiteY3" fmla="*/ 19208 h 47313"/>
                <a:gd name="connsiteX4" fmla="*/ 52715 w 114172"/>
                <a:gd name="connsiteY4" fmla="*/ 18084 h 47313"/>
                <a:gd name="connsiteX5" fmla="*/ 25244 w 114172"/>
                <a:gd name="connsiteY5" fmla="*/ 15340 h 47313"/>
                <a:gd name="connsiteX6" fmla="*/ 2136 w 114172"/>
                <a:gd name="connsiteY6" fmla="*/ 9524 h 47313"/>
                <a:gd name="connsiteX7" fmla="*/ 2050 w 114172"/>
                <a:gd name="connsiteY7" fmla="*/ 9250 h 47313"/>
                <a:gd name="connsiteX8" fmla="*/ 2221 w 114172"/>
                <a:gd name="connsiteY8" fmla="*/ 8958 h 47313"/>
                <a:gd name="connsiteX9" fmla="*/ 23960 w 114172"/>
                <a:gd name="connsiteY9" fmla="*/ 6693 h 47313"/>
                <a:gd name="connsiteX10" fmla="*/ 62044 w 114172"/>
                <a:gd name="connsiteY10" fmla="*/ 5004 h 47313"/>
                <a:gd name="connsiteX11" fmla="*/ 71972 w 114172"/>
                <a:gd name="connsiteY11" fmla="*/ 4317 h 47313"/>
                <a:gd name="connsiteX12" fmla="*/ 90201 w 114172"/>
                <a:gd name="connsiteY12" fmla="*/ 2739 h 47313"/>
                <a:gd name="connsiteX13" fmla="*/ 106205 w 114172"/>
                <a:gd name="connsiteY13" fmla="*/ 827 h 47313"/>
                <a:gd name="connsiteX14" fmla="*/ 114079 w 114172"/>
                <a:gd name="connsiteY14" fmla="*/ 14396 h 47313"/>
                <a:gd name="connsiteX15" fmla="*/ 100470 w 114172"/>
                <a:gd name="connsiteY15" fmla="*/ 18445 h 47313"/>
                <a:gd name="connsiteX16" fmla="*/ 82327 w 114172"/>
                <a:gd name="connsiteY16" fmla="*/ 18873 h 47313"/>
                <a:gd name="connsiteX17" fmla="*/ 66751 w 114172"/>
                <a:gd name="connsiteY17" fmla="*/ 46459 h 47313"/>
                <a:gd name="connsiteX18" fmla="*/ 61958 w 114172"/>
                <a:gd name="connsiteY18" fmla="*/ 48140 h 47313"/>
                <a:gd name="connsiteX19" fmla="*/ 61958 w 114172"/>
                <a:gd name="connsiteY19" fmla="*/ 48140 h 4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172" h="47313">
                  <a:moveTo>
                    <a:pt x="61958" y="48140"/>
                  </a:moveTo>
                  <a:cubicBezTo>
                    <a:pt x="57337" y="48140"/>
                    <a:pt x="53058" y="44151"/>
                    <a:pt x="51603" y="40291"/>
                  </a:cubicBezTo>
                  <a:cubicBezTo>
                    <a:pt x="49463" y="33695"/>
                    <a:pt x="48950" y="25873"/>
                    <a:pt x="52458" y="19662"/>
                  </a:cubicBezTo>
                  <a:lnTo>
                    <a:pt x="52801" y="19208"/>
                  </a:lnTo>
                  <a:cubicBezTo>
                    <a:pt x="52715" y="18899"/>
                    <a:pt x="52715" y="18385"/>
                    <a:pt x="52715" y="18084"/>
                  </a:cubicBezTo>
                  <a:cubicBezTo>
                    <a:pt x="44329" y="17578"/>
                    <a:pt x="34658" y="16609"/>
                    <a:pt x="25244" y="15340"/>
                  </a:cubicBezTo>
                  <a:cubicBezTo>
                    <a:pt x="17712" y="14362"/>
                    <a:pt x="7956" y="14096"/>
                    <a:pt x="2136" y="9524"/>
                  </a:cubicBezTo>
                  <a:cubicBezTo>
                    <a:pt x="2050" y="9455"/>
                    <a:pt x="2050" y="9352"/>
                    <a:pt x="2050" y="9250"/>
                  </a:cubicBezTo>
                  <a:cubicBezTo>
                    <a:pt x="2050" y="9130"/>
                    <a:pt x="2136" y="9018"/>
                    <a:pt x="2221" y="8958"/>
                  </a:cubicBezTo>
                  <a:cubicBezTo>
                    <a:pt x="8983" y="6067"/>
                    <a:pt x="16771" y="7448"/>
                    <a:pt x="23960" y="6693"/>
                  </a:cubicBezTo>
                  <a:cubicBezTo>
                    <a:pt x="37140" y="6316"/>
                    <a:pt x="49977" y="5732"/>
                    <a:pt x="62044" y="5004"/>
                  </a:cubicBezTo>
                  <a:cubicBezTo>
                    <a:pt x="65125" y="3700"/>
                    <a:pt x="68719" y="3262"/>
                    <a:pt x="71972" y="4317"/>
                  </a:cubicBezTo>
                  <a:cubicBezTo>
                    <a:pt x="77877" y="3880"/>
                    <a:pt x="84210" y="3237"/>
                    <a:pt x="90201" y="2739"/>
                  </a:cubicBezTo>
                  <a:cubicBezTo>
                    <a:pt x="95593" y="2602"/>
                    <a:pt x="100813" y="1221"/>
                    <a:pt x="106205" y="827"/>
                  </a:cubicBezTo>
                  <a:cubicBezTo>
                    <a:pt x="112966" y="758"/>
                    <a:pt x="119812" y="7697"/>
                    <a:pt x="114079" y="14396"/>
                  </a:cubicBezTo>
                  <a:cubicBezTo>
                    <a:pt x="110056" y="19148"/>
                    <a:pt x="105606" y="18264"/>
                    <a:pt x="100470" y="18445"/>
                  </a:cubicBezTo>
                  <a:cubicBezTo>
                    <a:pt x="94394" y="18685"/>
                    <a:pt x="88318" y="18873"/>
                    <a:pt x="82327" y="18873"/>
                  </a:cubicBezTo>
                  <a:cubicBezTo>
                    <a:pt x="82669" y="30136"/>
                    <a:pt x="75481" y="40017"/>
                    <a:pt x="66751" y="46459"/>
                  </a:cubicBezTo>
                  <a:cubicBezTo>
                    <a:pt x="65382" y="47539"/>
                    <a:pt x="63670" y="48131"/>
                    <a:pt x="61958" y="48140"/>
                  </a:cubicBezTo>
                  <a:lnTo>
                    <a:pt x="61958" y="48140"/>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3" name="Freeform: Shape 332">
              <a:extLst>
                <a:ext uri="{FF2B5EF4-FFF2-40B4-BE49-F238E27FC236}">
                  <a16:creationId xmlns:a16="http://schemas.microsoft.com/office/drawing/2014/main" id="{D753E113-A95B-AAF3-E4F1-DA03620C6EDF}"/>
                </a:ext>
              </a:extLst>
            </p:cNvPr>
            <p:cNvSpPr/>
            <p:nvPr/>
          </p:nvSpPr>
          <p:spPr>
            <a:xfrm>
              <a:off x="4631024" y="3158353"/>
              <a:ext cx="77979" cy="54931"/>
            </a:xfrm>
            <a:custGeom>
              <a:avLst/>
              <a:gdLst>
                <a:gd name="connsiteX0" fmla="*/ 11187 w 77979"/>
                <a:gd name="connsiteY0" fmla="*/ 55757 h 54931"/>
                <a:gd name="connsiteX1" fmla="*/ 2715 w 77979"/>
                <a:gd name="connsiteY1" fmla="*/ 45172 h 54931"/>
                <a:gd name="connsiteX2" fmla="*/ 2800 w 77979"/>
                <a:gd name="connsiteY2" fmla="*/ 30693 h 54931"/>
                <a:gd name="connsiteX3" fmla="*/ 22826 w 77979"/>
                <a:gd name="connsiteY3" fmla="*/ 4841 h 54931"/>
                <a:gd name="connsiteX4" fmla="*/ 79911 w 77979"/>
                <a:gd name="connsiteY4" fmla="*/ 32735 h 54931"/>
                <a:gd name="connsiteX5" fmla="*/ 75888 w 77979"/>
                <a:gd name="connsiteY5" fmla="*/ 38971 h 54931"/>
                <a:gd name="connsiteX6" fmla="*/ 69041 w 77979"/>
                <a:gd name="connsiteY6" fmla="*/ 40969 h 54931"/>
                <a:gd name="connsiteX7" fmla="*/ 57231 w 77979"/>
                <a:gd name="connsiteY7" fmla="*/ 31337 h 54931"/>
                <a:gd name="connsiteX8" fmla="*/ 28561 w 77979"/>
                <a:gd name="connsiteY8" fmla="*/ 26345 h 54931"/>
                <a:gd name="connsiteX9" fmla="*/ 17263 w 77979"/>
                <a:gd name="connsiteY9" fmla="*/ 40798 h 54931"/>
                <a:gd name="connsiteX10" fmla="*/ 15295 w 77979"/>
                <a:gd name="connsiteY10" fmla="*/ 46545 h 54931"/>
                <a:gd name="connsiteX11" fmla="*/ 11530 w 77979"/>
                <a:gd name="connsiteY11" fmla="*/ 55620 h 54931"/>
                <a:gd name="connsiteX12" fmla="*/ 11187 w 77979"/>
                <a:gd name="connsiteY12" fmla="*/ 55757 h 54931"/>
                <a:gd name="connsiteX13" fmla="*/ 11187 w 77979"/>
                <a:gd name="connsiteY13" fmla="*/ 55757 h 5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979" h="54931">
                  <a:moveTo>
                    <a:pt x="11187" y="55757"/>
                  </a:moveTo>
                  <a:cubicBezTo>
                    <a:pt x="5795" y="54642"/>
                    <a:pt x="3570" y="49324"/>
                    <a:pt x="2715" y="45172"/>
                  </a:cubicBezTo>
                  <a:cubicBezTo>
                    <a:pt x="1773" y="40386"/>
                    <a:pt x="1859" y="35463"/>
                    <a:pt x="2800" y="30693"/>
                  </a:cubicBezTo>
                  <a:cubicBezTo>
                    <a:pt x="5282" y="19697"/>
                    <a:pt x="12728" y="9893"/>
                    <a:pt x="22826" y="4841"/>
                  </a:cubicBezTo>
                  <a:cubicBezTo>
                    <a:pt x="42938" y="-6104"/>
                    <a:pt x="82477" y="6025"/>
                    <a:pt x="79911" y="32735"/>
                  </a:cubicBezTo>
                  <a:cubicBezTo>
                    <a:pt x="79397" y="35265"/>
                    <a:pt x="77942" y="37496"/>
                    <a:pt x="75888" y="38971"/>
                  </a:cubicBezTo>
                  <a:cubicBezTo>
                    <a:pt x="73833" y="40317"/>
                    <a:pt x="71524" y="41012"/>
                    <a:pt x="69041" y="40969"/>
                  </a:cubicBezTo>
                  <a:cubicBezTo>
                    <a:pt x="63478" y="41090"/>
                    <a:pt x="57574" y="37238"/>
                    <a:pt x="57231" y="31337"/>
                  </a:cubicBezTo>
                  <a:cubicBezTo>
                    <a:pt x="51582" y="23180"/>
                    <a:pt x="37376" y="20709"/>
                    <a:pt x="28561" y="26345"/>
                  </a:cubicBezTo>
                  <a:cubicBezTo>
                    <a:pt x="24025" y="29201"/>
                    <a:pt x="20174" y="34064"/>
                    <a:pt x="17263" y="40798"/>
                  </a:cubicBezTo>
                  <a:cubicBezTo>
                    <a:pt x="16493" y="42668"/>
                    <a:pt x="15809" y="44580"/>
                    <a:pt x="15295" y="46545"/>
                  </a:cubicBezTo>
                  <a:cubicBezTo>
                    <a:pt x="14439" y="49736"/>
                    <a:pt x="13498" y="53038"/>
                    <a:pt x="11530" y="55620"/>
                  </a:cubicBezTo>
                  <a:cubicBezTo>
                    <a:pt x="11444" y="55714"/>
                    <a:pt x="11273" y="55766"/>
                    <a:pt x="11187" y="55757"/>
                  </a:cubicBezTo>
                  <a:lnTo>
                    <a:pt x="11187" y="5575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334" name="Rounded Rectangle 4">
              <a:extLst>
                <a:ext uri="{FF2B5EF4-FFF2-40B4-BE49-F238E27FC236}">
                  <a16:creationId xmlns:a16="http://schemas.microsoft.com/office/drawing/2014/main" id="{A2D5F4EE-DAB1-AAC1-86BF-B6E206233D23}"/>
                </a:ext>
              </a:extLst>
            </p:cNvPr>
            <p:cNvSpPr/>
            <p:nvPr/>
          </p:nvSpPr>
          <p:spPr>
            <a:xfrm>
              <a:off x="542784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35" name="TextBox 334">
              <a:extLst>
                <a:ext uri="{FF2B5EF4-FFF2-40B4-BE49-F238E27FC236}">
                  <a16:creationId xmlns:a16="http://schemas.microsoft.com/office/drawing/2014/main" id="{C211DCB8-2054-1C6E-DCEF-35B0FFD3C279}"/>
                </a:ext>
              </a:extLst>
            </p:cNvPr>
            <p:cNvSpPr txBox="1"/>
            <p:nvPr/>
          </p:nvSpPr>
          <p:spPr>
            <a:xfrm>
              <a:off x="5643903"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FO</a:t>
              </a:r>
              <a:endParaRPr lang="en-GB" sz="1600">
                <a:solidFill>
                  <a:schemeClr val="bg1"/>
                </a:solidFill>
                <a:latin typeface="Darker Grotesque" pitchFamily="2" charset="0"/>
              </a:endParaRPr>
            </a:p>
          </p:txBody>
        </p:sp>
        <p:sp>
          <p:nvSpPr>
            <p:cNvPr id="336" name="TextBox 335">
              <a:extLst>
                <a:ext uri="{FF2B5EF4-FFF2-40B4-BE49-F238E27FC236}">
                  <a16:creationId xmlns:a16="http://schemas.microsoft.com/office/drawing/2014/main" id="{428C94F4-E0CF-B135-A2FC-40DC6B42E65B}"/>
                </a:ext>
              </a:extLst>
            </p:cNvPr>
            <p:cNvSpPr txBox="1"/>
            <p:nvPr/>
          </p:nvSpPr>
          <p:spPr>
            <a:xfrm>
              <a:off x="5511510" y="4671889"/>
              <a:ext cx="1199367" cy="275332"/>
            </a:xfrm>
            <a:prstGeom prst="rect">
              <a:avLst/>
            </a:prstGeom>
            <a:noFill/>
          </p:spPr>
          <p:txBody>
            <a:bodyPr wrap="none" rtlCol="0">
              <a:spAutoFit/>
            </a:bodyPr>
            <a:lstStyle/>
            <a:p>
              <a:pPr algn="ctr">
                <a:lnSpc>
                  <a:spcPct val="70000"/>
                </a:lnSpc>
              </a:pPr>
              <a:r>
                <a:rPr lang="en-US" sz="1600">
                  <a:solidFill>
                    <a:schemeClr val="bg1"/>
                  </a:solidFill>
                  <a:latin typeface="+mj-lt"/>
                </a:rPr>
                <a:t>Princess Leia</a:t>
              </a:r>
              <a:endParaRPr lang="en-GB" sz="1600">
                <a:solidFill>
                  <a:schemeClr val="bg1"/>
                </a:solidFill>
                <a:latin typeface="+mj-lt"/>
              </a:endParaRPr>
            </a:p>
          </p:txBody>
        </p:sp>
        <p:sp>
          <p:nvSpPr>
            <p:cNvPr id="337" name="Freeform: Shape 336">
              <a:extLst>
                <a:ext uri="{FF2B5EF4-FFF2-40B4-BE49-F238E27FC236}">
                  <a16:creationId xmlns:a16="http://schemas.microsoft.com/office/drawing/2014/main" id="{8D486802-4B2C-246D-8EDB-4679E76DE743}"/>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38" name="Freeform: Shape 337">
              <a:extLst>
                <a:ext uri="{FF2B5EF4-FFF2-40B4-BE49-F238E27FC236}">
                  <a16:creationId xmlns:a16="http://schemas.microsoft.com/office/drawing/2014/main" id="{953512FC-AC19-DCAD-D07B-7C553B5CD276}"/>
                </a:ext>
              </a:extLst>
            </p:cNvPr>
            <p:cNvSpPr/>
            <p:nvPr/>
          </p:nvSpPr>
          <p:spPr>
            <a:xfrm>
              <a:off x="5566507" y="4097137"/>
              <a:ext cx="202010" cy="180602"/>
            </a:xfrm>
            <a:custGeom>
              <a:avLst/>
              <a:gdLst>
                <a:gd name="connsiteX0" fmla="*/ 202009 w 202010"/>
                <a:gd name="connsiteY0" fmla="*/ 9619 h 180602"/>
                <a:gd name="connsiteX1" fmla="*/ 2557 w 202010"/>
                <a:gd name="connsiteY1" fmla="*/ 29345 h 180602"/>
                <a:gd name="connsiteX2" fmla="*/ 9 w 202010"/>
                <a:gd name="connsiteY2" fmla="*/ 34779 h 180602"/>
                <a:gd name="connsiteX3" fmla="*/ 8598 w 202010"/>
                <a:gd name="connsiteY3" fmla="*/ 118422 h 180602"/>
                <a:gd name="connsiteX4" fmla="*/ 22050 w 202010"/>
                <a:gd name="connsiteY4" fmla="*/ 176416 h 180602"/>
                <a:gd name="connsiteX5" fmla="*/ 33721 w 202010"/>
                <a:gd name="connsiteY5" fmla="*/ 177252 h 180602"/>
                <a:gd name="connsiteX6" fmla="*/ 153188 w 202010"/>
                <a:gd name="connsiteY6" fmla="*/ 45896 h 180602"/>
                <a:gd name="connsiteX7" fmla="*/ 202009 w 202010"/>
                <a:gd name="connsiteY7" fmla="*/ 9619 h 1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10" h="180602">
                  <a:moveTo>
                    <a:pt x="202009" y="9619"/>
                  </a:moveTo>
                  <a:cubicBezTo>
                    <a:pt x="189857" y="-12134"/>
                    <a:pt x="20010" y="6729"/>
                    <a:pt x="2557" y="29345"/>
                  </a:cubicBezTo>
                  <a:cubicBezTo>
                    <a:pt x="856" y="30617"/>
                    <a:pt x="-106" y="32662"/>
                    <a:pt x="9" y="34779"/>
                  </a:cubicBezTo>
                  <a:cubicBezTo>
                    <a:pt x="1551" y="64012"/>
                    <a:pt x="4446" y="92151"/>
                    <a:pt x="8598" y="118422"/>
                  </a:cubicBezTo>
                  <a:cubicBezTo>
                    <a:pt x="11413" y="136271"/>
                    <a:pt x="15217" y="157118"/>
                    <a:pt x="22050" y="176416"/>
                  </a:cubicBezTo>
                  <a:cubicBezTo>
                    <a:pt x="23698" y="181530"/>
                    <a:pt x="31351" y="182135"/>
                    <a:pt x="33721" y="177252"/>
                  </a:cubicBezTo>
                  <a:cubicBezTo>
                    <a:pt x="65008" y="123420"/>
                    <a:pt x="106248" y="82661"/>
                    <a:pt x="153188" y="45896"/>
                  </a:cubicBezTo>
                  <a:cubicBezTo>
                    <a:pt x="162961" y="37225"/>
                    <a:pt x="202294" y="21430"/>
                    <a:pt x="202009" y="961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39" name="Freeform: Shape 338">
              <a:extLst>
                <a:ext uri="{FF2B5EF4-FFF2-40B4-BE49-F238E27FC236}">
                  <a16:creationId xmlns:a16="http://schemas.microsoft.com/office/drawing/2014/main" id="{B2726469-CADA-A665-2921-4648077A0C00}"/>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0" name="Freeform: Shape 339">
              <a:extLst>
                <a:ext uri="{FF2B5EF4-FFF2-40B4-BE49-F238E27FC236}">
                  <a16:creationId xmlns:a16="http://schemas.microsoft.com/office/drawing/2014/main" id="{0B4CA77D-AD60-60A8-8092-0DD2AE043D4F}"/>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1" name="Freeform: Shape 340">
              <a:extLst>
                <a:ext uri="{FF2B5EF4-FFF2-40B4-BE49-F238E27FC236}">
                  <a16:creationId xmlns:a16="http://schemas.microsoft.com/office/drawing/2014/main" id="{7B5BCDC8-8115-FD36-DA79-149044873F6E}"/>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2" name="Freeform: Shape 341">
              <a:extLst>
                <a:ext uri="{FF2B5EF4-FFF2-40B4-BE49-F238E27FC236}">
                  <a16:creationId xmlns:a16="http://schemas.microsoft.com/office/drawing/2014/main" id="{2D19474D-AE33-F1DB-D806-4A3B96735AA2}"/>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3" name="Freeform: Shape 342">
              <a:extLst>
                <a:ext uri="{FF2B5EF4-FFF2-40B4-BE49-F238E27FC236}">
                  <a16:creationId xmlns:a16="http://schemas.microsoft.com/office/drawing/2014/main" id="{77AE83D6-1430-D1EB-6BC9-A9D9F7C7FD64}"/>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4" name="Freeform: Shape 343">
              <a:extLst>
                <a:ext uri="{FF2B5EF4-FFF2-40B4-BE49-F238E27FC236}">
                  <a16:creationId xmlns:a16="http://schemas.microsoft.com/office/drawing/2014/main" id="{8A5C6C3C-1D2F-A091-5490-3864E4DB9081}"/>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5" name="Freeform: Shape 344">
              <a:extLst>
                <a:ext uri="{FF2B5EF4-FFF2-40B4-BE49-F238E27FC236}">
                  <a16:creationId xmlns:a16="http://schemas.microsoft.com/office/drawing/2014/main" id="{D2F241C4-36A1-2A78-995C-14CE4F3F9F42}"/>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6" name="Freeform: Shape 345">
              <a:extLst>
                <a:ext uri="{FF2B5EF4-FFF2-40B4-BE49-F238E27FC236}">
                  <a16:creationId xmlns:a16="http://schemas.microsoft.com/office/drawing/2014/main" id="{BB2B43B1-91D4-7A78-79F8-D29B7BBF27DC}"/>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7" name="Freeform: Shape 346">
              <a:extLst>
                <a:ext uri="{FF2B5EF4-FFF2-40B4-BE49-F238E27FC236}">
                  <a16:creationId xmlns:a16="http://schemas.microsoft.com/office/drawing/2014/main" id="{F372C58F-4CC4-110E-E09E-E1604AAA6E03}"/>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48" name="Freeform: Shape 347">
              <a:extLst>
                <a:ext uri="{FF2B5EF4-FFF2-40B4-BE49-F238E27FC236}">
                  <a16:creationId xmlns:a16="http://schemas.microsoft.com/office/drawing/2014/main" id="{CE1AC039-4BF0-DE5C-3BBC-36856ECB7612}"/>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49" name="Freeform: Shape 348">
              <a:extLst>
                <a:ext uri="{FF2B5EF4-FFF2-40B4-BE49-F238E27FC236}">
                  <a16:creationId xmlns:a16="http://schemas.microsoft.com/office/drawing/2014/main" id="{9A87B0C2-D2AC-525E-0B66-FED7D9080ED4}"/>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350" name="Freeform: Shape 349">
              <a:extLst>
                <a:ext uri="{FF2B5EF4-FFF2-40B4-BE49-F238E27FC236}">
                  <a16:creationId xmlns:a16="http://schemas.microsoft.com/office/drawing/2014/main" id="{D7C70C56-60F7-A2AE-D991-92796F630E6C}"/>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1" name="Freeform: Shape 350">
              <a:extLst>
                <a:ext uri="{FF2B5EF4-FFF2-40B4-BE49-F238E27FC236}">
                  <a16:creationId xmlns:a16="http://schemas.microsoft.com/office/drawing/2014/main" id="{7CABDD3B-EFFA-46CF-CF40-36F90C7C26CF}"/>
                </a:ext>
              </a:extLst>
            </p:cNvPr>
            <p:cNvSpPr/>
            <p:nvPr/>
          </p:nvSpPr>
          <p:spPr>
            <a:xfrm>
              <a:off x="5784287" y="2850534"/>
              <a:ext cx="633705" cy="669283"/>
            </a:xfrm>
            <a:custGeom>
              <a:avLst/>
              <a:gdLst>
                <a:gd name="connsiteX0" fmla="*/ 636930 w 633705"/>
                <a:gd name="connsiteY0" fmla="*/ 612986 h 669283"/>
                <a:gd name="connsiteX1" fmla="*/ 603165 w 633705"/>
                <a:gd name="connsiteY1" fmla="*/ 396697 h 669283"/>
                <a:gd name="connsiteX2" fmla="*/ 591583 w 633705"/>
                <a:gd name="connsiteY2" fmla="*/ 291282 h 669283"/>
                <a:gd name="connsiteX3" fmla="*/ 575100 w 633705"/>
                <a:gd name="connsiteY3" fmla="*/ 193872 h 669283"/>
                <a:gd name="connsiteX4" fmla="*/ 538397 w 633705"/>
                <a:gd name="connsiteY4" fmla="*/ 109402 h 669283"/>
                <a:gd name="connsiteX5" fmla="*/ 478976 w 633705"/>
                <a:gd name="connsiteY5" fmla="*/ 47771 h 669283"/>
                <a:gd name="connsiteX6" fmla="*/ 317635 w 633705"/>
                <a:gd name="connsiteY6" fmla="*/ 1854 h 669283"/>
                <a:gd name="connsiteX7" fmla="*/ 299817 w 633705"/>
                <a:gd name="connsiteY7" fmla="*/ 2681 h 669283"/>
                <a:gd name="connsiteX8" fmla="*/ 8498 w 633705"/>
                <a:gd name="connsiteY8" fmla="*/ 507314 h 669283"/>
                <a:gd name="connsiteX9" fmla="*/ 7606 w 633705"/>
                <a:gd name="connsiteY9" fmla="*/ 526230 h 669283"/>
                <a:gd name="connsiteX10" fmla="*/ 3955 w 633705"/>
                <a:gd name="connsiteY10" fmla="*/ 568572 h 669283"/>
                <a:gd name="connsiteX11" fmla="*/ 5112 w 633705"/>
                <a:gd name="connsiteY11" fmla="*/ 617611 h 669283"/>
                <a:gd name="connsiteX12" fmla="*/ 15358 w 633705"/>
                <a:gd name="connsiteY12" fmla="*/ 666738 h 669283"/>
                <a:gd name="connsiteX13" fmla="*/ 221062 w 633705"/>
                <a:gd name="connsiteY13" fmla="*/ 652090 h 669283"/>
                <a:gd name="connsiteX14" fmla="*/ 226141 w 633705"/>
                <a:gd name="connsiteY14" fmla="*/ 583433 h 669283"/>
                <a:gd name="connsiteX15" fmla="*/ 221954 w 633705"/>
                <a:gd name="connsiteY15" fmla="*/ 550803 h 669283"/>
                <a:gd name="connsiteX16" fmla="*/ 218924 w 633705"/>
                <a:gd name="connsiteY16" fmla="*/ 537996 h 669283"/>
                <a:gd name="connsiteX17" fmla="*/ 277724 w 633705"/>
                <a:gd name="connsiteY17" fmla="*/ 436860 h 669283"/>
                <a:gd name="connsiteX18" fmla="*/ 401201 w 633705"/>
                <a:gd name="connsiteY18" fmla="*/ 226752 h 669283"/>
                <a:gd name="connsiteX19" fmla="*/ 444319 w 633705"/>
                <a:gd name="connsiteY19" fmla="*/ 110532 h 669283"/>
                <a:gd name="connsiteX20" fmla="*/ 445657 w 633705"/>
                <a:gd name="connsiteY20" fmla="*/ 110799 h 669283"/>
                <a:gd name="connsiteX21" fmla="*/ 446100 w 633705"/>
                <a:gd name="connsiteY21" fmla="*/ 112213 h 669283"/>
                <a:gd name="connsiteX22" fmla="*/ 526102 w 633705"/>
                <a:gd name="connsiteY22" fmla="*/ 220909 h 669283"/>
                <a:gd name="connsiteX23" fmla="*/ 553274 w 633705"/>
                <a:gd name="connsiteY23" fmla="*/ 377291 h 669283"/>
                <a:gd name="connsiteX24" fmla="*/ 428283 w 633705"/>
                <a:gd name="connsiteY24" fmla="*/ 592922 h 669283"/>
                <a:gd name="connsiteX25" fmla="*/ 363961 w 633705"/>
                <a:gd name="connsiteY25" fmla="*/ 596284 h 669283"/>
                <a:gd name="connsiteX26" fmla="*/ 335096 w 633705"/>
                <a:gd name="connsiteY26" fmla="*/ 586127 h 669283"/>
                <a:gd name="connsiteX27" fmla="*/ 307480 w 633705"/>
                <a:gd name="connsiteY27" fmla="*/ 567069 h 669283"/>
                <a:gd name="connsiteX28" fmla="*/ 293671 w 633705"/>
                <a:gd name="connsiteY28" fmla="*/ 580845 h 669283"/>
                <a:gd name="connsiteX29" fmla="*/ 348281 w 633705"/>
                <a:gd name="connsiteY29" fmla="*/ 616303 h 669283"/>
                <a:gd name="connsiteX30" fmla="*/ 414476 w 633705"/>
                <a:gd name="connsiteY30" fmla="*/ 618758 h 669283"/>
                <a:gd name="connsiteX31" fmla="*/ 419463 w 633705"/>
                <a:gd name="connsiteY31" fmla="*/ 617806 h 669283"/>
                <a:gd name="connsiteX32" fmla="*/ 426055 w 633705"/>
                <a:gd name="connsiteY32" fmla="*/ 633218 h 669283"/>
                <a:gd name="connsiteX33" fmla="*/ 432204 w 633705"/>
                <a:gd name="connsiteY33" fmla="*/ 638403 h 669283"/>
                <a:gd name="connsiteX34" fmla="*/ 441646 w 633705"/>
                <a:gd name="connsiteY34" fmla="*/ 650329 h 669283"/>
                <a:gd name="connsiteX35" fmla="*/ 626505 w 633705"/>
                <a:gd name="connsiteY35" fmla="*/ 631280 h 669283"/>
                <a:gd name="connsiteX36" fmla="*/ 636930 w 633705"/>
                <a:gd name="connsiteY36" fmla="*/ 612986 h 66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3705" h="669283">
                  <a:moveTo>
                    <a:pt x="636930" y="612986"/>
                  </a:moveTo>
                  <a:cubicBezTo>
                    <a:pt x="621696" y="541536"/>
                    <a:pt x="611895" y="469161"/>
                    <a:pt x="603165" y="396697"/>
                  </a:cubicBezTo>
                  <a:cubicBezTo>
                    <a:pt x="598889" y="361603"/>
                    <a:pt x="595502" y="326412"/>
                    <a:pt x="591583" y="291282"/>
                  </a:cubicBezTo>
                  <a:cubicBezTo>
                    <a:pt x="587931" y="258555"/>
                    <a:pt x="583655" y="225729"/>
                    <a:pt x="575100" y="193872"/>
                  </a:cubicBezTo>
                  <a:cubicBezTo>
                    <a:pt x="567173" y="164266"/>
                    <a:pt x="555591" y="134962"/>
                    <a:pt x="538397" y="109402"/>
                  </a:cubicBezTo>
                  <a:cubicBezTo>
                    <a:pt x="522271" y="85595"/>
                    <a:pt x="502227" y="64748"/>
                    <a:pt x="478976" y="47771"/>
                  </a:cubicBezTo>
                  <a:cubicBezTo>
                    <a:pt x="433183" y="13895"/>
                    <a:pt x="374564" y="-4123"/>
                    <a:pt x="317635" y="1854"/>
                  </a:cubicBezTo>
                  <a:cubicBezTo>
                    <a:pt x="308994" y="2770"/>
                    <a:pt x="300709" y="2601"/>
                    <a:pt x="299817" y="2681"/>
                  </a:cubicBezTo>
                  <a:cubicBezTo>
                    <a:pt x="68009" y="23705"/>
                    <a:pt x="13488" y="426161"/>
                    <a:pt x="8498" y="507314"/>
                  </a:cubicBezTo>
                  <a:cubicBezTo>
                    <a:pt x="8141" y="513628"/>
                    <a:pt x="7785" y="519933"/>
                    <a:pt x="7606" y="526230"/>
                  </a:cubicBezTo>
                  <a:cubicBezTo>
                    <a:pt x="5825" y="540308"/>
                    <a:pt x="4579" y="554422"/>
                    <a:pt x="3955" y="568572"/>
                  </a:cubicBezTo>
                  <a:cubicBezTo>
                    <a:pt x="3241" y="584927"/>
                    <a:pt x="3598" y="601309"/>
                    <a:pt x="5112" y="617611"/>
                  </a:cubicBezTo>
                  <a:cubicBezTo>
                    <a:pt x="6628" y="634294"/>
                    <a:pt x="8409" y="651396"/>
                    <a:pt x="15358" y="666738"/>
                  </a:cubicBezTo>
                  <a:cubicBezTo>
                    <a:pt x="19634" y="676183"/>
                    <a:pt x="219013" y="663243"/>
                    <a:pt x="221062" y="652090"/>
                  </a:cubicBezTo>
                  <a:cubicBezTo>
                    <a:pt x="225517" y="629483"/>
                    <a:pt x="227122" y="606431"/>
                    <a:pt x="226141" y="583433"/>
                  </a:cubicBezTo>
                  <a:cubicBezTo>
                    <a:pt x="225606" y="572467"/>
                    <a:pt x="224271" y="561555"/>
                    <a:pt x="221954" y="550803"/>
                  </a:cubicBezTo>
                  <a:cubicBezTo>
                    <a:pt x="221330" y="547868"/>
                    <a:pt x="220619" y="542354"/>
                    <a:pt x="218924" y="537996"/>
                  </a:cubicBezTo>
                  <a:cubicBezTo>
                    <a:pt x="237099" y="503498"/>
                    <a:pt x="257144" y="469988"/>
                    <a:pt x="277724" y="436860"/>
                  </a:cubicBezTo>
                  <a:cubicBezTo>
                    <a:pt x="320576" y="367891"/>
                    <a:pt x="366188" y="300203"/>
                    <a:pt x="401201" y="226752"/>
                  </a:cubicBezTo>
                  <a:cubicBezTo>
                    <a:pt x="418752" y="189951"/>
                    <a:pt x="436034" y="150864"/>
                    <a:pt x="444319" y="110532"/>
                  </a:cubicBezTo>
                  <a:lnTo>
                    <a:pt x="445657" y="110799"/>
                  </a:lnTo>
                  <a:cubicBezTo>
                    <a:pt x="445478" y="111315"/>
                    <a:pt x="445657" y="111893"/>
                    <a:pt x="446100" y="112213"/>
                  </a:cubicBezTo>
                  <a:cubicBezTo>
                    <a:pt x="484141" y="138475"/>
                    <a:pt x="509622" y="178291"/>
                    <a:pt x="526102" y="220909"/>
                  </a:cubicBezTo>
                  <a:cubicBezTo>
                    <a:pt x="545346" y="270756"/>
                    <a:pt x="554523" y="323895"/>
                    <a:pt x="553274" y="377291"/>
                  </a:cubicBezTo>
                  <a:cubicBezTo>
                    <a:pt x="551136" y="461788"/>
                    <a:pt x="519066" y="566215"/>
                    <a:pt x="428283" y="592922"/>
                  </a:cubicBezTo>
                  <a:cubicBezTo>
                    <a:pt x="407526" y="599014"/>
                    <a:pt x="385165" y="600739"/>
                    <a:pt x="363961" y="596284"/>
                  </a:cubicBezTo>
                  <a:cubicBezTo>
                    <a:pt x="353895" y="594265"/>
                    <a:pt x="344183" y="590850"/>
                    <a:pt x="335096" y="586127"/>
                  </a:cubicBezTo>
                  <a:cubicBezTo>
                    <a:pt x="325119" y="580809"/>
                    <a:pt x="316833" y="573268"/>
                    <a:pt x="307480" y="567069"/>
                  </a:cubicBezTo>
                  <a:cubicBezTo>
                    <a:pt x="298839" y="561395"/>
                    <a:pt x="288771" y="572458"/>
                    <a:pt x="293671" y="580845"/>
                  </a:cubicBezTo>
                  <a:cubicBezTo>
                    <a:pt x="304629" y="599388"/>
                    <a:pt x="328147" y="610727"/>
                    <a:pt x="348281" y="616303"/>
                  </a:cubicBezTo>
                  <a:cubicBezTo>
                    <a:pt x="369842" y="622271"/>
                    <a:pt x="392558" y="622546"/>
                    <a:pt x="414476" y="618758"/>
                  </a:cubicBezTo>
                  <a:cubicBezTo>
                    <a:pt x="416079" y="618473"/>
                    <a:pt x="417771" y="618153"/>
                    <a:pt x="419463" y="617806"/>
                  </a:cubicBezTo>
                  <a:cubicBezTo>
                    <a:pt x="419909" y="623515"/>
                    <a:pt x="422225" y="628923"/>
                    <a:pt x="426055" y="633218"/>
                  </a:cubicBezTo>
                  <a:cubicBezTo>
                    <a:pt x="427839" y="635255"/>
                    <a:pt x="429888" y="637007"/>
                    <a:pt x="432204" y="638403"/>
                  </a:cubicBezTo>
                  <a:cubicBezTo>
                    <a:pt x="432559" y="643766"/>
                    <a:pt x="436034" y="649156"/>
                    <a:pt x="441646" y="650329"/>
                  </a:cubicBezTo>
                  <a:cubicBezTo>
                    <a:pt x="471670" y="656573"/>
                    <a:pt x="596483" y="640200"/>
                    <a:pt x="626505" y="631280"/>
                  </a:cubicBezTo>
                  <a:cubicBezTo>
                    <a:pt x="634524" y="628896"/>
                    <a:pt x="638622" y="621017"/>
                    <a:pt x="636930" y="612986"/>
                  </a:cubicBezTo>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52" name="Freeform: Shape 351">
              <a:extLst>
                <a:ext uri="{FF2B5EF4-FFF2-40B4-BE49-F238E27FC236}">
                  <a16:creationId xmlns:a16="http://schemas.microsoft.com/office/drawing/2014/main" id="{403FB41F-683B-65B9-4EA3-9EE05D258C14}"/>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3" name="Freeform: Shape 352">
              <a:extLst>
                <a:ext uri="{FF2B5EF4-FFF2-40B4-BE49-F238E27FC236}">
                  <a16:creationId xmlns:a16="http://schemas.microsoft.com/office/drawing/2014/main" id="{CBDDC9B4-180D-2B2A-0A7A-2CCCB0A2F73A}"/>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4" name="Freeform: Shape 353">
              <a:extLst>
                <a:ext uri="{FF2B5EF4-FFF2-40B4-BE49-F238E27FC236}">
                  <a16:creationId xmlns:a16="http://schemas.microsoft.com/office/drawing/2014/main" id="{0D47C8AE-DBB7-4D6D-2C83-8DE52C62A93D}"/>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55" name="Freeform: Shape 354">
              <a:extLst>
                <a:ext uri="{FF2B5EF4-FFF2-40B4-BE49-F238E27FC236}">
                  <a16:creationId xmlns:a16="http://schemas.microsoft.com/office/drawing/2014/main" id="{ABB98B4C-4162-4DE0-E6D0-AE7250EF29C6}"/>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356" name="Freeform: Shape 355">
              <a:extLst>
                <a:ext uri="{FF2B5EF4-FFF2-40B4-BE49-F238E27FC236}">
                  <a16:creationId xmlns:a16="http://schemas.microsoft.com/office/drawing/2014/main" id="{0BF4326D-558F-23AE-3C53-B2CBB519FBB6}"/>
                </a:ext>
              </a:extLst>
            </p:cNvPr>
            <p:cNvSpPr/>
            <p:nvPr/>
          </p:nvSpPr>
          <p:spPr>
            <a:xfrm>
              <a:off x="6085133" y="3091446"/>
              <a:ext cx="87269" cy="53555"/>
            </a:xfrm>
            <a:custGeom>
              <a:avLst/>
              <a:gdLst>
                <a:gd name="connsiteX0" fmla="*/ 5340 w 87269"/>
                <a:gd name="connsiteY0" fmla="*/ 52140 h 53555"/>
                <a:gd name="connsiteX1" fmla="*/ 36459 w 87269"/>
                <a:gd name="connsiteY1" fmla="*/ 17020 h 53555"/>
                <a:gd name="connsiteX2" fmla="*/ 63604 w 87269"/>
                <a:gd name="connsiteY2" fmla="*/ 14565 h 53555"/>
                <a:gd name="connsiteX3" fmla="*/ 81395 w 87269"/>
                <a:gd name="connsiteY3" fmla="*/ 30200 h 53555"/>
                <a:gd name="connsiteX4" fmla="*/ 86811 w 87269"/>
                <a:gd name="connsiteY4" fmla="*/ 28768 h 53555"/>
                <a:gd name="connsiteX5" fmla="*/ 73101 w 87269"/>
                <a:gd name="connsiteY5" fmla="*/ 4587 h 53555"/>
                <a:gd name="connsiteX6" fmla="*/ 37430 w 87269"/>
                <a:gd name="connsiteY6" fmla="*/ 3164 h 53555"/>
                <a:gd name="connsiteX7" fmla="*/ 3 w 87269"/>
                <a:gd name="connsiteY7" fmla="*/ 50699 h 53555"/>
                <a:gd name="connsiteX8" fmla="*/ 5340 w 87269"/>
                <a:gd name="connsiteY8" fmla="*/ 52140 h 53555"/>
                <a:gd name="connsiteX9" fmla="*/ 5340 w 87269"/>
                <a:gd name="connsiteY9" fmla="*/ 52140 h 5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69" h="53555">
                  <a:moveTo>
                    <a:pt x="5340" y="52140"/>
                  </a:moveTo>
                  <a:cubicBezTo>
                    <a:pt x="11594" y="37635"/>
                    <a:pt x="21830" y="23797"/>
                    <a:pt x="36459" y="17020"/>
                  </a:cubicBezTo>
                  <a:cubicBezTo>
                    <a:pt x="44681" y="13213"/>
                    <a:pt x="54873" y="11426"/>
                    <a:pt x="63604" y="14565"/>
                  </a:cubicBezTo>
                  <a:cubicBezTo>
                    <a:pt x="71506" y="17402"/>
                    <a:pt x="76192" y="24037"/>
                    <a:pt x="81395" y="30200"/>
                  </a:cubicBezTo>
                  <a:cubicBezTo>
                    <a:pt x="82954" y="32050"/>
                    <a:pt x="86295" y="31027"/>
                    <a:pt x="86811" y="28768"/>
                  </a:cubicBezTo>
                  <a:cubicBezTo>
                    <a:pt x="89199" y="18345"/>
                    <a:pt x="81894" y="9540"/>
                    <a:pt x="73101" y="4587"/>
                  </a:cubicBezTo>
                  <a:cubicBezTo>
                    <a:pt x="62339" y="-1470"/>
                    <a:pt x="48735" y="-1087"/>
                    <a:pt x="37430" y="3164"/>
                  </a:cubicBezTo>
                  <a:cubicBezTo>
                    <a:pt x="17153" y="10785"/>
                    <a:pt x="1117" y="28688"/>
                    <a:pt x="3" y="50699"/>
                  </a:cubicBezTo>
                  <a:cubicBezTo>
                    <a:pt x="-139" y="53394"/>
                    <a:pt x="4200" y="54781"/>
                    <a:pt x="5340" y="52140"/>
                  </a:cubicBezTo>
                  <a:lnTo>
                    <a:pt x="5340" y="5214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7" name="Freeform: Shape 356">
              <a:extLst>
                <a:ext uri="{FF2B5EF4-FFF2-40B4-BE49-F238E27FC236}">
                  <a16:creationId xmlns:a16="http://schemas.microsoft.com/office/drawing/2014/main" id="{9C872F42-DE1A-56EA-D827-F55B7B6DAA1C}"/>
                </a:ext>
              </a:extLst>
            </p:cNvPr>
            <p:cNvSpPr/>
            <p:nvPr/>
          </p:nvSpPr>
          <p:spPr>
            <a:xfrm>
              <a:off x="6254199" y="3114300"/>
              <a:ext cx="71581" cy="45127"/>
            </a:xfrm>
            <a:custGeom>
              <a:avLst/>
              <a:gdLst>
                <a:gd name="connsiteX0" fmla="*/ 7573 w 71581"/>
                <a:gd name="connsiteY0" fmla="*/ 27810 h 45127"/>
                <a:gd name="connsiteX1" fmla="*/ 41944 w 71581"/>
                <a:gd name="connsiteY1" fmla="*/ 12513 h 45127"/>
                <a:gd name="connsiteX2" fmla="*/ 55601 w 71581"/>
                <a:gd name="connsiteY2" fmla="*/ 24163 h 45127"/>
                <a:gd name="connsiteX3" fmla="*/ 64358 w 71581"/>
                <a:gd name="connsiteY3" fmla="*/ 43560 h 45127"/>
                <a:gd name="connsiteX4" fmla="*/ 70452 w 71581"/>
                <a:gd name="connsiteY4" fmla="*/ 42768 h 45127"/>
                <a:gd name="connsiteX5" fmla="*/ 65365 w 71581"/>
                <a:gd name="connsiteY5" fmla="*/ 17138 h 45127"/>
                <a:gd name="connsiteX6" fmla="*/ 45997 w 71581"/>
                <a:gd name="connsiteY6" fmla="*/ 1423 h 45127"/>
                <a:gd name="connsiteX7" fmla="*/ 1248 w 71581"/>
                <a:gd name="connsiteY7" fmla="*/ 21513 h 45127"/>
                <a:gd name="connsiteX8" fmla="*/ 7573 w 71581"/>
                <a:gd name="connsiteY8" fmla="*/ 27810 h 45127"/>
                <a:gd name="connsiteX9" fmla="*/ 7573 w 71581"/>
                <a:gd name="connsiteY9" fmla="*/ 27810 h 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81" h="45127">
                  <a:moveTo>
                    <a:pt x="7573" y="27810"/>
                  </a:moveTo>
                  <a:cubicBezTo>
                    <a:pt x="16553" y="19210"/>
                    <a:pt x="28393" y="7951"/>
                    <a:pt x="41944" y="12513"/>
                  </a:cubicBezTo>
                  <a:cubicBezTo>
                    <a:pt x="47868" y="14505"/>
                    <a:pt x="52412" y="18916"/>
                    <a:pt x="55601" y="24163"/>
                  </a:cubicBezTo>
                  <a:cubicBezTo>
                    <a:pt x="59289" y="30229"/>
                    <a:pt x="60144" y="37904"/>
                    <a:pt x="64358" y="43560"/>
                  </a:cubicBezTo>
                  <a:cubicBezTo>
                    <a:pt x="66131" y="45943"/>
                    <a:pt x="69374" y="45552"/>
                    <a:pt x="70452" y="42768"/>
                  </a:cubicBezTo>
                  <a:cubicBezTo>
                    <a:pt x="73570" y="34711"/>
                    <a:pt x="69695" y="24137"/>
                    <a:pt x="65365" y="17138"/>
                  </a:cubicBezTo>
                  <a:cubicBezTo>
                    <a:pt x="60937" y="9978"/>
                    <a:pt x="54051" y="4082"/>
                    <a:pt x="45997" y="1423"/>
                  </a:cubicBezTo>
                  <a:cubicBezTo>
                    <a:pt x="27983" y="-4527"/>
                    <a:pt x="12527" y="9347"/>
                    <a:pt x="1248" y="21513"/>
                  </a:cubicBezTo>
                  <a:cubicBezTo>
                    <a:pt x="-2636" y="25720"/>
                    <a:pt x="3413" y="31803"/>
                    <a:pt x="7573" y="27810"/>
                  </a:cubicBezTo>
                  <a:lnTo>
                    <a:pt x="7573" y="2781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8" name="Freeform: Shape 357">
              <a:extLst>
                <a:ext uri="{FF2B5EF4-FFF2-40B4-BE49-F238E27FC236}">
                  <a16:creationId xmlns:a16="http://schemas.microsoft.com/office/drawing/2014/main" id="{4B1C274E-CEC8-93A3-A27C-D1AB8A42801B}"/>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9" name="Freeform: Shape 358">
              <a:extLst>
                <a:ext uri="{FF2B5EF4-FFF2-40B4-BE49-F238E27FC236}">
                  <a16:creationId xmlns:a16="http://schemas.microsoft.com/office/drawing/2014/main" id="{4EF2D90D-B8DB-0D2F-08AE-0617E4245F1F}"/>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0" name="Freeform: Shape 359">
              <a:extLst>
                <a:ext uri="{FF2B5EF4-FFF2-40B4-BE49-F238E27FC236}">
                  <a16:creationId xmlns:a16="http://schemas.microsoft.com/office/drawing/2014/main" id="{3BA4E66C-BAD7-F0F0-CA3D-7181B890C54E}"/>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1" name="Freeform: Shape 360">
              <a:extLst>
                <a:ext uri="{FF2B5EF4-FFF2-40B4-BE49-F238E27FC236}">
                  <a16:creationId xmlns:a16="http://schemas.microsoft.com/office/drawing/2014/main" id="{A2E34BD8-ECD7-78D4-D05C-1464057D733F}"/>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2" name="Freeform: Shape 361">
              <a:extLst>
                <a:ext uri="{FF2B5EF4-FFF2-40B4-BE49-F238E27FC236}">
                  <a16:creationId xmlns:a16="http://schemas.microsoft.com/office/drawing/2014/main" id="{15AB7566-E681-164B-7904-37E7645C8C81}"/>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3" name="Rounded Rectangle 10">
              <a:extLst>
                <a:ext uri="{FF2B5EF4-FFF2-40B4-BE49-F238E27FC236}">
                  <a16:creationId xmlns:a16="http://schemas.microsoft.com/office/drawing/2014/main" id="{EF4ADD2F-668A-B543-ADF7-EA0827DF6C49}"/>
                </a:ext>
              </a:extLst>
            </p:cNvPr>
            <p:cNvSpPr/>
            <p:nvPr/>
          </p:nvSpPr>
          <p:spPr>
            <a:xfrm>
              <a:off x="7070202"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364" name="TextBox 363">
              <a:extLst>
                <a:ext uri="{FF2B5EF4-FFF2-40B4-BE49-F238E27FC236}">
                  <a16:creationId xmlns:a16="http://schemas.microsoft.com/office/drawing/2014/main" id="{BF144F99-0754-743A-E4F3-0B08DA4EB929}"/>
                </a:ext>
              </a:extLst>
            </p:cNvPr>
            <p:cNvSpPr txBox="1"/>
            <p:nvPr/>
          </p:nvSpPr>
          <p:spPr>
            <a:xfrm>
              <a:off x="7286262" y="4901285"/>
              <a:ext cx="934582" cy="338554"/>
            </a:xfrm>
            <a:prstGeom prst="rect">
              <a:avLst/>
            </a:prstGeom>
            <a:noFill/>
          </p:spPr>
          <p:txBody>
            <a:bodyPr wrap="square" rtlCol="0">
              <a:spAutoFit/>
            </a:bodyPr>
            <a:lstStyle/>
            <a:p>
              <a:pPr algn="ctr"/>
              <a:r>
                <a:rPr lang="en-US" sz="1600">
                  <a:solidFill>
                    <a:schemeClr val="bg1"/>
                  </a:solidFill>
                  <a:latin typeface="Darker Grotesque" pitchFamily="2" charset="0"/>
                </a:rPr>
                <a:t>CMO</a:t>
              </a:r>
              <a:endParaRPr lang="en-GB" sz="1600">
                <a:solidFill>
                  <a:schemeClr val="bg1"/>
                </a:solidFill>
                <a:latin typeface="Darker Grotesque" pitchFamily="2" charset="0"/>
              </a:endParaRPr>
            </a:p>
          </p:txBody>
        </p:sp>
        <p:sp>
          <p:nvSpPr>
            <p:cNvPr id="365" name="TextBox 364">
              <a:extLst>
                <a:ext uri="{FF2B5EF4-FFF2-40B4-BE49-F238E27FC236}">
                  <a16:creationId xmlns:a16="http://schemas.microsoft.com/office/drawing/2014/main" id="{405C0D2A-A7A5-64BD-F7DE-A8878A83F302}"/>
                </a:ext>
              </a:extLst>
            </p:cNvPr>
            <p:cNvSpPr txBox="1"/>
            <p:nvPr/>
          </p:nvSpPr>
          <p:spPr>
            <a:xfrm>
              <a:off x="7205172" y="4671889"/>
              <a:ext cx="1096774" cy="275332"/>
            </a:xfrm>
            <a:prstGeom prst="rect">
              <a:avLst/>
            </a:prstGeom>
            <a:noFill/>
          </p:spPr>
          <p:txBody>
            <a:bodyPr wrap="none" rtlCol="0">
              <a:spAutoFit/>
            </a:bodyPr>
            <a:lstStyle/>
            <a:p>
              <a:pPr algn="ctr">
                <a:lnSpc>
                  <a:spcPct val="70000"/>
                </a:lnSpc>
              </a:pPr>
              <a:r>
                <a:rPr lang="en-US" sz="1600">
                  <a:solidFill>
                    <a:schemeClr val="bg1"/>
                  </a:solidFill>
                  <a:latin typeface="+mj-lt"/>
                </a:rPr>
                <a:t>Raminta Art</a:t>
              </a:r>
              <a:endParaRPr lang="en-GB" sz="1600">
                <a:solidFill>
                  <a:schemeClr val="bg1"/>
                </a:solidFill>
                <a:latin typeface="+mj-lt"/>
              </a:endParaRPr>
            </a:p>
          </p:txBody>
        </p:sp>
        <p:sp>
          <p:nvSpPr>
            <p:cNvPr id="366" name="Freeform: Shape 365">
              <a:extLst>
                <a:ext uri="{FF2B5EF4-FFF2-40B4-BE49-F238E27FC236}">
                  <a16:creationId xmlns:a16="http://schemas.microsoft.com/office/drawing/2014/main" id="{FBBE870E-5D53-7265-35FF-C088367E6797}"/>
                </a:ext>
              </a:extLst>
            </p:cNvPr>
            <p:cNvSpPr/>
            <p:nvPr/>
          </p:nvSpPr>
          <p:spPr>
            <a:xfrm>
              <a:off x="7203157" y="3388531"/>
              <a:ext cx="1093374" cy="1055352"/>
            </a:xfrm>
            <a:custGeom>
              <a:avLst/>
              <a:gdLst>
                <a:gd name="connsiteX0" fmla="*/ 1075377 w 1093374"/>
                <a:gd name="connsiteY0" fmla="*/ 942833 h 1055352"/>
                <a:gd name="connsiteX1" fmla="*/ 1066286 w 1093374"/>
                <a:gd name="connsiteY1" fmla="*/ 867022 h 1055352"/>
                <a:gd name="connsiteX2" fmla="*/ 1066286 w 1093374"/>
                <a:gd name="connsiteY2" fmla="*/ 865744 h 1055352"/>
                <a:gd name="connsiteX3" fmla="*/ 1059766 w 1093374"/>
                <a:gd name="connsiteY3" fmla="*/ 780068 h 1055352"/>
                <a:gd name="connsiteX4" fmla="*/ 1040480 w 1093374"/>
                <a:gd name="connsiteY4" fmla="*/ 641234 h 1055352"/>
                <a:gd name="connsiteX5" fmla="*/ 996307 w 1093374"/>
                <a:gd name="connsiteY5" fmla="*/ 414989 h 1055352"/>
                <a:gd name="connsiteX6" fmla="*/ 939462 w 1093374"/>
                <a:gd name="connsiteY6" fmla="*/ 285838 h 1055352"/>
                <a:gd name="connsiteX7" fmla="*/ 822557 w 1093374"/>
                <a:gd name="connsiteY7" fmla="*/ 193768 h 1055352"/>
                <a:gd name="connsiteX8" fmla="*/ 747894 w 1093374"/>
                <a:gd name="connsiteY8" fmla="*/ 164815 h 1055352"/>
                <a:gd name="connsiteX9" fmla="*/ 716120 w 1093374"/>
                <a:gd name="connsiteY9" fmla="*/ 59593 h 1055352"/>
                <a:gd name="connsiteX10" fmla="*/ 701887 w 1093374"/>
                <a:gd name="connsiteY10" fmla="*/ 25796 h 1055352"/>
                <a:gd name="connsiteX11" fmla="*/ 527126 w 1093374"/>
                <a:gd name="connsiteY11" fmla="*/ 23329 h 1055352"/>
                <a:gd name="connsiteX12" fmla="*/ 515922 w 1093374"/>
                <a:gd name="connsiteY12" fmla="*/ 37944 h 1055352"/>
                <a:gd name="connsiteX13" fmla="*/ 512063 w 1093374"/>
                <a:gd name="connsiteY13" fmla="*/ 62331 h 1055352"/>
                <a:gd name="connsiteX14" fmla="*/ 344925 w 1093374"/>
                <a:gd name="connsiteY14" fmla="*/ 171391 h 1055352"/>
                <a:gd name="connsiteX15" fmla="*/ 22677 w 1093374"/>
                <a:gd name="connsiteY15" fmla="*/ 575197 h 1055352"/>
                <a:gd name="connsiteX16" fmla="*/ 14045 w 1093374"/>
                <a:gd name="connsiteY16" fmla="*/ 638128 h 1055352"/>
                <a:gd name="connsiteX17" fmla="*/ 3944 w 1093374"/>
                <a:gd name="connsiteY17" fmla="*/ 816786 h 1055352"/>
                <a:gd name="connsiteX18" fmla="*/ 26903 w 1093374"/>
                <a:gd name="connsiteY18" fmla="*/ 1058832 h 1055352"/>
                <a:gd name="connsiteX19" fmla="*/ 1093836 w 1093374"/>
                <a:gd name="connsiteY19" fmla="*/ 1058466 h 1055352"/>
                <a:gd name="connsiteX20" fmla="*/ 1097049 w 1093374"/>
                <a:gd name="connsiteY20" fmla="*/ 1054631 h 1055352"/>
                <a:gd name="connsiteX21" fmla="*/ 1075377 w 1093374"/>
                <a:gd name="connsiteY21" fmla="*/ 942833 h 105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3374" h="1055352">
                  <a:moveTo>
                    <a:pt x="1075377" y="942833"/>
                  </a:moveTo>
                  <a:cubicBezTo>
                    <a:pt x="1072346" y="927397"/>
                    <a:pt x="1066378" y="878256"/>
                    <a:pt x="1066286" y="867022"/>
                  </a:cubicBezTo>
                  <a:lnTo>
                    <a:pt x="1066286" y="865744"/>
                  </a:lnTo>
                  <a:cubicBezTo>
                    <a:pt x="1066194" y="846196"/>
                    <a:pt x="1063990" y="817334"/>
                    <a:pt x="1059766" y="780068"/>
                  </a:cubicBezTo>
                  <a:cubicBezTo>
                    <a:pt x="1055450" y="742801"/>
                    <a:pt x="1049020" y="696128"/>
                    <a:pt x="1040480" y="641234"/>
                  </a:cubicBezTo>
                  <a:cubicBezTo>
                    <a:pt x="1040480" y="641234"/>
                    <a:pt x="1000899" y="431339"/>
                    <a:pt x="996307" y="414989"/>
                  </a:cubicBezTo>
                  <a:cubicBezTo>
                    <a:pt x="981707" y="374161"/>
                    <a:pt x="960492" y="328583"/>
                    <a:pt x="939462" y="285838"/>
                  </a:cubicBezTo>
                  <a:cubicBezTo>
                    <a:pt x="910259" y="219069"/>
                    <a:pt x="884361" y="212767"/>
                    <a:pt x="822557" y="193768"/>
                  </a:cubicBezTo>
                  <a:cubicBezTo>
                    <a:pt x="791058" y="190113"/>
                    <a:pt x="763048" y="191850"/>
                    <a:pt x="747894" y="164815"/>
                  </a:cubicBezTo>
                  <a:cubicBezTo>
                    <a:pt x="730814" y="137230"/>
                    <a:pt x="721722" y="88912"/>
                    <a:pt x="716120" y="59593"/>
                  </a:cubicBezTo>
                  <a:cubicBezTo>
                    <a:pt x="711252" y="42054"/>
                    <a:pt x="715936" y="35112"/>
                    <a:pt x="701887" y="25796"/>
                  </a:cubicBezTo>
                  <a:cubicBezTo>
                    <a:pt x="649723" y="-3066"/>
                    <a:pt x="580022" y="-3981"/>
                    <a:pt x="527126" y="23329"/>
                  </a:cubicBezTo>
                  <a:cubicBezTo>
                    <a:pt x="520787" y="27167"/>
                    <a:pt x="516288" y="32463"/>
                    <a:pt x="515922" y="37944"/>
                  </a:cubicBezTo>
                  <a:cubicBezTo>
                    <a:pt x="515371" y="47353"/>
                    <a:pt x="512063" y="62331"/>
                    <a:pt x="512063" y="62331"/>
                  </a:cubicBezTo>
                  <a:cubicBezTo>
                    <a:pt x="494248" y="165727"/>
                    <a:pt x="436668" y="150565"/>
                    <a:pt x="344925" y="171391"/>
                  </a:cubicBezTo>
                  <a:cubicBezTo>
                    <a:pt x="141696" y="245007"/>
                    <a:pt x="49862" y="475182"/>
                    <a:pt x="22677" y="575197"/>
                  </a:cubicBezTo>
                  <a:lnTo>
                    <a:pt x="14045" y="638128"/>
                  </a:lnTo>
                  <a:cubicBezTo>
                    <a:pt x="14045" y="638128"/>
                    <a:pt x="2106" y="735496"/>
                    <a:pt x="3944" y="816786"/>
                  </a:cubicBezTo>
                  <a:cubicBezTo>
                    <a:pt x="5781" y="898076"/>
                    <a:pt x="26903" y="1058832"/>
                    <a:pt x="26903" y="1058832"/>
                  </a:cubicBezTo>
                  <a:lnTo>
                    <a:pt x="1093836" y="1058466"/>
                  </a:lnTo>
                  <a:cubicBezTo>
                    <a:pt x="1095856" y="1058466"/>
                    <a:pt x="1097509" y="1056640"/>
                    <a:pt x="1097049" y="1054631"/>
                  </a:cubicBezTo>
                  <a:cubicBezTo>
                    <a:pt x="1093744" y="1037732"/>
                    <a:pt x="1080613" y="969777"/>
                    <a:pt x="1075377" y="942833"/>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367" name="Freeform: Shape 366">
              <a:extLst>
                <a:ext uri="{FF2B5EF4-FFF2-40B4-BE49-F238E27FC236}">
                  <a16:creationId xmlns:a16="http://schemas.microsoft.com/office/drawing/2014/main" id="{A8046EAC-18EA-6CC8-59EA-9CDC563B81A5}"/>
                </a:ext>
              </a:extLst>
            </p:cNvPr>
            <p:cNvSpPr/>
            <p:nvPr/>
          </p:nvSpPr>
          <p:spPr>
            <a:xfrm>
              <a:off x="7192382" y="3420073"/>
              <a:ext cx="1119708" cy="1039155"/>
            </a:xfrm>
            <a:custGeom>
              <a:avLst/>
              <a:gdLst>
                <a:gd name="connsiteX0" fmla="*/ 235672 w 1119708"/>
                <a:gd name="connsiteY0" fmla="*/ 1042634 h 1039155"/>
                <a:gd name="connsiteX1" fmla="*/ 213356 w 1119708"/>
                <a:gd name="connsiteY1" fmla="*/ 942619 h 1039155"/>
                <a:gd name="connsiteX2" fmla="*/ 219968 w 1119708"/>
                <a:gd name="connsiteY2" fmla="*/ 655178 h 1039155"/>
                <a:gd name="connsiteX3" fmla="*/ 219051 w 1119708"/>
                <a:gd name="connsiteY3" fmla="*/ 605856 h 1039155"/>
                <a:gd name="connsiteX4" fmla="*/ 35840 w 1119708"/>
                <a:gd name="connsiteY4" fmla="*/ 551325 h 1039155"/>
                <a:gd name="connsiteX5" fmla="*/ 51911 w 1119708"/>
                <a:gd name="connsiteY5" fmla="*/ 1021171 h 1039155"/>
                <a:gd name="connsiteX6" fmla="*/ 25647 w 1119708"/>
                <a:gd name="connsiteY6" fmla="*/ 1024732 h 1039155"/>
                <a:gd name="connsiteX7" fmla="*/ 4249 w 1119708"/>
                <a:gd name="connsiteY7" fmla="*/ 819495 h 1039155"/>
                <a:gd name="connsiteX8" fmla="*/ 30790 w 1119708"/>
                <a:gd name="connsiteY8" fmla="*/ 547033 h 1039155"/>
                <a:gd name="connsiteX9" fmla="*/ 24176 w 1119708"/>
                <a:gd name="connsiteY9" fmla="*/ 540000 h 1039155"/>
                <a:gd name="connsiteX10" fmla="*/ 32443 w 1119708"/>
                <a:gd name="connsiteY10" fmla="*/ 462362 h 1039155"/>
                <a:gd name="connsiteX11" fmla="*/ 396198 w 1119708"/>
                <a:gd name="connsiteY11" fmla="*/ 120118 h 1039155"/>
                <a:gd name="connsiteX12" fmla="*/ 423107 w 1119708"/>
                <a:gd name="connsiteY12" fmla="*/ 122950 h 1039155"/>
                <a:gd name="connsiteX13" fmla="*/ 425127 w 1119708"/>
                <a:gd name="connsiteY13" fmla="*/ 124411 h 1039155"/>
                <a:gd name="connsiteX14" fmla="*/ 430728 w 1119708"/>
                <a:gd name="connsiteY14" fmla="*/ 140303 h 1039155"/>
                <a:gd name="connsiteX15" fmla="*/ 490972 w 1119708"/>
                <a:gd name="connsiteY15" fmla="*/ 219038 h 1039155"/>
                <a:gd name="connsiteX16" fmla="*/ 769231 w 1119708"/>
                <a:gd name="connsiteY16" fmla="*/ 161586 h 1039155"/>
                <a:gd name="connsiteX17" fmla="*/ 768128 w 1119708"/>
                <a:gd name="connsiteY17" fmla="*/ 160491 h 1039155"/>
                <a:gd name="connsiteX18" fmla="*/ 722762 w 1119708"/>
                <a:gd name="connsiteY18" fmla="*/ 62575 h 1039155"/>
                <a:gd name="connsiteX19" fmla="*/ 734885 w 1119708"/>
                <a:gd name="connsiteY19" fmla="*/ 51980 h 1039155"/>
                <a:gd name="connsiteX20" fmla="*/ 734885 w 1119708"/>
                <a:gd name="connsiteY20" fmla="*/ 51980 h 1039155"/>
                <a:gd name="connsiteX21" fmla="*/ 738833 w 1119708"/>
                <a:gd name="connsiteY21" fmla="*/ 62666 h 1039155"/>
                <a:gd name="connsiteX22" fmla="*/ 738833 w 1119708"/>
                <a:gd name="connsiteY22" fmla="*/ 62666 h 1039155"/>
                <a:gd name="connsiteX23" fmla="*/ 768955 w 1119708"/>
                <a:gd name="connsiteY23" fmla="*/ 128886 h 1039155"/>
                <a:gd name="connsiteX24" fmla="*/ 768955 w 1119708"/>
                <a:gd name="connsiteY24" fmla="*/ 128886 h 1039155"/>
                <a:gd name="connsiteX25" fmla="*/ 768955 w 1119708"/>
                <a:gd name="connsiteY25" fmla="*/ 128886 h 1039155"/>
                <a:gd name="connsiteX26" fmla="*/ 771987 w 1119708"/>
                <a:gd name="connsiteY26" fmla="*/ 132175 h 1039155"/>
                <a:gd name="connsiteX27" fmla="*/ 776303 w 1119708"/>
                <a:gd name="connsiteY27" fmla="*/ 128248 h 1039155"/>
                <a:gd name="connsiteX28" fmla="*/ 848575 w 1119708"/>
                <a:gd name="connsiteY28" fmla="*/ 143044 h 1039155"/>
                <a:gd name="connsiteX29" fmla="*/ 922319 w 1119708"/>
                <a:gd name="connsiteY29" fmla="*/ 178850 h 1039155"/>
                <a:gd name="connsiteX30" fmla="*/ 1066315 w 1119708"/>
                <a:gd name="connsiteY30" fmla="*/ 454600 h 1039155"/>
                <a:gd name="connsiteX31" fmla="*/ 1118203 w 1119708"/>
                <a:gd name="connsiteY31" fmla="*/ 612341 h 1039155"/>
                <a:gd name="connsiteX32" fmla="*/ 1060530 w 1119708"/>
                <a:gd name="connsiteY32" fmla="*/ 648419 h 1039155"/>
                <a:gd name="connsiteX33" fmla="*/ 1110580 w 1119708"/>
                <a:gd name="connsiteY33" fmla="*/ 967006 h 1039155"/>
                <a:gd name="connsiteX34" fmla="*/ 1110580 w 1119708"/>
                <a:gd name="connsiteY34" fmla="*/ 967006 h 1039155"/>
                <a:gd name="connsiteX35" fmla="*/ 1122610 w 1119708"/>
                <a:gd name="connsiteY35" fmla="*/ 1017882 h 1039155"/>
                <a:gd name="connsiteX36" fmla="*/ 1094784 w 1119708"/>
                <a:gd name="connsiteY36" fmla="*/ 1018522 h 1039155"/>
                <a:gd name="connsiteX37" fmla="*/ 1053643 w 1119708"/>
                <a:gd name="connsiteY37" fmla="*/ 801228 h 1039155"/>
                <a:gd name="connsiteX38" fmla="*/ 1051531 w 1119708"/>
                <a:gd name="connsiteY38" fmla="*/ 651251 h 1039155"/>
                <a:gd name="connsiteX39" fmla="*/ 1022144 w 1119708"/>
                <a:gd name="connsiteY39" fmla="*/ 659745 h 1039155"/>
                <a:gd name="connsiteX40" fmla="*/ 1006349 w 1119708"/>
                <a:gd name="connsiteY40" fmla="*/ 662943 h 1039155"/>
                <a:gd name="connsiteX41" fmla="*/ 982011 w 1119708"/>
                <a:gd name="connsiteY41" fmla="*/ 665043 h 1039155"/>
                <a:gd name="connsiteX42" fmla="*/ 1018929 w 1119708"/>
                <a:gd name="connsiteY42" fmla="*/ 1028568 h 1039155"/>
                <a:gd name="connsiteX43" fmla="*/ 1018837 w 1119708"/>
                <a:gd name="connsiteY43" fmla="*/ 1028568 h 1039155"/>
                <a:gd name="connsiteX44" fmla="*/ 995143 w 1119708"/>
                <a:gd name="connsiteY44" fmla="*/ 1030030 h 1039155"/>
                <a:gd name="connsiteX45" fmla="*/ 921034 w 1119708"/>
                <a:gd name="connsiteY45" fmla="*/ 1032680 h 1039155"/>
                <a:gd name="connsiteX46" fmla="*/ 751416 w 1119708"/>
                <a:gd name="connsiteY46" fmla="*/ 1034963 h 1039155"/>
                <a:gd name="connsiteX47" fmla="*/ 242375 w 1119708"/>
                <a:gd name="connsiteY47" fmla="*/ 1038250 h 1039155"/>
                <a:gd name="connsiteX48" fmla="*/ 235672 w 1119708"/>
                <a:gd name="connsiteY48" fmla="*/ 1042634 h 1039155"/>
                <a:gd name="connsiteX49" fmla="*/ 459841 w 1119708"/>
                <a:gd name="connsiteY49" fmla="*/ 139849 h 1039155"/>
                <a:gd name="connsiteX50" fmla="*/ 455249 w 1119708"/>
                <a:gd name="connsiteY50" fmla="*/ 112539 h 1039155"/>
                <a:gd name="connsiteX51" fmla="*/ 520910 w 1119708"/>
                <a:gd name="connsiteY51" fmla="*/ 21383 h 1039155"/>
                <a:gd name="connsiteX52" fmla="*/ 520910 w 1119708"/>
                <a:gd name="connsiteY52" fmla="*/ 21383 h 1039155"/>
                <a:gd name="connsiteX53" fmla="*/ 527246 w 1119708"/>
                <a:gd name="connsiteY53" fmla="*/ 3479 h 1039155"/>
                <a:gd name="connsiteX54" fmla="*/ 532390 w 1119708"/>
                <a:gd name="connsiteY54" fmla="*/ 41203 h 1039155"/>
                <a:gd name="connsiteX55" fmla="*/ 459841 w 1119708"/>
                <a:gd name="connsiteY55" fmla="*/ 139849 h 103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19708" h="1039155">
                  <a:moveTo>
                    <a:pt x="235672" y="1042634"/>
                  </a:moveTo>
                  <a:cubicBezTo>
                    <a:pt x="214368" y="1036241"/>
                    <a:pt x="216572" y="961527"/>
                    <a:pt x="213356" y="942619"/>
                  </a:cubicBezTo>
                  <a:cubicBezTo>
                    <a:pt x="206928" y="847445"/>
                    <a:pt x="207112" y="747431"/>
                    <a:pt x="219968" y="655178"/>
                  </a:cubicBezTo>
                  <a:cubicBezTo>
                    <a:pt x="219876" y="639011"/>
                    <a:pt x="218867" y="622295"/>
                    <a:pt x="219051" y="605856"/>
                  </a:cubicBezTo>
                  <a:cubicBezTo>
                    <a:pt x="158072" y="592611"/>
                    <a:pt x="91216" y="583842"/>
                    <a:pt x="35840" y="551325"/>
                  </a:cubicBezTo>
                  <a:cubicBezTo>
                    <a:pt x="22616" y="715554"/>
                    <a:pt x="26199" y="866808"/>
                    <a:pt x="51911" y="1021171"/>
                  </a:cubicBezTo>
                  <a:cubicBezTo>
                    <a:pt x="53473" y="1036149"/>
                    <a:pt x="28952" y="1038707"/>
                    <a:pt x="25647" y="1024732"/>
                  </a:cubicBezTo>
                  <a:cubicBezTo>
                    <a:pt x="12881" y="958421"/>
                    <a:pt x="6453" y="887908"/>
                    <a:pt x="4249" y="819495"/>
                  </a:cubicBezTo>
                  <a:cubicBezTo>
                    <a:pt x="1402" y="729163"/>
                    <a:pt x="10861" y="638554"/>
                    <a:pt x="30790" y="547033"/>
                  </a:cubicBezTo>
                  <a:cubicBezTo>
                    <a:pt x="28403" y="544932"/>
                    <a:pt x="26107" y="542649"/>
                    <a:pt x="24176" y="540000"/>
                  </a:cubicBezTo>
                  <a:cubicBezTo>
                    <a:pt x="1126" y="536621"/>
                    <a:pt x="29228" y="476794"/>
                    <a:pt x="32443" y="462362"/>
                  </a:cubicBezTo>
                  <a:cubicBezTo>
                    <a:pt x="85156" y="310468"/>
                    <a:pt x="225020" y="134642"/>
                    <a:pt x="396198" y="120118"/>
                  </a:cubicBezTo>
                  <a:cubicBezTo>
                    <a:pt x="404557" y="115005"/>
                    <a:pt x="415484" y="117469"/>
                    <a:pt x="423107" y="122950"/>
                  </a:cubicBezTo>
                  <a:cubicBezTo>
                    <a:pt x="423107" y="122950"/>
                    <a:pt x="425127" y="124319"/>
                    <a:pt x="425127" y="124411"/>
                  </a:cubicBezTo>
                  <a:cubicBezTo>
                    <a:pt x="430360" y="127791"/>
                    <a:pt x="434311" y="134276"/>
                    <a:pt x="430728" y="140303"/>
                  </a:cubicBezTo>
                  <a:cubicBezTo>
                    <a:pt x="454606" y="163687"/>
                    <a:pt x="463054" y="198944"/>
                    <a:pt x="490972" y="219038"/>
                  </a:cubicBezTo>
                  <a:cubicBezTo>
                    <a:pt x="575092" y="292932"/>
                    <a:pt x="737916" y="282152"/>
                    <a:pt x="769231" y="161586"/>
                  </a:cubicBezTo>
                  <a:cubicBezTo>
                    <a:pt x="769415" y="160946"/>
                    <a:pt x="768864" y="160400"/>
                    <a:pt x="768128" y="160491"/>
                  </a:cubicBezTo>
                  <a:cubicBezTo>
                    <a:pt x="739753" y="164601"/>
                    <a:pt x="723774" y="83766"/>
                    <a:pt x="722762" y="62575"/>
                  </a:cubicBezTo>
                  <a:cubicBezTo>
                    <a:pt x="721753" y="45130"/>
                    <a:pt x="723957" y="17637"/>
                    <a:pt x="734885" y="51980"/>
                  </a:cubicBezTo>
                  <a:lnTo>
                    <a:pt x="734885" y="51980"/>
                  </a:lnTo>
                  <a:cubicBezTo>
                    <a:pt x="736262" y="55544"/>
                    <a:pt x="737457" y="58922"/>
                    <a:pt x="738833" y="62666"/>
                  </a:cubicBezTo>
                  <a:lnTo>
                    <a:pt x="738833" y="62666"/>
                  </a:lnTo>
                  <a:cubicBezTo>
                    <a:pt x="746640" y="84771"/>
                    <a:pt x="756649" y="107514"/>
                    <a:pt x="768955" y="128886"/>
                  </a:cubicBezTo>
                  <a:lnTo>
                    <a:pt x="768955" y="128886"/>
                  </a:lnTo>
                  <a:lnTo>
                    <a:pt x="768955" y="128886"/>
                  </a:lnTo>
                  <a:cubicBezTo>
                    <a:pt x="769507" y="130166"/>
                    <a:pt x="771435" y="133090"/>
                    <a:pt x="771987" y="132175"/>
                  </a:cubicBezTo>
                  <a:cubicBezTo>
                    <a:pt x="772812" y="130715"/>
                    <a:pt x="775292" y="128340"/>
                    <a:pt x="776303" y="128248"/>
                  </a:cubicBezTo>
                  <a:cubicBezTo>
                    <a:pt x="795862" y="126056"/>
                    <a:pt x="826628" y="136834"/>
                    <a:pt x="848575" y="143044"/>
                  </a:cubicBezTo>
                  <a:cubicBezTo>
                    <a:pt x="869238" y="149620"/>
                    <a:pt x="906248" y="163047"/>
                    <a:pt x="922319" y="178850"/>
                  </a:cubicBezTo>
                  <a:cubicBezTo>
                    <a:pt x="999735" y="252376"/>
                    <a:pt x="1036287" y="354948"/>
                    <a:pt x="1066315" y="454600"/>
                  </a:cubicBezTo>
                  <a:cubicBezTo>
                    <a:pt x="1083213" y="507485"/>
                    <a:pt x="1101028" y="559547"/>
                    <a:pt x="1118203" y="612341"/>
                  </a:cubicBezTo>
                  <a:cubicBezTo>
                    <a:pt x="1123711" y="638371"/>
                    <a:pt x="1076601" y="639834"/>
                    <a:pt x="1060530" y="648419"/>
                  </a:cubicBezTo>
                  <a:cubicBezTo>
                    <a:pt x="1089000" y="751632"/>
                    <a:pt x="1078529" y="865622"/>
                    <a:pt x="1110580" y="967006"/>
                  </a:cubicBezTo>
                  <a:lnTo>
                    <a:pt x="1110580" y="967006"/>
                  </a:lnTo>
                  <a:cubicBezTo>
                    <a:pt x="1112967" y="984087"/>
                    <a:pt x="1127018" y="1000437"/>
                    <a:pt x="1122610" y="1017882"/>
                  </a:cubicBezTo>
                  <a:cubicBezTo>
                    <a:pt x="1118938" y="1030670"/>
                    <a:pt x="1097264" y="1033226"/>
                    <a:pt x="1094784" y="1018522"/>
                  </a:cubicBezTo>
                  <a:cubicBezTo>
                    <a:pt x="1069438" y="948738"/>
                    <a:pt x="1056306" y="875576"/>
                    <a:pt x="1053643" y="801228"/>
                  </a:cubicBezTo>
                  <a:cubicBezTo>
                    <a:pt x="1049878" y="747794"/>
                    <a:pt x="1047490" y="699750"/>
                    <a:pt x="1051531" y="651251"/>
                  </a:cubicBezTo>
                  <a:cubicBezTo>
                    <a:pt x="1041336" y="654355"/>
                    <a:pt x="1032244" y="657187"/>
                    <a:pt x="1022144" y="659745"/>
                  </a:cubicBezTo>
                  <a:cubicBezTo>
                    <a:pt x="1017001" y="661297"/>
                    <a:pt x="1011765" y="662943"/>
                    <a:pt x="1006349" y="662943"/>
                  </a:cubicBezTo>
                  <a:cubicBezTo>
                    <a:pt x="998266" y="664220"/>
                    <a:pt x="990094" y="664952"/>
                    <a:pt x="982011" y="665043"/>
                  </a:cubicBezTo>
                  <a:cubicBezTo>
                    <a:pt x="987890" y="790542"/>
                    <a:pt x="1004237" y="908550"/>
                    <a:pt x="1018929" y="1028568"/>
                  </a:cubicBezTo>
                  <a:cubicBezTo>
                    <a:pt x="1018929" y="1028568"/>
                    <a:pt x="1018929" y="1028568"/>
                    <a:pt x="1018837" y="1028568"/>
                  </a:cubicBezTo>
                  <a:cubicBezTo>
                    <a:pt x="1016449" y="1039985"/>
                    <a:pt x="999185" y="1040716"/>
                    <a:pt x="995143" y="1030030"/>
                  </a:cubicBezTo>
                  <a:cubicBezTo>
                    <a:pt x="989542" y="1033866"/>
                    <a:pt x="928655" y="1031948"/>
                    <a:pt x="921034" y="1032680"/>
                  </a:cubicBezTo>
                  <a:cubicBezTo>
                    <a:pt x="868045" y="1033226"/>
                    <a:pt x="805781" y="1034140"/>
                    <a:pt x="751416" y="1034963"/>
                  </a:cubicBezTo>
                  <a:cubicBezTo>
                    <a:pt x="582991" y="1038067"/>
                    <a:pt x="410525" y="1039985"/>
                    <a:pt x="242375" y="1038250"/>
                  </a:cubicBezTo>
                  <a:cubicBezTo>
                    <a:pt x="241183" y="1040899"/>
                    <a:pt x="238611" y="1042543"/>
                    <a:pt x="235672" y="1042634"/>
                  </a:cubicBezTo>
                  <a:close/>
                  <a:moveTo>
                    <a:pt x="459841" y="139849"/>
                  </a:moveTo>
                  <a:cubicBezTo>
                    <a:pt x="446158" y="139483"/>
                    <a:pt x="440739" y="116283"/>
                    <a:pt x="455249" y="112539"/>
                  </a:cubicBezTo>
                  <a:cubicBezTo>
                    <a:pt x="489687" y="94362"/>
                    <a:pt x="510350" y="57553"/>
                    <a:pt x="520910" y="21383"/>
                  </a:cubicBezTo>
                  <a:lnTo>
                    <a:pt x="520910" y="21383"/>
                  </a:lnTo>
                  <a:cubicBezTo>
                    <a:pt x="522930" y="15628"/>
                    <a:pt x="523942" y="8503"/>
                    <a:pt x="527246" y="3479"/>
                  </a:cubicBezTo>
                  <a:cubicBezTo>
                    <a:pt x="533674" y="14441"/>
                    <a:pt x="533858" y="28688"/>
                    <a:pt x="532390" y="41203"/>
                  </a:cubicBezTo>
                  <a:cubicBezTo>
                    <a:pt x="526421" y="82214"/>
                    <a:pt x="497676" y="122676"/>
                    <a:pt x="459841" y="139849"/>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68" name="Freeform: Shape 367">
              <a:extLst>
                <a:ext uri="{FF2B5EF4-FFF2-40B4-BE49-F238E27FC236}">
                  <a16:creationId xmlns:a16="http://schemas.microsoft.com/office/drawing/2014/main" id="{8617E6A4-4B83-B624-2874-18E2418DF6FA}"/>
                </a:ext>
              </a:extLst>
            </p:cNvPr>
            <p:cNvSpPr/>
            <p:nvPr/>
          </p:nvSpPr>
          <p:spPr>
            <a:xfrm>
              <a:off x="7507693" y="2931718"/>
              <a:ext cx="527542" cy="546603"/>
            </a:xfrm>
            <a:custGeom>
              <a:avLst/>
              <a:gdLst>
                <a:gd name="connsiteX0" fmla="*/ 320846 w 527542"/>
                <a:gd name="connsiteY0" fmla="*/ 1322 h 546603"/>
                <a:gd name="connsiteX1" fmla="*/ 57061 w 527542"/>
                <a:gd name="connsiteY1" fmla="*/ 179057 h 546603"/>
                <a:gd name="connsiteX2" fmla="*/ 4090 w 527542"/>
                <a:gd name="connsiteY2" fmla="*/ 422482 h 546603"/>
                <a:gd name="connsiteX3" fmla="*/ 176739 w 527542"/>
                <a:gd name="connsiteY3" fmla="*/ 489707 h 546603"/>
                <a:gd name="connsiteX4" fmla="*/ 315658 w 527542"/>
                <a:gd name="connsiteY4" fmla="*/ 546328 h 546603"/>
                <a:gd name="connsiteX5" fmla="*/ 452978 w 527542"/>
                <a:gd name="connsiteY5" fmla="*/ 511628 h 546603"/>
                <a:gd name="connsiteX6" fmla="*/ 526133 w 527542"/>
                <a:gd name="connsiteY6" fmla="*/ 367624 h 546603"/>
                <a:gd name="connsiteX7" fmla="*/ 498693 w 527542"/>
                <a:gd name="connsiteY7" fmla="*/ 50644 h 546603"/>
                <a:gd name="connsiteX8" fmla="*/ 320846 w 527542"/>
                <a:gd name="connsiteY8" fmla="*/ 1322 h 54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542" h="546603">
                  <a:moveTo>
                    <a:pt x="320846" y="1322"/>
                  </a:moveTo>
                  <a:cubicBezTo>
                    <a:pt x="234044" y="8172"/>
                    <a:pt x="101215" y="119047"/>
                    <a:pt x="57061" y="179057"/>
                  </a:cubicBezTo>
                  <a:cubicBezTo>
                    <a:pt x="12907" y="239066"/>
                    <a:pt x="-9868" y="369871"/>
                    <a:pt x="4090" y="422482"/>
                  </a:cubicBezTo>
                  <a:cubicBezTo>
                    <a:pt x="18049" y="475093"/>
                    <a:pt x="176739" y="489707"/>
                    <a:pt x="176739" y="489707"/>
                  </a:cubicBezTo>
                  <a:cubicBezTo>
                    <a:pt x="176739" y="489707"/>
                    <a:pt x="223805" y="543112"/>
                    <a:pt x="315658" y="546328"/>
                  </a:cubicBezTo>
                  <a:cubicBezTo>
                    <a:pt x="354301" y="547679"/>
                    <a:pt x="416244" y="545241"/>
                    <a:pt x="452978" y="511628"/>
                  </a:cubicBezTo>
                  <a:cubicBezTo>
                    <a:pt x="489711" y="478016"/>
                    <a:pt x="523488" y="402397"/>
                    <a:pt x="526133" y="367624"/>
                  </a:cubicBezTo>
                  <a:cubicBezTo>
                    <a:pt x="528778" y="332852"/>
                    <a:pt x="531193" y="86540"/>
                    <a:pt x="498693" y="50644"/>
                  </a:cubicBezTo>
                  <a:cubicBezTo>
                    <a:pt x="466202" y="14748"/>
                    <a:pt x="407648" y="-5529"/>
                    <a:pt x="320846" y="1322"/>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grpSp>
          <p:nvGrpSpPr>
            <p:cNvPr id="369" name="Graphic 42" descr="Woman with long wavy hair">
              <a:extLst>
                <a:ext uri="{FF2B5EF4-FFF2-40B4-BE49-F238E27FC236}">
                  <a16:creationId xmlns:a16="http://schemas.microsoft.com/office/drawing/2014/main" id="{2FC46E33-0BA9-BCDA-96AD-5F7CF5BDA659}"/>
                </a:ext>
              </a:extLst>
            </p:cNvPr>
            <p:cNvGrpSpPr/>
            <p:nvPr/>
          </p:nvGrpSpPr>
          <p:grpSpPr>
            <a:xfrm>
              <a:off x="7367021" y="2855779"/>
              <a:ext cx="766599" cy="876721"/>
              <a:chOff x="7367021" y="2972723"/>
              <a:chExt cx="766599" cy="876721"/>
            </a:xfrm>
            <a:solidFill>
              <a:srgbClr val="191246"/>
            </a:solidFill>
          </p:grpSpPr>
          <p:sp>
            <p:nvSpPr>
              <p:cNvPr id="378" name="Freeform: Shape 377">
                <a:extLst>
                  <a:ext uri="{FF2B5EF4-FFF2-40B4-BE49-F238E27FC236}">
                    <a16:creationId xmlns:a16="http://schemas.microsoft.com/office/drawing/2014/main" id="{549F5C42-7505-DD93-5C3D-88D638217455}"/>
                  </a:ext>
                </a:extLst>
              </p:cNvPr>
              <p:cNvSpPr/>
              <p:nvPr/>
            </p:nvSpPr>
            <p:spPr>
              <a:xfrm>
                <a:off x="7581438" y="3350162"/>
                <a:ext cx="39237" cy="47093"/>
              </a:xfrm>
              <a:custGeom>
                <a:avLst/>
                <a:gdLst>
                  <a:gd name="connsiteX0" fmla="*/ 18902 w 39237"/>
                  <a:gd name="connsiteY0" fmla="*/ 21350 h 47093"/>
                  <a:gd name="connsiteX1" fmla="*/ 30216 w 39237"/>
                  <a:gd name="connsiteY1" fmla="*/ 43892 h 47093"/>
                  <a:gd name="connsiteX2" fmla="*/ 39161 w 39237"/>
                  <a:gd name="connsiteY2" fmla="*/ 42687 h 47093"/>
                  <a:gd name="connsiteX3" fmla="*/ 4567 w 39237"/>
                  <a:gd name="connsiteY3" fmla="*/ 205 h 47093"/>
                  <a:gd name="connsiteX4" fmla="*/ 1077 w 39237"/>
                  <a:gd name="connsiteY4" fmla="*/ 6161 h 47093"/>
                  <a:gd name="connsiteX5" fmla="*/ 18902 w 39237"/>
                  <a:gd name="connsiteY5" fmla="*/ 21350 h 4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37" h="47093">
                    <a:moveTo>
                      <a:pt x="18902" y="21350"/>
                    </a:moveTo>
                    <a:cubicBezTo>
                      <a:pt x="25046" y="27908"/>
                      <a:pt x="27204" y="35718"/>
                      <a:pt x="30216" y="43892"/>
                    </a:cubicBezTo>
                    <a:cubicBezTo>
                      <a:pt x="32007" y="48742"/>
                      <a:pt x="38757" y="47875"/>
                      <a:pt x="39161" y="42687"/>
                    </a:cubicBezTo>
                    <a:cubicBezTo>
                      <a:pt x="40630" y="23698"/>
                      <a:pt x="20776" y="6499"/>
                      <a:pt x="4567" y="205"/>
                    </a:cubicBezTo>
                    <a:cubicBezTo>
                      <a:pt x="1279" y="-1073"/>
                      <a:pt x="-1650" y="3950"/>
                      <a:pt x="1077" y="6161"/>
                    </a:cubicBezTo>
                    <a:cubicBezTo>
                      <a:pt x="7221" y="11129"/>
                      <a:pt x="13465" y="15550"/>
                      <a:pt x="18902" y="21350"/>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379" name="Freeform: Shape 378">
                <a:extLst>
                  <a:ext uri="{FF2B5EF4-FFF2-40B4-BE49-F238E27FC236}">
                    <a16:creationId xmlns:a16="http://schemas.microsoft.com/office/drawing/2014/main" id="{F0E05A1A-294F-C4A1-8320-BFE618F95377}"/>
                  </a:ext>
                </a:extLst>
              </p:cNvPr>
              <p:cNvSpPr/>
              <p:nvPr/>
            </p:nvSpPr>
            <p:spPr>
              <a:xfrm>
                <a:off x="7367021" y="2972723"/>
                <a:ext cx="766599" cy="876721"/>
              </a:xfrm>
              <a:custGeom>
                <a:avLst/>
                <a:gdLst>
                  <a:gd name="connsiteX0" fmla="*/ 766170 w 766599"/>
                  <a:gd name="connsiteY0" fmla="*/ 533586 h 876721"/>
                  <a:gd name="connsiteX1" fmla="*/ 749043 w 766599"/>
                  <a:gd name="connsiteY1" fmla="*/ 484008 h 876721"/>
                  <a:gd name="connsiteX2" fmla="*/ 725313 w 766599"/>
                  <a:gd name="connsiteY2" fmla="*/ 440942 h 876721"/>
                  <a:gd name="connsiteX3" fmla="*/ 738721 w 766599"/>
                  <a:gd name="connsiteY3" fmla="*/ 394670 h 876721"/>
                  <a:gd name="connsiteX4" fmla="*/ 759365 w 766599"/>
                  <a:gd name="connsiteY4" fmla="*/ 349448 h 876721"/>
                  <a:gd name="connsiteX5" fmla="*/ 741504 w 766599"/>
                  <a:gd name="connsiteY5" fmla="*/ 281593 h 876721"/>
                  <a:gd name="connsiteX6" fmla="*/ 694833 w 766599"/>
                  <a:gd name="connsiteY6" fmla="*/ 234746 h 876721"/>
                  <a:gd name="connsiteX7" fmla="*/ 683923 w 766599"/>
                  <a:gd name="connsiteY7" fmla="*/ 197781 h 876721"/>
                  <a:gd name="connsiteX8" fmla="*/ 694686 w 766599"/>
                  <a:gd name="connsiteY8" fmla="*/ 144942 h 876721"/>
                  <a:gd name="connsiteX9" fmla="*/ 663564 w 766599"/>
                  <a:gd name="connsiteY9" fmla="*/ 50636 h 876721"/>
                  <a:gd name="connsiteX10" fmla="*/ 433435 w 766599"/>
                  <a:gd name="connsiteY10" fmla="*/ 31993 h 876721"/>
                  <a:gd name="connsiteX11" fmla="*/ 256333 w 766599"/>
                  <a:gd name="connsiteY11" fmla="*/ 41200 h 876721"/>
                  <a:gd name="connsiteX12" fmla="*/ 166583 w 766599"/>
                  <a:gd name="connsiteY12" fmla="*/ 87582 h 876721"/>
                  <a:gd name="connsiteX13" fmla="*/ 123696 w 766599"/>
                  <a:gd name="connsiteY13" fmla="*/ 187277 h 876721"/>
                  <a:gd name="connsiteX14" fmla="*/ 101086 w 766599"/>
                  <a:gd name="connsiteY14" fmla="*/ 287759 h 876721"/>
                  <a:gd name="connsiteX15" fmla="*/ 114127 w 766599"/>
                  <a:gd name="connsiteY15" fmla="*/ 341365 h 876721"/>
                  <a:gd name="connsiteX16" fmla="*/ 115128 w 766599"/>
                  <a:gd name="connsiteY16" fmla="*/ 366465 h 876721"/>
                  <a:gd name="connsiteX17" fmla="*/ 110205 w 766599"/>
                  <a:gd name="connsiteY17" fmla="*/ 385975 h 876721"/>
                  <a:gd name="connsiteX18" fmla="*/ 109048 w 766599"/>
                  <a:gd name="connsiteY18" fmla="*/ 388715 h 876721"/>
                  <a:gd name="connsiteX19" fmla="*/ 58154 w 766599"/>
                  <a:gd name="connsiteY19" fmla="*/ 459063 h 876721"/>
                  <a:gd name="connsiteX20" fmla="*/ 22531 w 766599"/>
                  <a:gd name="connsiteY20" fmla="*/ 529348 h 876721"/>
                  <a:gd name="connsiteX21" fmla="*/ 59155 w 766599"/>
                  <a:gd name="connsiteY21" fmla="*/ 605305 h 876721"/>
                  <a:gd name="connsiteX22" fmla="*/ 64637 w 766599"/>
                  <a:gd name="connsiteY22" fmla="*/ 626432 h 876721"/>
                  <a:gd name="connsiteX23" fmla="*/ 54104 w 766599"/>
                  <a:gd name="connsiteY23" fmla="*/ 645275 h 876721"/>
                  <a:gd name="connsiteX24" fmla="*/ 50816 w 766599"/>
                  <a:gd name="connsiteY24" fmla="*/ 648207 h 876721"/>
                  <a:gd name="connsiteX25" fmla="*/ 10813 w 766599"/>
                  <a:gd name="connsiteY25" fmla="*/ 682924 h 876721"/>
                  <a:gd name="connsiteX26" fmla="*/ 316 w 766599"/>
                  <a:gd name="connsiteY26" fmla="*/ 734667 h 876721"/>
                  <a:gd name="connsiteX27" fmla="*/ 9619 w 766599"/>
                  <a:gd name="connsiteY27" fmla="*/ 765677 h 876721"/>
                  <a:gd name="connsiteX28" fmla="*/ 11612 w 766599"/>
                  <a:gd name="connsiteY28" fmla="*/ 769778 h 876721"/>
                  <a:gd name="connsiteX29" fmla="*/ 29951 w 766599"/>
                  <a:gd name="connsiteY29" fmla="*/ 818635 h 876721"/>
                  <a:gd name="connsiteX30" fmla="*/ 106137 w 766599"/>
                  <a:gd name="connsiteY30" fmla="*/ 875675 h 876721"/>
                  <a:gd name="connsiteX31" fmla="*/ 119389 w 766599"/>
                  <a:gd name="connsiteY31" fmla="*/ 868113 h 876721"/>
                  <a:gd name="connsiteX32" fmla="*/ 135065 w 766599"/>
                  <a:gd name="connsiteY32" fmla="*/ 813465 h 876721"/>
                  <a:gd name="connsiteX33" fmla="*/ 149235 w 766599"/>
                  <a:gd name="connsiteY33" fmla="*/ 796111 h 876721"/>
                  <a:gd name="connsiteX34" fmla="*/ 221518 w 766599"/>
                  <a:gd name="connsiteY34" fmla="*/ 864514 h 876721"/>
                  <a:gd name="connsiteX35" fmla="*/ 223309 w 766599"/>
                  <a:gd name="connsiteY35" fmla="*/ 864249 h 876721"/>
                  <a:gd name="connsiteX36" fmla="*/ 235431 w 766599"/>
                  <a:gd name="connsiteY36" fmla="*/ 860404 h 876721"/>
                  <a:gd name="connsiteX37" fmla="*/ 242493 w 766599"/>
                  <a:gd name="connsiteY37" fmla="*/ 856440 h 876721"/>
                  <a:gd name="connsiteX38" fmla="*/ 244119 w 766599"/>
                  <a:gd name="connsiteY38" fmla="*/ 855353 h 876721"/>
                  <a:gd name="connsiteX39" fmla="*/ 237369 w 766599"/>
                  <a:gd name="connsiteY39" fmla="*/ 843871 h 876721"/>
                  <a:gd name="connsiteX40" fmla="*/ 234008 w 766599"/>
                  <a:gd name="connsiteY40" fmla="*/ 845205 h 876721"/>
                  <a:gd name="connsiteX41" fmla="*/ 232299 w 766599"/>
                  <a:gd name="connsiteY41" fmla="*/ 845689 h 876721"/>
                  <a:gd name="connsiteX42" fmla="*/ 218634 w 766599"/>
                  <a:gd name="connsiteY42" fmla="*/ 825430 h 876721"/>
                  <a:gd name="connsiteX43" fmla="*/ 215154 w 766599"/>
                  <a:gd name="connsiteY43" fmla="*/ 810058 h 876721"/>
                  <a:gd name="connsiteX44" fmla="*/ 220407 w 766599"/>
                  <a:gd name="connsiteY44" fmla="*/ 785588 h 876721"/>
                  <a:gd name="connsiteX45" fmla="*/ 230747 w 766599"/>
                  <a:gd name="connsiteY45" fmla="*/ 770207 h 876721"/>
                  <a:gd name="connsiteX46" fmla="*/ 245671 w 766599"/>
                  <a:gd name="connsiteY46" fmla="*/ 759036 h 876721"/>
                  <a:gd name="connsiteX47" fmla="*/ 284884 w 766599"/>
                  <a:gd name="connsiteY47" fmla="*/ 734722 h 876721"/>
                  <a:gd name="connsiteX48" fmla="*/ 289485 w 766599"/>
                  <a:gd name="connsiteY48" fmla="*/ 731398 h 876721"/>
                  <a:gd name="connsiteX49" fmla="*/ 301478 w 766599"/>
                  <a:gd name="connsiteY49" fmla="*/ 724702 h 876721"/>
                  <a:gd name="connsiteX50" fmla="*/ 314326 w 766599"/>
                  <a:gd name="connsiteY50" fmla="*/ 710773 h 876721"/>
                  <a:gd name="connsiteX51" fmla="*/ 316705 w 766599"/>
                  <a:gd name="connsiteY51" fmla="*/ 707366 h 876721"/>
                  <a:gd name="connsiteX52" fmla="*/ 340793 w 766599"/>
                  <a:gd name="connsiteY52" fmla="*/ 673708 h 876721"/>
                  <a:gd name="connsiteX53" fmla="*/ 357810 w 766599"/>
                  <a:gd name="connsiteY53" fmla="*/ 605095 h 876721"/>
                  <a:gd name="connsiteX54" fmla="*/ 480914 w 766599"/>
                  <a:gd name="connsiteY54" fmla="*/ 630195 h 876721"/>
                  <a:gd name="connsiteX55" fmla="*/ 523544 w 766599"/>
                  <a:gd name="connsiteY55" fmla="*/ 626770 h 876721"/>
                  <a:gd name="connsiteX56" fmla="*/ 530780 w 766599"/>
                  <a:gd name="connsiteY56" fmla="*/ 625372 h 876721"/>
                  <a:gd name="connsiteX57" fmla="*/ 530881 w 766599"/>
                  <a:gd name="connsiteY57" fmla="*/ 628468 h 876721"/>
                  <a:gd name="connsiteX58" fmla="*/ 526133 w 766599"/>
                  <a:gd name="connsiteY58" fmla="*/ 669717 h 876721"/>
                  <a:gd name="connsiteX59" fmla="*/ 534867 w 766599"/>
                  <a:gd name="connsiteY59" fmla="*/ 696515 h 876721"/>
                  <a:gd name="connsiteX60" fmla="*/ 548807 w 766599"/>
                  <a:gd name="connsiteY60" fmla="*/ 708846 h 876721"/>
                  <a:gd name="connsiteX61" fmla="*/ 562858 w 766599"/>
                  <a:gd name="connsiteY61" fmla="*/ 723625 h 876721"/>
                  <a:gd name="connsiteX62" fmla="*/ 580215 w 766599"/>
                  <a:gd name="connsiteY62" fmla="*/ 737051 h 876721"/>
                  <a:gd name="connsiteX63" fmla="*/ 596148 w 766599"/>
                  <a:gd name="connsiteY63" fmla="*/ 756607 h 876721"/>
                  <a:gd name="connsiteX64" fmla="*/ 611549 w 766599"/>
                  <a:gd name="connsiteY64" fmla="*/ 810524 h 876721"/>
                  <a:gd name="connsiteX65" fmla="*/ 610841 w 766599"/>
                  <a:gd name="connsiteY65" fmla="*/ 822900 h 876721"/>
                  <a:gd name="connsiteX66" fmla="*/ 611301 w 766599"/>
                  <a:gd name="connsiteY66" fmla="*/ 826334 h 876721"/>
                  <a:gd name="connsiteX67" fmla="*/ 603531 w 766599"/>
                  <a:gd name="connsiteY67" fmla="*/ 863546 h 876721"/>
                  <a:gd name="connsiteX68" fmla="*/ 617472 w 766599"/>
                  <a:gd name="connsiteY68" fmla="*/ 874205 h 876721"/>
                  <a:gd name="connsiteX69" fmla="*/ 647438 w 766599"/>
                  <a:gd name="connsiteY69" fmla="*/ 840309 h 876721"/>
                  <a:gd name="connsiteX70" fmla="*/ 663297 w 766599"/>
                  <a:gd name="connsiteY70" fmla="*/ 813976 h 876721"/>
                  <a:gd name="connsiteX71" fmla="*/ 674354 w 766599"/>
                  <a:gd name="connsiteY71" fmla="*/ 799572 h 876721"/>
                  <a:gd name="connsiteX72" fmla="*/ 688065 w 766599"/>
                  <a:gd name="connsiteY72" fmla="*/ 760955 h 876721"/>
                  <a:gd name="connsiteX73" fmla="*/ 675098 w 766599"/>
                  <a:gd name="connsiteY73" fmla="*/ 706837 h 876721"/>
                  <a:gd name="connsiteX74" fmla="*/ 673647 w 766599"/>
                  <a:gd name="connsiteY74" fmla="*/ 705156 h 876721"/>
                  <a:gd name="connsiteX75" fmla="*/ 679093 w 766599"/>
                  <a:gd name="connsiteY75" fmla="*/ 698991 h 876721"/>
                  <a:gd name="connsiteX76" fmla="*/ 704908 w 766599"/>
                  <a:gd name="connsiteY76" fmla="*/ 669479 h 876721"/>
                  <a:gd name="connsiteX77" fmla="*/ 737472 w 766599"/>
                  <a:gd name="connsiteY77" fmla="*/ 626724 h 876721"/>
                  <a:gd name="connsiteX78" fmla="*/ 766170 w 766599"/>
                  <a:gd name="connsiteY78" fmla="*/ 533586 h 876721"/>
                  <a:gd name="connsiteX79" fmla="*/ 189275 w 766599"/>
                  <a:gd name="connsiteY79" fmla="*/ 400315 h 876721"/>
                  <a:gd name="connsiteX80" fmla="*/ 205576 w 766599"/>
                  <a:gd name="connsiteY80" fmla="*/ 362912 h 876721"/>
                  <a:gd name="connsiteX81" fmla="*/ 233980 w 766599"/>
                  <a:gd name="connsiteY81" fmla="*/ 361313 h 876721"/>
                  <a:gd name="connsiteX82" fmla="*/ 249968 w 766599"/>
                  <a:gd name="connsiteY82" fmla="*/ 373818 h 876721"/>
                  <a:gd name="connsiteX83" fmla="*/ 259115 w 766599"/>
                  <a:gd name="connsiteY83" fmla="*/ 390633 h 876721"/>
                  <a:gd name="connsiteX84" fmla="*/ 263982 w 766599"/>
                  <a:gd name="connsiteY84" fmla="*/ 390003 h 876721"/>
                  <a:gd name="connsiteX85" fmla="*/ 264561 w 766599"/>
                  <a:gd name="connsiteY85" fmla="*/ 386203 h 876721"/>
                  <a:gd name="connsiteX86" fmla="*/ 266967 w 766599"/>
                  <a:gd name="connsiteY86" fmla="*/ 390414 h 876721"/>
                  <a:gd name="connsiteX87" fmla="*/ 240206 w 766599"/>
                  <a:gd name="connsiteY87" fmla="*/ 462754 h 876721"/>
                  <a:gd name="connsiteX88" fmla="*/ 233512 w 766599"/>
                  <a:gd name="connsiteY88" fmla="*/ 467430 h 876721"/>
                  <a:gd name="connsiteX89" fmla="*/ 228351 w 766599"/>
                  <a:gd name="connsiteY89" fmla="*/ 462242 h 876721"/>
                  <a:gd name="connsiteX90" fmla="*/ 199110 w 766599"/>
                  <a:gd name="connsiteY90" fmla="*/ 445819 h 876721"/>
                  <a:gd name="connsiteX91" fmla="*/ 189275 w 766599"/>
                  <a:gd name="connsiteY91" fmla="*/ 400315 h 876721"/>
                  <a:gd name="connsiteX92" fmla="*/ 500814 w 766599"/>
                  <a:gd name="connsiteY92" fmla="*/ 612722 h 876721"/>
                  <a:gd name="connsiteX93" fmla="*/ 362576 w 766599"/>
                  <a:gd name="connsiteY93" fmla="*/ 590216 h 876721"/>
                  <a:gd name="connsiteX94" fmla="*/ 357846 w 766599"/>
                  <a:gd name="connsiteY94" fmla="*/ 587613 h 876721"/>
                  <a:gd name="connsiteX95" fmla="*/ 345109 w 766599"/>
                  <a:gd name="connsiteY95" fmla="*/ 579703 h 876721"/>
                  <a:gd name="connsiteX96" fmla="*/ 335751 w 766599"/>
                  <a:gd name="connsiteY96" fmla="*/ 572990 h 876721"/>
                  <a:gd name="connsiteX97" fmla="*/ 270842 w 766599"/>
                  <a:gd name="connsiteY97" fmla="*/ 498138 h 876721"/>
                  <a:gd name="connsiteX98" fmla="*/ 268308 w 766599"/>
                  <a:gd name="connsiteY98" fmla="*/ 494210 h 876721"/>
                  <a:gd name="connsiteX99" fmla="*/ 324382 w 766599"/>
                  <a:gd name="connsiteY99" fmla="*/ 395730 h 876721"/>
                  <a:gd name="connsiteX100" fmla="*/ 329102 w 766599"/>
                  <a:gd name="connsiteY100" fmla="*/ 333455 h 876721"/>
                  <a:gd name="connsiteX101" fmla="*/ 317017 w 766599"/>
                  <a:gd name="connsiteY101" fmla="*/ 294984 h 876721"/>
                  <a:gd name="connsiteX102" fmla="*/ 331674 w 766599"/>
                  <a:gd name="connsiteY102" fmla="*/ 241341 h 876721"/>
                  <a:gd name="connsiteX103" fmla="*/ 417814 w 766599"/>
                  <a:gd name="connsiteY103" fmla="*/ 161748 h 876721"/>
                  <a:gd name="connsiteX104" fmla="*/ 611328 w 766599"/>
                  <a:gd name="connsiteY104" fmla="*/ 187643 h 876721"/>
                  <a:gd name="connsiteX105" fmla="*/ 618739 w 766599"/>
                  <a:gd name="connsiteY105" fmla="*/ 241213 h 876721"/>
                  <a:gd name="connsiteX106" fmla="*/ 631210 w 766599"/>
                  <a:gd name="connsiteY106" fmla="*/ 263481 h 876721"/>
                  <a:gd name="connsiteX107" fmla="*/ 636922 w 766599"/>
                  <a:gd name="connsiteY107" fmla="*/ 294061 h 876721"/>
                  <a:gd name="connsiteX108" fmla="*/ 651809 w 766599"/>
                  <a:gd name="connsiteY108" fmla="*/ 367963 h 876721"/>
                  <a:gd name="connsiteX109" fmla="*/ 633947 w 766599"/>
                  <a:gd name="connsiteY109" fmla="*/ 514743 h 876721"/>
                  <a:gd name="connsiteX110" fmla="*/ 568093 w 766599"/>
                  <a:gd name="connsiteY110" fmla="*/ 591157 h 876721"/>
                  <a:gd name="connsiteX111" fmla="*/ 541111 w 766599"/>
                  <a:gd name="connsiteY111" fmla="*/ 604721 h 876721"/>
                  <a:gd name="connsiteX112" fmla="*/ 500814 w 766599"/>
                  <a:gd name="connsiteY112" fmla="*/ 612722 h 87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66599" h="876721">
                    <a:moveTo>
                      <a:pt x="766170" y="533586"/>
                    </a:moveTo>
                    <a:cubicBezTo>
                      <a:pt x="764563" y="515949"/>
                      <a:pt x="758263" y="499079"/>
                      <a:pt x="749043" y="484008"/>
                    </a:cubicBezTo>
                    <a:cubicBezTo>
                      <a:pt x="740448" y="469969"/>
                      <a:pt x="729381" y="457218"/>
                      <a:pt x="725313" y="440942"/>
                    </a:cubicBezTo>
                    <a:cubicBezTo>
                      <a:pt x="720969" y="423597"/>
                      <a:pt x="729721" y="408782"/>
                      <a:pt x="738721" y="394670"/>
                    </a:cubicBezTo>
                    <a:cubicBezTo>
                      <a:pt x="747941" y="380229"/>
                      <a:pt x="755729" y="366337"/>
                      <a:pt x="759365" y="349448"/>
                    </a:cubicBezTo>
                    <a:cubicBezTo>
                      <a:pt x="764802" y="324139"/>
                      <a:pt x="758181" y="301085"/>
                      <a:pt x="741504" y="281593"/>
                    </a:cubicBezTo>
                    <a:cubicBezTo>
                      <a:pt x="727159" y="264824"/>
                      <a:pt x="707911" y="252667"/>
                      <a:pt x="694833" y="234746"/>
                    </a:cubicBezTo>
                    <a:cubicBezTo>
                      <a:pt x="686816" y="223758"/>
                      <a:pt x="681912" y="211537"/>
                      <a:pt x="683923" y="197781"/>
                    </a:cubicBezTo>
                    <a:cubicBezTo>
                      <a:pt x="686568" y="179760"/>
                      <a:pt x="693842" y="163347"/>
                      <a:pt x="694686" y="144942"/>
                    </a:cubicBezTo>
                    <a:cubicBezTo>
                      <a:pt x="696229" y="111549"/>
                      <a:pt x="687872" y="73543"/>
                      <a:pt x="663564" y="50636"/>
                    </a:cubicBezTo>
                    <a:cubicBezTo>
                      <a:pt x="560957" y="-46046"/>
                      <a:pt x="439947" y="23983"/>
                      <a:pt x="433435" y="31993"/>
                    </a:cubicBezTo>
                    <a:cubicBezTo>
                      <a:pt x="415831" y="5432"/>
                      <a:pt x="311626" y="-14543"/>
                      <a:pt x="256333" y="41200"/>
                    </a:cubicBezTo>
                    <a:cubicBezTo>
                      <a:pt x="222785" y="47987"/>
                      <a:pt x="190928" y="63624"/>
                      <a:pt x="166583" y="87582"/>
                    </a:cubicBezTo>
                    <a:cubicBezTo>
                      <a:pt x="139565" y="114179"/>
                      <a:pt x="125230" y="149938"/>
                      <a:pt x="123696" y="187277"/>
                    </a:cubicBezTo>
                    <a:cubicBezTo>
                      <a:pt x="105632" y="217794"/>
                      <a:pt x="95999" y="252502"/>
                      <a:pt x="101086" y="287759"/>
                    </a:cubicBezTo>
                    <a:cubicBezTo>
                      <a:pt x="103713" y="305990"/>
                      <a:pt x="110619" y="323308"/>
                      <a:pt x="114127" y="341365"/>
                    </a:cubicBezTo>
                    <a:cubicBezTo>
                      <a:pt x="115752" y="349732"/>
                      <a:pt x="116101" y="358180"/>
                      <a:pt x="115128" y="366465"/>
                    </a:cubicBezTo>
                    <a:cubicBezTo>
                      <a:pt x="114035" y="372539"/>
                      <a:pt x="112455" y="379115"/>
                      <a:pt x="110205" y="385975"/>
                    </a:cubicBezTo>
                    <a:cubicBezTo>
                      <a:pt x="109838" y="386897"/>
                      <a:pt x="109452" y="387811"/>
                      <a:pt x="109048" y="388715"/>
                    </a:cubicBezTo>
                    <a:cubicBezTo>
                      <a:pt x="97293" y="415139"/>
                      <a:pt x="76080" y="436759"/>
                      <a:pt x="58154" y="459063"/>
                    </a:cubicBezTo>
                    <a:cubicBezTo>
                      <a:pt x="41734" y="479487"/>
                      <a:pt x="24441" y="502321"/>
                      <a:pt x="22531" y="529348"/>
                    </a:cubicBezTo>
                    <a:cubicBezTo>
                      <a:pt x="20382" y="559618"/>
                      <a:pt x="45995" y="580744"/>
                      <a:pt x="59155" y="605305"/>
                    </a:cubicBezTo>
                    <a:cubicBezTo>
                      <a:pt x="62617" y="611772"/>
                      <a:pt x="65023" y="619079"/>
                      <a:pt x="64637" y="626432"/>
                    </a:cubicBezTo>
                    <a:cubicBezTo>
                      <a:pt x="62525" y="631994"/>
                      <a:pt x="59155" y="638260"/>
                      <a:pt x="54104" y="645275"/>
                    </a:cubicBezTo>
                    <a:cubicBezTo>
                      <a:pt x="52992" y="646298"/>
                      <a:pt x="51881" y="647275"/>
                      <a:pt x="50816" y="648207"/>
                    </a:cubicBezTo>
                    <a:cubicBezTo>
                      <a:pt x="37353" y="659871"/>
                      <a:pt x="21153" y="667945"/>
                      <a:pt x="10813" y="682924"/>
                    </a:cubicBezTo>
                    <a:cubicBezTo>
                      <a:pt x="1170" y="696890"/>
                      <a:pt x="-905" y="718281"/>
                      <a:pt x="316" y="734667"/>
                    </a:cubicBezTo>
                    <a:cubicBezTo>
                      <a:pt x="1134" y="745573"/>
                      <a:pt x="4026" y="756488"/>
                      <a:pt x="9619" y="765677"/>
                    </a:cubicBezTo>
                    <a:cubicBezTo>
                      <a:pt x="10244" y="767029"/>
                      <a:pt x="10914" y="768399"/>
                      <a:pt x="11612" y="769778"/>
                    </a:cubicBezTo>
                    <a:cubicBezTo>
                      <a:pt x="12245" y="787260"/>
                      <a:pt x="19445" y="804888"/>
                      <a:pt x="29951" y="818635"/>
                    </a:cubicBezTo>
                    <a:cubicBezTo>
                      <a:pt x="49383" y="844072"/>
                      <a:pt x="77650" y="861792"/>
                      <a:pt x="106137" y="875675"/>
                    </a:cubicBezTo>
                    <a:cubicBezTo>
                      <a:pt x="112217" y="878644"/>
                      <a:pt x="119086" y="875036"/>
                      <a:pt x="119389" y="868113"/>
                    </a:cubicBezTo>
                    <a:cubicBezTo>
                      <a:pt x="120261" y="848621"/>
                      <a:pt x="124293" y="829997"/>
                      <a:pt x="135065" y="813465"/>
                    </a:cubicBezTo>
                    <a:cubicBezTo>
                      <a:pt x="139133" y="807217"/>
                      <a:pt x="143991" y="801509"/>
                      <a:pt x="149235" y="796111"/>
                    </a:cubicBezTo>
                    <a:cubicBezTo>
                      <a:pt x="157427" y="830006"/>
                      <a:pt x="186961" y="868898"/>
                      <a:pt x="221518" y="864514"/>
                    </a:cubicBezTo>
                    <a:cubicBezTo>
                      <a:pt x="221619" y="864505"/>
                      <a:pt x="223226" y="864267"/>
                      <a:pt x="223309" y="864249"/>
                    </a:cubicBezTo>
                    <a:cubicBezTo>
                      <a:pt x="227294" y="863573"/>
                      <a:pt x="231344" y="862322"/>
                      <a:pt x="235431" y="860404"/>
                    </a:cubicBezTo>
                    <a:cubicBezTo>
                      <a:pt x="238002" y="859499"/>
                      <a:pt x="240408" y="858148"/>
                      <a:pt x="242493" y="856440"/>
                    </a:cubicBezTo>
                    <a:cubicBezTo>
                      <a:pt x="243035" y="856083"/>
                      <a:pt x="243577" y="855727"/>
                      <a:pt x="244119" y="855353"/>
                    </a:cubicBezTo>
                    <a:cubicBezTo>
                      <a:pt x="251245" y="850393"/>
                      <a:pt x="245202" y="840364"/>
                      <a:pt x="237369" y="843871"/>
                    </a:cubicBezTo>
                    <a:cubicBezTo>
                      <a:pt x="236239" y="844374"/>
                      <a:pt x="235119" y="844812"/>
                      <a:pt x="234008" y="845205"/>
                    </a:cubicBezTo>
                    <a:cubicBezTo>
                      <a:pt x="233420" y="845378"/>
                      <a:pt x="232850" y="845543"/>
                      <a:pt x="232299" y="845689"/>
                    </a:cubicBezTo>
                    <a:cubicBezTo>
                      <a:pt x="223777" y="844803"/>
                      <a:pt x="220930" y="832756"/>
                      <a:pt x="218634" y="825430"/>
                    </a:cubicBezTo>
                    <a:cubicBezTo>
                      <a:pt x="217064" y="820425"/>
                      <a:pt x="215788" y="815255"/>
                      <a:pt x="215154" y="810058"/>
                    </a:cubicBezTo>
                    <a:cubicBezTo>
                      <a:pt x="215374" y="801774"/>
                      <a:pt x="216577" y="792868"/>
                      <a:pt x="220407" y="785588"/>
                    </a:cubicBezTo>
                    <a:cubicBezTo>
                      <a:pt x="223309" y="780072"/>
                      <a:pt x="226863" y="775021"/>
                      <a:pt x="230747" y="770207"/>
                    </a:cubicBezTo>
                    <a:cubicBezTo>
                      <a:pt x="235367" y="766015"/>
                      <a:pt x="240546" y="762361"/>
                      <a:pt x="245671" y="759036"/>
                    </a:cubicBezTo>
                    <a:cubicBezTo>
                      <a:pt x="258601" y="750661"/>
                      <a:pt x="272266" y="743609"/>
                      <a:pt x="284884" y="734722"/>
                    </a:cubicBezTo>
                    <a:cubicBezTo>
                      <a:pt x="286427" y="733635"/>
                      <a:pt x="287960" y="732521"/>
                      <a:pt x="289485" y="731398"/>
                    </a:cubicBezTo>
                    <a:cubicBezTo>
                      <a:pt x="293700" y="729918"/>
                      <a:pt x="297732" y="727680"/>
                      <a:pt x="301478" y="724702"/>
                    </a:cubicBezTo>
                    <a:cubicBezTo>
                      <a:pt x="306511" y="720702"/>
                      <a:pt x="310487" y="715879"/>
                      <a:pt x="314326" y="710773"/>
                    </a:cubicBezTo>
                    <a:cubicBezTo>
                      <a:pt x="315198" y="709613"/>
                      <a:pt x="315970" y="708490"/>
                      <a:pt x="316705" y="707366"/>
                    </a:cubicBezTo>
                    <a:cubicBezTo>
                      <a:pt x="326145" y="697283"/>
                      <a:pt x="334364" y="686103"/>
                      <a:pt x="340793" y="673708"/>
                    </a:cubicBezTo>
                    <a:cubicBezTo>
                      <a:pt x="351831" y="652445"/>
                      <a:pt x="356781" y="628843"/>
                      <a:pt x="357810" y="605095"/>
                    </a:cubicBezTo>
                    <a:cubicBezTo>
                      <a:pt x="395517" y="624459"/>
                      <a:pt x="438523" y="631282"/>
                      <a:pt x="480914" y="630195"/>
                    </a:cubicBezTo>
                    <a:cubicBezTo>
                      <a:pt x="495112" y="629829"/>
                      <a:pt x="509484" y="628898"/>
                      <a:pt x="523544" y="626770"/>
                    </a:cubicBezTo>
                    <a:cubicBezTo>
                      <a:pt x="525968" y="626404"/>
                      <a:pt x="528383" y="625920"/>
                      <a:pt x="530780" y="625372"/>
                    </a:cubicBezTo>
                    <a:cubicBezTo>
                      <a:pt x="530808" y="626368"/>
                      <a:pt x="530844" y="627391"/>
                      <a:pt x="530881" y="628468"/>
                    </a:cubicBezTo>
                    <a:cubicBezTo>
                      <a:pt x="527327" y="641941"/>
                      <a:pt x="525086" y="655815"/>
                      <a:pt x="526133" y="669717"/>
                    </a:cubicBezTo>
                    <a:cubicBezTo>
                      <a:pt x="526850" y="679225"/>
                      <a:pt x="529449" y="688560"/>
                      <a:pt x="534867" y="696515"/>
                    </a:cubicBezTo>
                    <a:cubicBezTo>
                      <a:pt x="538164" y="701366"/>
                      <a:pt x="543132" y="706645"/>
                      <a:pt x="548807" y="708846"/>
                    </a:cubicBezTo>
                    <a:cubicBezTo>
                      <a:pt x="552618" y="714445"/>
                      <a:pt x="557752" y="719377"/>
                      <a:pt x="562858" y="723625"/>
                    </a:cubicBezTo>
                    <a:cubicBezTo>
                      <a:pt x="568478" y="728301"/>
                      <a:pt x="574594" y="732366"/>
                      <a:pt x="580215" y="737051"/>
                    </a:cubicBezTo>
                    <a:cubicBezTo>
                      <a:pt x="586845" y="742577"/>
                      <a:pt x="591749" y="749245"/>
                      <a:pt x="596148" y="756607"/>
                    </a:cubicBezTo>
                    <a:cubicBezTo>
                      <a:pt x="605910" y="772947"/>
                      <a:pt x="610750" y="791599"/>
                      <a:pt x="611549" y="810524"/>
                    </a:cubicBezTo>
                    <a:cubicBezTo>
                      <a:pt x="611383" y="814680"/>
                      <a:pt x="611145" y="818808"/>
                      <a:pt x="610841" y="822900"/>
                    </a:cubicBezTo>
                    <a:cubicBezTo>
                      <a:pt x="610750" y="824142"/>
                      <a:pt x="610933" y="825284"/>
                      <a:pt x="611301" y="826334"/>
                    </a:cubicBezTo>
                    <a:cubicBezTo>
                      <a:pt x="610355" y="839085"/>
                      <a:pt x="607682" y="851699"/>
                      <a:pt x="603531" y="863546"/>
                    </a:cubicBezTo>
                    <a:cubicBezTo>
                      <a:pt x="600887" y="871099"/>
                      <a:pt x="610750" y="878954"/>
                      <a:pt x="617472" y="874205"/>
                    </a:cubicBezTo>
                    <a:cubicBezTo>
                      <a:pt x="629787" y="865509"/>
                      <a:pt x="639025" y="852576"/>
                      <a:pt x="647438" y="840309"/>
                    </a:cubicBezTo>
                    <a:cubicBezTo>
                      <a:pt x="653232" y="831851"/>
                      <a:pt x="658531" y="823046"/>
                      <a:pt x="663297" y="813976"/>
                    </a:cubicBezTo>
                    <a:cubicBezTo>
                      <a:pt x="667917" y="809912"/>
                      <a:pt x="671709" y="804039"/>
                      <a:pt x="674354" y="799572"/>
                    </a:cubicBezTo>
                    <a:cubicBezTo>
                      <a:pt x="681279" y="787890"/>
                      <a:pt x="685898" y="774308"/>
                      <a:pt x="688065" y="760955"/>
                    </a:cubicBezTo>
                    <a:cubicBezTo>
                      <a:pt x="690940" y="743208"/>
                      <a:pt x="689525" y="718711"/>
                      <a:pt x="675098" y="706837"/>
                    </a:cubicBezTo>
                    <a:cubicBezTo>
                      <a:pt x="674621" y="706270"/>
                      <a:pt x="674143" y="705704"/>
                      <a:pt x="673647" y="705156"/>
                    </a:cubicBezTo>
                    <a:cubicBezTo>
                      <a:pt x="675530" y="703183"/>
                      <a:pt x="677348" y="701128"/>
                      <a:pt x="679093" y="698991"/>
                    </a:cubicBezTo>
                    <a:cubicBezTo>
                      <a:pt x="688221" y="689656"/>
                      <a:pt x="696514" y="679399"/>
                      <a:pt x="704908" y="669479"/>
                    </a:cubicBezTo>
                    <a:cubicBezTo>
                      <a:pt x="716479" y="655797"/>
                      <a:pt x="727582" y="641667"/>
                      <a:pt x="737472" y="626724"/>
                    </a:cubicBezTo>
                    <a:cubicBezTo>
                      <a:pt x="755637" y="599249"/>
                      <a:pt x="769219" y="567071"/>
                      <a:pt x="766170" y="533586"/>
                    </a:cubicBezTo>
                    <a:close/>
                    <a:moveTo>
                      <a:pt x="189275" y="400315"/>
                    </a:moveTo>
                    <a:cubicBezTo>
                      <a:pt x="189890" y="387043"/>
                      <a:pt x="194004" y="370968"/>
                      <a:pt x="205576" y="362912"/>
                    </a:cubicBezTo>
                    <a:cubicBezTo>
                      <a:pt x="213960" y="357075"/>
                      <a:pt x="224833" y="357285"/>
                      <a:pt x="233980" y="361313"/>
                    </a:cubicBezTo>
                    <a:cubicBezTo>
                      <a:pt x="240280" y="364090"/>
                      <a:pt x="245459" y="368748"/>
                      <a:pt x="249968" y="373818"/>
                    </a:cubicBezTo>
                    <a:cubicBezTo>
                      <a:pt x="254450" y="378859"/>
                      <a:pt x="255938" y="384943"/>
                      <a:pt x="259115" y="390633"/>
                    </a:cubicBezTo>
                    <a:cubicBezTo>
                      <a:pt x="260226" y="392633"/>
                      <a:pt x="263422" y="392204"/>
                      <a:pt x="263982" y="390003"/>
                    </a:cubicBezTo>
                    <a:cubicBezTo>
                      <a:pt x="264304" y="388742"/>
                      <a:pt x="264487" y="387473"/>
                      <a:pt x="264561" y="386203"/>
                    </a:cubicBezTo>
                    <a:lnTo>
                      <a:pt x="266967" y="390414"/>
                    </a:lnTo>
                    <a:cubicBezTo>
                      <a:pt x="262568" y="413741"/>
                      <a:pt x="254386" y="438659"/>
                      <a:pt x="240206" y="462754"/>
                    </a:cubicBezTo>
                    <a:cubicBezTo>
                      <a:pt x="238002" y="464352"/>
                      <a:pt x="235771" y="465905"/>
                      <a:pt x="233512" y="467430"/>
                    </a:cubicBezTo>
                    <a:cubicBezTo>
                      <a:pt x="233337" y="464818"/>
                      <a:pt x="231289" y="462178"/>
                      <a:pt x="228351" y="462242"/>
                    </a:cubicBezTo>
                    <a:cubicBezTo>
                      <a:pt x="215071" y="462516"/>
                      <a:pt x="205906" y="457200"/>
                      <a:pt x="199110" y="445819"/>
                    </a:cubicBezTo>
                    <a:cubicBezTo>
                      <a:pt x="191075" y="432365"/>
                      <a:pt x="188568" y="415733"/>
                      <a:pt x="189275" y="400315"/>
                    </a:cubicBezTo>
                    <a:close/>
                    <a:moveTo>
                      <a:pt x="500814" y="612722"/>
                    </a:moveTo>
                    <a:cubicBezTo>
                      <a:pt x="453758" y="616668"/>
                      <a:pt x="404893" y="612594"/>
                      <a:pt x="362576" y="590216"/>
                    </a:cubicBezTo>
                    <a:cubicBezTo>
                      <a:pt x="360978" y="589376"/>
                      <a:pt x="359408" y="588499"/>
                      <a:pt x="357846" y="587613"/>
                    </a:cubicBezTo>
                    <a:cubicBezTo>
                      <a:pt x="357057" y="580854"/>
                      <a:pt x="350399" y="578214"/>
                      <a:pt x="345109" y="579703"/>
                    </a:cubicBezTo>
                    <a:cubicBezTo>
                      <a:pt x="341932" y="577547"/>
                      <a:pt x="338800" y="575319"/>
                      <a:pt x="335751" y="572990"/>
                    </a:cubicBezTo>
                    <a:cubicBezTo>
                      <a:pt x="322591" y="539733"/>
                      <a:pt x="294802" y="508514"/>
                      <a:pt x="270842" y="498138"/>
                    </a:cubicBezTo>
                    <a:cubicBezTo>
                      <a:pt x="269998" y="496832"/>
                      <a:pt x="269153" y="495526"/>
                      <a:pt x="268308" y="494210"/>
                    </a:cubicBezTo>
                    <a:cubicBezTo>
                      <a:pt x="280439" y="481624"/>
                      <a:pt x="321544" y="434768"/>
                      <a:pt x="324382" y="395730"/>
                    </a:cubicBezTo>
                    <a:cubicBezTo>
                      <a:pt x="331600" y="376064"/>
                      <a:pt x="331811" y="352892"/>
                      <a:pt x="329102" y="333455"/>
                    </a:cubicBezTo>
                    <a:cubicBezTo>
                      <a:pt x="327247" y="320138"/>
                      <a:pt x="323179" y="306976"/>
                      <a:pt x="317017" y="294984"/>
                    </a:cubicBezTo>
                    <a:cubicBezTo>
                      <a:pt x="322169" y="285247"/>
                      <a:pt x="330278" y="266267"/>
                      <a:pt x="331674" y="241341"/>
                    </a:cubicBezTo>
                    <a:cubicBezTo>
                      <a:pt x="331674" y="241341"/>
                      <a:pt x="408062" y="227969"/>
                      <a:pt x="417814" y="161748"/>
                    </a:cubicBezTo>
                    <a:cubicBezTo>
                      <a:pt x="470050" y="200567"/>
                      <a:pt x="578874" y="206047"/>
                      <a:pt x="611328" y="187643"/>
                    </a:cubicBezTo>
                    <a:cubicBezTo>
                      <a:pt x="611328" y="187643"/>
                      <a:pt x="613982" y="227786"/>
                      <a:pt x="618739" y="241213"/>
                    </a:cubicBezTo>
                    <a:cubicBezTo>
                      <a:pt x="621623" y="249333"/>
                      <a:pt x="626013" y="256685"/>
                      <a:pt x="631210" y="263481"/>
                    </a:cubicBezTo>
                    <a:cubicBezTo>
                      <a:pt x="632340" y="273638"/>
                      <a:pt x="634223" y="283758"/>
                      <a:pt x="636922" y="294061"/>
                    </a:cubicBezTo>
                    <a:cubicBezTo>
                      <a:pt x="643314" y="318439"/>
                      <a:pt x="649329" y="342836"/>
                      <a:pt x="651809" y="367963"/>
                    </a:cubicBezTo>
                    <a:cubicBezTo>
                      <a:pt x="656593" y="416600"/>
                      <a:pt x="653379" y="469175"/>
                      <a:pt x="633947" y="514743"/>
                    </a:cubicBezTo>
                    <a:cubicBezTo>
                      <a:pt x="618693" y="539121"/>
                      <a:pt x="596726" y="568185"/>
                      <a:pt x="568093" y="591157"/>
                    </a:cubicBezTo>
                    <a:cubicBezTo>
                      <a:pt x="559497" y="596454"/>
                      <a:pt x="550488" y="601131"/>
                      <a:pt x="541111" y="604721"/>
                    </a:cubicBezTo>
                    <a:cubicBezTo>
                      <a:pt x="527997" y="609744"/>
                      <a:pt x="514737" y="611553"/>
                      <a:pt x="500814" y="612722"/>
                    </a:cubicBezTo>
                    <a:close/>
                  </a:path>
                </a:pathLst>
              </a:custGeom>
              <a:blipFill dpi="0" rotWithShape="1">
                <a:blip r:embed="rId5">
                  <a:extLst>
                    <a:ext uri="{BEBA8EAE-BF5A-486C-A8C5-ECC9F3942E4B}">
                      <a14:imgProps xmlns:a14="http://schemas.microsoft.com/office/drawing/2010/main">
                        <a14:imgLayer r:embed="rId6">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sp>
          <p:nvSpPr>
            <p:cNvPr id="370" name="Freeform: Shape 369">
              <a:extLst>
                <a:ext uri="{FF2B5EF4-FFF2-40B4-BE49-F238E27FC236}">
                  <a16:creationId xmlns:a16="http://schemas.microsoft.com/office/drawing/2014/main" id="{C0C51ABF-03BA-FFE5-65AE-0A2708A44772}"/>
                </a:ext>
              </a:extLst>
            </p:cNvPr>
            <p:cNvSpPr/>
            <p:nvPr/>
          </p:nvSpPr>
          <p:spPr>
            <a:xfrm>
              <a:off x="7809199" y="3352496"/>
              <a:ext cx="114058" cy="67585"/>
            </a:xfrm>
            <a:custGeom>
              <a:avLst/>
              <a:gdLst>
                <a:gd name="connsiteX0" fmla="*/ 0 w 114058"/>
                <a:gd name="connsiteY0" fmla="*/ 11386 h 67585"/>
                <a:gd name="connsiteX1" fmla="*/ 53723 w 114058"/>
                <a:gd name="connsiteY1" fmla="*/ 700 h 67585"/>
                <a:gd name="connsiteX2" fmla="*/ 71355 w 114058"/>
                <a:gd name="connsiteY2" fmla="*/ 13579 h 67585"/>
                <a:gd name="connsiteX3" fmla="*/ 85131 w 114058"/>
                <a:gd name="connsiteY3" fmla="*/ 6454 h 67585"/>
                <a:gd name="connsiteX4" fmla="*/ 114058 w 114058"/>
                <a:gd name="connsiteY4" fmla="*/ 26731 h 67585"/>
                <a:gd name="connsiteX5" fmla="*/ 58682 w 114058"/>
                <a:gd name="connsiteY5" fmla="*/ 67285 h 67585"/>
                <a:gd name="connsiteX6" fmla="*/ 0 w 114058"/>
                <a:gd name="connsiteY6" fmla="*/ 11386 h 6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58" h="67585">
                  <a:moveTo>
                    <a:pt x="0" y="11386"/>
                  </a:moveTo>
                  <a:cubicBezTo>
                    <a:pt x="0" y="6509"/>
                    <a:pt x="41601" y="-2588"/>
                    <a:pt x="53723" y="700"/>
                  </a:cubicBezTo>
                  <a:cubicBezTo>
                    <a:pt x="63072" y="3239"/>
                    <a:pt x="69151" y="13579"/>
                    <a:pt x="71355" y="13579"/>
                  </a:cubicBezTo>
                  <a:cubicBezTo>
                    <a:pt x="73559" y="13579"/>
                    <a:pt x="80172" y="7002"/>
                    <a:pt x="85131" y="6454"/>
                  </a:cubicBezTo>
                  <a:cubicBezTo>
                    <a:pt x="90090" y="5906"/>
                    <a:pt x="114058" y="16867"/>
                    <a:pt x="114058" y="26731"/>
                  </a:cubicBezTo>
                  <a:cubicBezTo>
                    <a:pt x="114058" y="37144"/>
                    <a:pt x="93396" y="71122"/>
                    <a:pt x="58682" y="67285"/>
                  </a:cubicBezTo>
                  <a:cubicBezTo>
                    <a:pt x="23969" y="63449"/>
                    <a:pt x="0" y="26457"/>
                    <a:pt x="0" y="11386"/>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371" name="Freeform: Shape 370">
              <a:extLst>
                <a:ext uri="{FF2B5EF4-FFF2-40B4-BE49-F238E27FC236}">
                  <a16:creationId xmlns:a16="http://schemas.microsoft.com/office/drawing/2014/main" id="{02C3EF88-B438-0C9A-037E-2E9BF901E0DA}"/>
                </a:ext>
              </a:extLst>
            </p:cNvPr>
            <p:cNvSpPr/>
            <p:nvPr/>
          </p:nvSpPr>
          <p:spPr>
            <a:xfrm>
              <a:off x="7803097" y="3348243"/>
              <a:ext cx="125240" cy="74636"/>
            </a:xfrm>
            <a:custGeom>
              <a:avLst/>
              <a:gdLst>
                <a:gd name="connsiteX0" fmla="*/ 123034 w 125240"/>
                <a:gd name="connsiteY0" fmla="*/ 26106 h 74636"/>
                <a:gd name="connsiteX1" fmla="*/ 114476 w 125240"/>
                <a:gd name="connsiteY1" fmla="*/ 18105 h 74636"/>
                <a:gd name="connsiteX2" fmla="*/ 100654 w 125240"/>
                <a:gd name="connsiteY2" fmla="*/ 9401 h 74636"/>
                <a:gd name="connsiteX3" fmla="*/ 78550 w 125240"/>
                <a:gd name="connsiteY3" fmla="*/ 13547 h 74636"/>
                <a:gd name="connsiteX4" fmla="*/ 49760 w 125240"/>
                <a:gd name="connsiteY4" fmla="*/ 66 h 74636"/>
                <a:gd name="connsiteX5" fmla="*/ 3144 w 125240"/>
                <a:gd name="connsiteY5" fmla="*/ 11237 h 74636"/>
                <a:gd name="connsiteX6" fmla="*/ 2869 w 125240"/>
                <a:gd name="connsiteY6" fmla="*/ 11392 h 74636"/>
                <a:gd name="connsiteX7" fmla="*/ 1519 w 125240"/>
                <a:gd name="connsiteY7" fmla="*/ 17530 h 74636"/>
                <a:gd name="connsiteX8" fmla="*/ 43644 w 125240"/>
                <a:gd name="connsiteY8" fmla="*/ 69099 h 74636"/>
                <a:gd name="connsiteX9" fmla="*/ 116441 w 125240"/>
                <a:gd name="connsiteY9" fmla="*/ 49772 h 74636"/>
                <a:gd name="connsiteX10" fmla="*/ 123402 w 125240"/>
                <a:gd name="connsiteY10" fmla="*/ 36620 h 74636"/>
                <a:gd name="connsiteX11" fmla="*/ 124449 w 125240"/>
                <a:gd name="connsiteY11" fmla="*/ 31815 h 74636"/>
                <a:gd name="connsiteX12" fmla="*/ 124559 w 125240"/>
                <a:gd name="connsiteY12" fmla="*/ 31130 h 74636"/>
                <a:gd name="connsiteX13" fmla="*/ 124761 w 125240"/>
                <a:gd name="connsiteY13" fmla="*/ 30883 h 74636"/>
                <a:gd name="connsiteX14" fmla="*/ 123034 w 125240"/>
                <a:gd name="connsiteY14" fmla="*/ 26106 h 74636"/>
                <a:gd name="connsiteX15" fmla="*/ 60109 w 125240"/>
                <a:gd name="connsiteY15" fmla="*/ 12159 h 74636"/>
                <a:gd name="connsiteX16" fmla="*/ 75776 w 125240"/>
                <a:gd name="connsiteY16" fmla="*/ 22051 h 74636"/>
                <a:gd name="connsiteX17" fmla="*/ 80047 w 125240"/>
                <a:gd name="connsiteY17" fmla="*/ 20644 h 74636"/>
                <a:gd name="connsiteX18" fmla="*/ 104842 w 125240"/>
                <a:gd name="connsiteY18" fmla="*/ 20882 h 74636"/>
                <a:gd name="connsiteX19" fmla="*/ 114439 w 125240"/>
                <a:gd name="connsiteY19" fmla="*/ 27559 h 74636"/>
                <a:gd name="connsiteX20" fmla="*/ 104355 w 125240"/>
                <a:gd name="connsiteY20" fmla="*/ 30482 h 74636"/>
                <a:gd name="connsiteX21" fmla="*/ 84987 w 125240"/>
                <a:gd name="connsiteY21" fmla="*/ 32400 h 74636"/>
                <a:gd name="connsiteX22" fmla="*/ 47363 w 125240"/>
                <a:gd name="connsiteY22" fmla="*/ 26664 h 74636"/>
                <a:gd name="connsiteX23" fmla="*/ 16653 w 125240"/>
                <a:gd name="connsiteY23" fmla="*/ 16827 h 74636"/>
                <a:gd name="connsiteX24" fmla="*/ 16589 w 125240"/>
                <a:gd name="connsiteY24" fmla="*/ 16753 h 74636"/>
                <a:gd name="connsiteX25" fmla="*/ 16470 w 125240"/>
                <a:gd name="connsiteY25" fmla="*/ 16753 h 74636"/>
                <a:gd name="connsiteX26" fmla="*/ 14909 w 125240"/>
                <a:gd name="connsiteY26" fmla="*/ 16132 h 74636"/>
                <a:gd name="connsiteX27" fmla="*/ 42624 w 125240"/>
                <a:gd name="connsiteY27" fmla="*/ 11967 h 74636"/>
                <a:gd name="connsiteX28" fmla="*/ 60109 w 125240"/>
                <a:gd name="connsiteY28" fmla="*/ 12159 h 74636"/>
                <a:gd name="connsiteX29" fmla="*/ 108644 w 125240"/>
                <a:gd name="connsiteY29" fmla="*/ 46603 h 74636"/>
                <a:gd name="connsiteX30" fmla="*/ 67906 w 125240"/>
                <a:gd name="connsiteY30" fmla="*/ 66725 h 74636"/>
                <a:gd name="connsiteX31" fmla="*/ 10455 w 125240"/>
                <a:gd name="connsiteY31" fmla="*/ 22672 h 74636"/>
                <a:gd name="connsiteX32" fmla="*/ 47592 w 125240"/>
                <a:gd name="connsiteY32" fmla="*/ 38017 h 74636"/>
                <a:gd name="connsiteX33" fmla="*/ 88395 w 125240"/>
                <a:gd name="connsiteY33" fmla="*/ 43790 h 74636"/>
                <a:gd name="connsiteX34" fmla="*/ 113135 w 125240"/>
                <a:gd name="connsiteY34" fmla="*/ 39360 h 74636"/>
                <a:gd name="connsiteX35" fmla="*/ 108644 w 125240"/>
                <a:gd name="connsiteY35" fmla="*/ 46603 h 7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240" h="74636">
                  <a:moveTo>
                    <a:pt x="123034" y="26106"/>
                  </a:moveTo>
                  <a:cubicBezTo>
                    <a:pt x="120959" y="23001"/>
                    <a:pt x="117249" y="20279"/>
                    <a:pt x="114476" y="18105"/>
                  </a:cubicBezTo>
                  <a:cubicBezTo>
                    <a:pt x="110214" y="14781"/>
                    <a:pt x="105659" y="11511"/>
                    <a:pt x="100654" y="9401"/>
                  </a:cubicBezTo>
                  <a:cubicBezTo>
                    <a:pt x="92022" y="5775"/>
                    <a:pt x="84345" y="7620"/>
                    <a:pt x="78550" y="13547"/>
                  </a:cubicBezTo>
                  <a:cubicBezTo>
                    <a:pt x="73820" y="3400"/>
                    <a:pt x="60771" y="-573"/>
                    <a:pt x="49760" y="66"/>
                  </a:cubicBezTo>
                  <a:cubicBezTo>
                    <a:pt x="34295" y="970"/>
                    <a:pt x="17599" y="5912"/>
                    <a:pt x="3144" y="11237"/>
                  </a:cubicBezTo>
                  <a:cubicBezTo>
                    <a:pt x="3044" y="11273"/>
                    <a:pt x="2961" y="11337"/>
                    <a:pt x="2869" y="11392"/>
                  </a:cubicBezTo>
                  <a:cubicBezTo>
                    <a:pt x="187" y="11894"/>
                    <a:pt x="-1300" y="15648"/>
                    <a:pt x="1519" y="17530"/>
                  </a:cubicBezTo>
                  <a:cubicBezTo>
                    <a:pt x="7250" y="38939"/>
                    <a:pt x="23440" y="59874"/>
                    <a:pt x="43644" y="69099"/>
                  </a:cubicBezTo>
                  <a:cubicBezTo>
                    <a:pt x="69816" y="81046"/>
                    <a:pt x="100076" y="73237"/>
                    <a:pt x="116441" y="49772"/>
                  </a:cubicBezTo>
                  <a:cubicBezTo>
                    <a:pt x="119251" y="45744"/>
                    <a:pt x="121887" y="41305"/>
                    <a:pt x="123402" y="36620"/>
                  </a:cubicBezTo>
                  <a:cubicBezTo>
                    <a:pt x="123916" y="35021"/>
                    <a:pt x="124219" y="33468"/>
                    <a:pt x="124449" y="31815"/>
                  </a:cubicBezTo>
                  <a:cubicBezTo>
                    <a:pt x="124467" y="31696"/>
                    <a:pt x="124513" y="31431"/>
                    <a:pt x="124559" y="31130"/>
                  </a:cubicBezTo>
                  <a:cubicBezTo>
                    <a:pt x="124623" y="31048"/>
                    <a:pt x="124697" y="30966"/>
                    <a:pt x="124761" y="30883"/>
                  </a:cubicBezTo>
                  <a:cubicBezTo>
                    <a:pt x="125927" y="29276"/>
                    <a:pt x="124816" y="26755"/>
                    <a:pt x="123034" y="26106"/>
                  </a:cubicBezTo>
                  <a:close/>
                  <a:moveTo>
                    <a:pt x="60109" y="12159"/>
                  </a:moveTo>
                  <a:cubicBezTo>
                    <a:pt x="66281" y="13931"/>
                    <a:pt x="70386" y="18872"/>
                    <a:pt x="75776" y="22051"/>
                  </a:cubicBezTo>
                  <a:cubicBezTo>
                    <a:pt x="77218" y="22901"/>
                    <a:pt x="79422" y="22179"/>
                    <a:pt x="80047" y="20644"/>
                  </a:cubicBezTo>
                  <a:cubicBezTo>
                    <a:pt x="88532" y="12990"/>
                    <a:pt x="95723" y="14516"/>
                    <a:pt x="104842" y="20882"/>
                  </a:cubicBezTo>
                  <a:cubicBezTo>
                    <a:pt x="107386" y="22654"/>
                    <a:pt x="110821" y="25659"/>
                    <a:pt x="114439" y="27559"/>
                  </a:cubicBezTo>
                  <a:cubicBezTo>
                    <a:pt x="111059" y="28545"/>
                    <a:pt x="107680" y="29733"/>
                    <a:pt x="104355" y="30482"/>
                  </a:cubicBezTo>
                  <a:cubicBezTo>
                    <a:pt x="98037" y="31916"/>
                    <a:pt x="91453" y="32418"/>
                    <a:pt x="84987" y="32400"/>
                  </a:cubicBezTo>
                  <a:cubicBezTo>
                    <a:pt x="72259" y="32372"/>
                    <a:pt x="59623" y="29915"/>
                    <a:pt x="47363" y="26664"/>
                  </a:cubicBezTo>
                  <a:cubicBezTo>
                    <a:pt x="37142" y="23951"/>
                    <a:pt x="26654" y="20809"/>
                    <a:pt x="16653" y="16827"/>
                  </a:cubicBezTo>
                  <a:cubicBezTo>
                    <a:pt x="16653" y="16790"/>
                    <a:pt x="16635" y="16753"/>
                    <a:pt x="16589" y="16753"/>
                  </a:cubicBezTo>
                  <a:cubicBezTo>
                    <a:pt x="16552" y="16753"/>
                    <a:pt x="16516" y="16753"/>
                    <a:pt x="16470" y="16753"/>
                  </a:cubicBezTo>
                  <a:cubicBezTo>
                    <a:pt x="15946" y="16543"/>
                    <a:pt x="15423" y="16342"/>
                    <a:pt x="14909" y="16132"/>
                  </a:cubicBezTo>
                  <a:cubicBezTo>
                    <a:pt x="24211" y="15931"/>
                    <a:pt x="33716" y="13410"/>
                    <a:pt x="42624" y="11967"/>
                  </a:cubicBezTo>
                  <a:cubicBezTo>
                    <a:pt x="48373" y="11036"/>
                    <a:pt x="54434" y="10533"/>
                    <a:pt x="60109" y="12159"/>
                  </a:cubicBezTo>
                  <a:close/>
                  <a:moveTo>
                    <a:pt x="108644" y="46603"/>
                  </a:moveTo>
                  <a:cubicBezTo>
                    <a:pt x="98992" y="59774"/>
                    <a:pt x="84335" y="67072"/>
                    <a:pt x="67906" y="66725"/>
                  </a:cubicBezTo>
                  <a:cubicBezTo>
                    <a:pt x="40007" y="66140"/>
                    <a:pt x="22347" y="45306"/>
                    <a:pt x="10455" y="22672"/>
                  </a:cubicBezTo>
                  <a:cubicBezTo>
                    <a:pt x="22255" y="29057"/>
                    <a:pt x="34699" y="34236"/>
                    <a:pt x="47592" y="38017"/>
                  </a:cubicBezTo>
                  <a:cubicBezTo>
                    <a:pt x="60725" y="41871"/>
                    <a:pt x="74665" y="44155"/>
                    <a:pt x="88395" y="43790"/>
                  </a:cubicBezTo>
                  <a:cubicBezTo>
                    <a:pt x="95760" y="43589"/>
                    <a:pt x="105237" y="42593"/>
                    <a:pt x="113135" y="39360"/>
                  </a:cubicBezTo>
                  <a:cubicBezTo>
                    <a:pt x="111766" y="41844"/>
                    <a:pt x="110343" y="44292"/>
                    <a:pt x="108644" y="46603"/>
                  </a:cubicBezTo>
                  <a:close/>
                </a:path>
              </a:pathLst>
            </a:custGeom>
            <a:solidFill>
              <a:srgbClr val="191246"/>
            </a:solidFill>
            <a:ln w="9164" cap="flat">
              <a:noFill/>
              <a:prstDash val="solid"/>
              <a:miter/>
            </a:ln>
          </p:spPr>
          <p:txBody>
            <a:bodyPr rtlCol="0" anchor="ctr"/>
            <a:lstStyle/>
            <a:p>
              <a:endParaRPr lang="en-GB">
                <a:solidFill>
                  <a:schemeClr val="bg1"/>
                </a:solidFill>
              </a:endParaRPr>
            </a:p>
          </p:txBody>
        </p:sp>
        <p:sp>
          <p:nvSpPr>
            <p:cNvPr id="372" name="Freeform: Shape 371">
              <a:extLst>
                <a:ext uri="{FF2B5EF4-FFF2-40B4-BE49-F238E27FC236}">
                  <a16:creationId xmlns:a16="http://schemas.microsoft.com/office/drawing/2014/main" id="{7D17CCBB-9EC1-92BD-8464-727440DC0E5D}"/>
                </a:ext>
              </a:extLst>
            </p:cNvPr>
            <p:cNvSpPr/>
            <p:nvPr/>
          </p:nvSpPr>
          <p:spPr>
            <a:xfrm>
              <a:off x="7859227" y="3245678"/>
              <a:ext cx="58539" cy="71856"/>
            </a:xfrm>
            <a:custGeom>
              <a:avLst/>
              <a:gdLst>
                <a:gd name="connsiteX0" fmla="*/ 4182 w 58539"/>
                <a:gd name="connsiteY0" fmla="*/ 66306 h 71856"/>
                <a:gd name="connsiteX1" fmla="*/ 57097 w 58539"/>
                <a:gd name="connsiteY1" fmla="*/ 55857 h 71856"/>
                <a:gd name="connsiteX2" fmla="*/ 54847 w 58539"/>
                <a:gd name="connsiteY2" fmla="*/ 41773 h 71856"/>
                <a:gd name="connsiteX3" fmla="*/ 46527 w 58539"/>
                <a:gd name="connsiteY3" fmla="*/ 26218 h 71856"/>
                <a:gd name="connsiteX4" fmla="*/ 33091 w 58539"/>
                <a:gd name="connsiteY4" fmla="*/ 1401 h 71856"/>
                <a:gd name="connsiteX5" fmla="*/ 28013 w 58539"/>
                <a:gd name="connsiteY5" fmla="*/ 1401 h 71856"/>
                <a:gd name="connsiteX6" fmla="*/ 29785 w 58539"/>
                <a:gd name="connsiteY6" fmla="*/ 17184 h 71856"/>
                <a:gd name="connsiteX7" fmla="*/ 41503 w 58539"/>
                <a:gd name="connsiteY7" fmla="*/ 40786 h 71856"/>
                <a:gd name="connsiteX8" fmla="*/ 41265 w 58539"/>
                <a:gd name="connsiteY8" fmla="*/ 48760 h 71856"/>
                <a:gd name="connsiteX9" fmla="*/ 32963 w 58539"/>
                <a:gd name="connsiteY9" fmla="*/ 53345 h 71856"/>
                <a:gd name="connsiteX10" fmla="*/ 12869 w 58539"/>
                <a:gd name="connsiteY10" fmla="*/ 51518 h 71856"/>
                <a:gd name="connsiteX11" fmla="*/ 4182 w 58539"/>
                <a:gd name="connsiteY11" fmla="*/ 66306 h 7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39" h="71856">
                  <a:moveTo>
                    <a:pt x="4182" y="66306"/>
                  </a:moveTo>
                  <a:cubicBezTo>
                    <a:pt x="20170" y="75595"/>
                    <a:pt x="47399" y="73942"/>
                    <a:pt x="57097" y="55857"/>
                  </a:cubicBezTo>
                  <a:cubicBezTo>
                    <a:pt x="60017" y="50413"/>
                    <a:pt x="58116" y="46303"/>
                    <a:pt x="54847" y="41773"/>
                  </a:cubicBezTo>
                  <a:cubicBezTo>
                    <a:pt x="51412" y="37014"/>
                    <a:pt x="49006" y="31497"/>
                    <a:pt x="46527" y="26218"/>
                  </a:cubicBezTo>
                  <a:cubicBezTo>
                    <a:pt x="42532" y="17678"/>
                    <a:pt x="38390" y="8827"/>
                    <a:pt x="33091" y="1401"/>
                  </a:cubicBezTo>
                  <a:cubicBezTo>
                    <a:pt x="31723" y="-517"/>
                    <a:pt x="29400" y="-416"/>
                    <a:pt x="28013" y="1401"/>
                  </a:cubicBezTo>
                  <a:cubicBezTo>
                    <a:pt x="24101" y="6516"/>
                    <a:pt x="27324" y="11905"/>
                    <a:pt x="29785" y="17184"/>
                  </a:cubicBezTo>
                  <a:cubicBezTo>
                    <a:pt x="33486" y="25149"/>
                    <a:pt x="37959" y="32748"/>
                    <a:pt x="41503" y="40786"/>
                  </a:cubicBezTo>
                  <a:cubicBezTo>
                    <a:pt x="43285" y="44842"/>
                    <a:pt x="44773" y="45983"/>
                    <a:pt x="41265" y="48760"/>
                  </a:cubicBezTo>
                  <a:cubicBezTo>
                    <a:pt x="38767" y="50733"/>
                    <a:pt x="36003" y="52359"/>
                    <a:pt x="32963" y="53345"/>
                  </a:cubicBezTo>
                  <a:cubicBezTo>
                    <a:pt x="26176" y="55537"/>
                    <a:pt x="19087" y="55008"/>
                    <a:pt x="12869" y="51518"/>
                  </a:cubicBezTo>
                  <a:cubicBezTo>
                    <a:pt x="3199" y="46111"/>
                    <a:pt x="-5406" y="60744"/>
                    <a:pt x="4182" y="6630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3" name="Freeform: Shape 372">
              <a:extLst>
                <a:ext uri="{FF2B5EF4-FFF2-40B4-BE49-F238E27FC236}">
                  <a16:creationId xmlns:a16="http://schemas.microsoft.com/office/drawing/2014/main" id="{6CBB54AB-6356-499D-297C-9310EF5C6012}"/>
                </a:ext>
              </a:extLst>
            </p:cNvPr>
            <p:cNvSpPr/>
            <p:nvPr/>
          </p:nvSpPr>
          <p:spPr>
            <a:xfrm>
              <a:off x="7737416" y="3150760"/>
              <a:ext cx="90248" cy="35029"/>
            </a:xfrm>
            <a:custGeom>
              <a:avLst/>
              <a:gdLst>
                <a:gd name="connsiteX0" fmla="*/ 8785 w 90248"/>
                <a:gd name="connsiteY0" fmla="*/ 33688 h 35029"/>
                <a:gd name="connsiteX1" fmla="*/ 50092 w 90248"/>
                <a:gd name="connsiteY1" fmla="*/ 12333 h 35029"/>
                <a:gd name="connsiteX2" fmla="*/ 70452 w 90248"/>
                <a:gd name="connsiteY2" fmla="*/ 15850 h 35029"/>
                <a:gd name="connsiteX3" fmla="*/ 82620 w 90248"/>
                <a:gd name="connsiteY3" fmla="*/ 27888 h 35029"/>
                <a:gd name="connsiteX4" fmla="*/ 89590 w 90248"/>
                <a:gd name="connsiteY4" fmla="*/ 25066 h 35029"/>
                <a:gd name="connsiteX5" fmla="*/ 80003 w 90248"/>
                <a:gd name="connsiteY5" fmla="*/ 7273 h 35029"/>
                <a:gd name="connsiteX6" fmla="*/ 53655 w 90248"/>
                <a:gd name="connsiteY6" fmla="*/ 48 h 35029"/>
                <a:gd name="connsiteX7" fmla="*/ 1585 w 90248"/>
                <a:gd name="connsiteY7" fmla="*/ 26527 h 35029"/>
                <a:gd name="connsiteX8" fmla="*/ 8785 w 90248"/>
                <a:gd name="connsiteY8" fmla="*/ 33688 h 35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48" h="35029">
                  <a:moveTo>
                    <a:pt x="8785" y="33688"/>
                  </a:moveTo>
                  <a:cubicBezTo>
                    <a:pt x="20558" y="23367"/>
                    <a:pt x="33911" y="13657"/>
                    <a:pt x="50092" y="12333"/>
                  </a:cubicBezTo>
                  <a:cubicBezTo>
                    <a:pt x="56998" y="11776"/>
                    <a:pt x="64280" y="12516"/>
                    <a:pt x="70452" y="15850"/>
                  </a:cubicBezTo>
                  <a:cubicBezTo>
                    <a:pt x="76026" y="18864"/>
                    <a:pt x="77734" y="24481"/>
                    <a:pt x="82620" y="27888"/>
                  </a:cubicBezTo>
                  <a:cubicBezTo>
                    <a:pt x="85412" y="29833"/>
                    <a:pt x="88516" y="27614"/>
                    <a:pt x="89590" y="25066"/>
                  </a:cubicBezTo>
                  <a:cubicBezTo>
                    <a:pt x="92492" y="18170"/>
                    <a:pt x="85164" y="10890"/>
                    <a:pt x="80003" y="7273"/>
                  </a:cubicBezTo>
                  <a:cubicBezTo>
                    <a:pt x="72417" y="1957"/>
                    <a:pt x="62857" y="-372"/>
                    <a:pt x="53655" y="48"/>
                  </a:cubicBezTo>
                  <a:cubicBezTo>
                    <a:pt x="32891" y="1007"/>
                    <a:pt x="16168" y="12808"/>
                    <a:pt x="1585" y="26527"/>
                  </a:cubicBezTo>
                  <a:cubicBezTo>
                    <a:pt x="-3200" y="31048"/>
                    <a:pt x="3918" y="37963"/>
                    <a:pt x="8785" y="33688"/>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4" name="Freeform: Shape 373">
              <a:extLst>
                <a:ext uri="{FF2B5EF4-FFF2-40B4-BE49-F238E27FC236}">
                  <a16:creationId xmlns:a16="http://schemas.microsoft.com/office/drawing/2014/main" id="{23E3A1B5-54B4-B15D-222A-62CECF66C768}"/>
                </a:ext>
              </a:extLst>
            </p:cNvPr>
            <p:cNvSpPr/>
            <p:nvPr/>
          </p:nvSpPr>
          <p:spPr>
            <a:xfrm>
              <a:off x="7905787" y="3150691"/>
              <a:ext cx="78640" cy="45409"/>
            </a:xfrm>
            <a:custGeom>
              <a:avLst/>
              <a:gdLst>
                <a:gd name="connsiteX0" fmla="*/ 7506 w 78640"/>
                <a:gd name="connsiteY0" fmla="*/ 19801 h 45409"/>
                <a:gd name="connsiteX1" fmla="*/ 47023 w 78640"/>
                <a:gd name="connsiteY1" fmla="*/ 15682 h 45409"/>
                <a:gd name="connsiteX2" fmla="*/ 62524 w 78640"/>
                <a:gd name="connsiteY2" fmla="*/ 28350 h 45409"/>
                <a:gd name="connsiteX3" fmla="*/ 71451 w 78640"/>
                <a:gd name="connsiteY3" fmla="*/ 44864 h 45409"/>
                <a:gd name="connsiteX4" fmla="*/ 76557 w 78640"/>
                <a:gd name="connsiteY4" fmla="*/ 43531 h 45409"/>
                <a:gd name="connsiteX5" fmla="*/ 70615 w 78640"/>
                <a:gd name="connsiteY5" fmla="*/ 18239 h 45409"/>
                <a:gd name="connsiteX6" fmla="*/ 49153 w 78640"/>
                <a:gd name="connsiteY6" fmla="*/ 3260 h 45409"/>
                <a:gd name="connsiteX7" fmla="*/ 518 w 78640"/>
                <a:gd name="connsiteY7" fmla="*/ 14421 h 45409"/>
                <a:gd name="connsiteX8" fmla="*/ 7506 w 78640"/>
                <a:gd name="connsiteY8" fmla="*/ 19801 h 4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40" h="45409">
                  <a:moveTo>
                    <a:pt x="7506" y="19801"/>
                  </a:moveTo>
                  <a:cubicBezTo>
                    <a:pt x="15680" y="9443"/>
                    <a:pt x="36269" y="11151"/>
                    <a:pt x="47023" y="15682"/>
                  </a:cubicBezTo>
                  <a:cubicBezTo>
                    <a:pt x="53332" y="18340"/>
                    <a:pt x="58897" y="22486"/>
                    <a:pt x="62524" y="28350"/>
                  </a:cubicBezTo>
                  <a:cubicBezTo>
                    <a:pt x="65941" y="33876"/>
                    <a:pt x="65830" y="40946"/>
                    <a:pt x="71451" y="44864"/>
                  </a:cubicBezTo>
                  <a:cubicBezTo>
                    <a:pt x="73242" y="46116"/>
                    <a:pt x="75418" y="45020"/>
                    <a:pt x="76557" y="43531"/>
                  </a:cubicBezTo>
                  <a:cubicBezTo>
                    <a:pt x="82113" y="36278"/>
                    <a:pt x="75317" y="24341"/>
                    <a:pt x="70615" y="18239"/>
                  </a:cubicBezTo>
                  <a:cubicBezTo>
                    <a:pt x="65160" y="11179"/>
                    <a:pt x="57510" y="6292"/>
                    <a:pt x="49153" y="3260"/>
                  </a:cubicBezTo>
                  <a:cubicBezTo>
                    <a:pt x="33688" y="-2358"/>
                    <a:pt x="9518" y="-1947"/>
                    <a:pt x="518" y="14421"/>
                  </a:cubicBezTo>
                  <a:cubicBezTo>
                    <a:pt x="-1806" y="18641"/>
                    <a:pt x="4255" y="23911"/>
                    <a:pt x="7506" y="19801"/>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5" name="Freeform: Shape 374">
              <a:extLst>
                <a:ext uri="{FF2B5EF4-FFF2-40B4-BE49-F238E27FC236}">
                  <a16:creationId xmlns:a16="http://schemas.microsoft.com/office/drawing/2014/main" id="{90F8C9E1-5512-609F-51E5-2D176A58A9A7}"/>
                </a:ext>
              </a:extLst>
            </p:cNvPr>
            <p:cNvSpPr/>
            <p:nvPr/>
          </p:nvSpPr>
          <p:spPr>
            <a:xfrm>
              <a:off x="7739788" y="3215285"/>
              <a:ext cx="91938" cy="37394"/>
            </a:xfrm>
            <a:custGeom>
              <a:avLst/>
              <a:gdLst>
                <a:gd name="connsiteX0" fmla="*/ 91662 w 91938"/>
                <a:gd name="connsiteY0" fmla="*/ 32726 h 37394"/>
                <a:gd name="connsiteX1" fmla="*/ 50116 w 91938"/>
                <a:gd name="connsiteY1" fmla="*/ 11618 h 37394"/>
                <a:gd name="connsiteX2" fmla="*/ 32502 w 91938"/>
                <a:gd name="connsiteY2" fmla="*/ 15052 h 37394"/>
                <a:gd name="connsiteX3" fmla="*/ 30105 w 91938"/>
                <a:gd name="connsiteY3" fmla="*/ 13225 h 37394"/>
                <a:gd name="connsiteX4" fmla="*/ 24705 w 91938"/>
                <a:gd name="connsiteY4" fmla="*/ 3260 h 37394"/>
                <a:gd name="connsiteX5" fmla="*/ 15926 w 91938"/>
                <a:gd name="connsiteY5" fmla="*/ 5672 h 37394"/>
                <a:gd name="connsiteX6" fmla="*/ 20251 w 91938"/>
                <a:gd name="connsiteY6" fmla="*/ 15865 h 37394"/>
                <a:gd name="connsiteX7" fmla="*/ 6320 w 91938"/>
                <a:gd name="connsiteY7" fmla="*/ 5946 h 37394"/>
                <a:gd name="connsiteX8" fmla="*/ 213 w 91938"/>
                <a:gd name="connsiteY8" fmla="*/ 8503 h 37394"/>
                <a:gd name="connsiteX9" fmla="*/ 17368 w 91938"/>
                <a:gd name="connsiteY9" fmla="*/ 25218 h 37394"/>
                <a:gd name="connsiteX10" fmla="*/ 33705 w 91938"/>
                <a:gd name="connsiteY10" fmla="*/ 25802 h 37394"/>
                <a:gd name="connsiteX11" fmla="*/ 36607 w 91938"/>
                <a:gd name="connsiteY11" fmla="*/ 25327 h 37394"/>
                <a:gd name="connsiteX12" fmla="*/ 42503 w 91938"/>
                <a:gd name="connsiteY12" fmla="*/ 24295 h 37394"/>
                <a:gd name="connsiteX13" fmla="*/ 59088 w 91938"/>
                <a:gd name="connsiteY13" fmla="*/ 23154 h 37394"/>
                <a:gd name="connsiteX14" fmla="*/ 85968 w 91938"/>
                <a:gd name="connsiteY14" fmla="*/ 37074 h 37394"/>
                <a:gd name="connsiteX15" fmla="*/ 91662 w 91938"/>
                <a:gd name="connsiteY15" fmla="*/ 32726 h 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938" h="37394">
                  <a:moveTo>
                    <a:pt x="91662" y="32726"/>
                  </a:moveTo>
                  <a:cubicBezTo>
                    <a:pt x="85445" y="17463"/>
                    <a:pt x="65783" y="10001"/>
                    <a:pt x="50116" y="11618"/>
                  </a:cubicBezTo>
                  <a:cubicBezTo>
                    <a:pt x="44597" y="12184"/>
                    <a:pt x="38490" y="13928"/>
                    <a:pt x="32502" y="15052"/>
                  </a:cubicBezTo>
                  <a:cubicBezTo>
                    <a:pt x="31657" y="14513"/>
                    <a:pt x="30840" y="13938"/>
                    <a:pt x="30105" y="13225"/>
                  </a:cubicBezTo>
                  <a:cubicBezTo>
                    <a:pt x="27249" y="10467"/>
                    <a:pt x="25541" y="7096"/>
                    <a:pt x="24705" y="3260"/>
                  </a:cubicBezTo>
                  <a:cubicBezTo>
                    <a:pt x="23466" y="-2458"/>
                    <a:pt x="14806" y="-19"/>
                    <a:pt x="15926" y="5672"/>
                  </a:cubicBezTo>
                  <a:cubicBezTo>
                    <a:pt x="16652" y="9343"/>
                    <a:pt x="18148" y="12796"/>
                    <a:pt x="20251" y="15865"/>
                  </a:cubicBezTo>
                  <a:cubicBezTo>
                    <a:pt x="14686" y="15189"/>
                    <a:pt x="9792" y="12522"/>
                    <a:pt x="6320" y="5946"/>
                  </a:cubicBezTo>
                  <a:cubicBezTo>
                    <a:pt x="4594" y="2676"/>
                    <a:pt x="-1174" y="4950"/>
                    <a:pt x="213" y="8503"/>
                  </a:cubicBezTo>
                  <a:cubicBezTo>
                    <a:pt x="3262" y="16340"/>
                    <a:pt x="9296" y="22432"/>
                    <a:pt x="17368" y="25218"/>
                  </a:cubicBezTo>
                  <a:cubicBezTo>
                    <a:pt x="22556" y="27008"/>
                    <a:pt x="28177" y="26643"/>
                    <a:pt x="33705" y="25802"/>
                  </a:cubicBezTo>
                  <a:cubicBezTo>
                    <a:pt x="34679" y="25857"/>
                    <a:pt x="35652" y="25720"/>
                    <a:pt x="36607" y="25327"/>
                  </a:cubicBezTo>
                  <a:cubicBezTo>
                    <a:pt x="38609" y="24980"/>
                    <a:pt x="40584" y="24606"/>
                    <a:pt x="42503" y="24295"/>
                  </a:cubicBezTo>
                  <a:cubicBezTo>
                    <a:pt x="48059" y="23391"/>
                    <a:pt x="53431" y="22286"/>
                    <a:pt x="59088" y="23154"/>
                  </a:cubicBezTo>
                  <a:cubicBezTo>
                    <a:pt x="69833" y="24798"/>
                    <a:pt x="76427" y="33009"/>
                    <a:pt x="85968" y="37074"/>
                  </a:cubicBezTo>
                  <a:cubicBezTo>
                    <a:pt x="88622" y="38206"/>
                    <a:pt x="93095" y="36242"/>
                    <a:pt x="91662" y="3272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6" name="Freeform: Shape 375">
              <a:extLst>
                <a:ext uri="{FF2B5EF4-FFF2-40B4-BE49-F238E27FC236}">
                  <a16:creationId xmlns:a16="http://schemas.microsoft.com/office/drawing/2014/main" id="{73CE3620-BDD6-D69A-8898-5BBD4C224577}"/>
                </a:ext>
              </a:extLst>
            </p:cNvPr>
            <p:cNvSpPr/>
            <p:nvPr/>
          </p:nvSpPr>
          <p:spPr>
            <a:xfrm>
              <a:off x="7908466" y="3217522"/>
              <a:ext cx="76286" cy="37535"/>
            </a:xfrm>
            <a:custGeom>
              <a:avLst/>
              <a:gdLst>
                <a:gd name="connsiteX0" fmla="*/ 70039 w 76286"/>
                <a:gd name="connsiteY0" fmla="*/ 5964 h 37535"/>
                <a:gd name="connsiteX1" fmla="*/ 59790 w 76286"/>
                <a:gd name="connsiteY1" fmla="*/ 16039 h 37535"/>
                <a:gd name="connsiteX2" fmla="*/ 63518 w 76286"/>
                <a:gd name="connsiteY2" fmla="*/ 5690 h 37535"/>
                <a:gd name="connsiteX3" fmla="*/ 54739 w 76286"/>
                <a:gd name="connsiteY3" fmla="*/ 3279 h 37535"/>
                <a:gd name="connsiteX4" fmla="*/ 50414 w 76286"/>
                <a:gd name="connsiteY4" fmla="*/ 13362 h 37535"/>
                <a:gd name="connsiteX5" fmla="*/ 49174 w 76286"/>
                <a:gd name="connsiteY5" fmla="*/ 14577 h 37535"/>
                <a:gd name="connsiteX6" fmla="*/ 46520 w 76286"/>
                <a:gd name="connsiteY6" fmla="*/ 13874 h 37535"/>
                <a:gd name="connsiteX7" fmla="*/ 34701 w 76286"/>
                <a:gd name="connsiteY7" fmla="*/ 11627 h 37535"/>
                <a:gd name="connsiteX8" fmla="*/ 125 w 76286"/>
                <a:gd name="connsiteY8" fmla="*/ 32744 h 37535"/>
                <a:gd name="connsiteX9" fmla="*/ 5819 w 76286"/>
                <a:gd name="connsiteY9" fmla="*/ 37092 h 37535"/>
                <a:gd name="connsiteX10" fmla="*/ 27528 w 76286"/>
                <a:gd name="connsiteY10" fmla="*/ 23200 h 37535"/>
                <a:gd name="connsiteX11" fmla="*/ 41193 w 76286"/>
                <a:gd name="connsiteY11" fmla="*/ 24405 h 37535"/>
                <a:gd name="connsiteX12" fmla="*/ 45216 w 76286"/>
                <a:gd name="connsiteY12" fmla="*/ 25209 h 37535"/>
                <a:gd name="connsiteX13" fmla="*/ 48402 w 76286"/>
                <a:gd name="connsiteY13" fmla="*/ 25821 h 37535"/>
                <a:gd name="connsiteX14" fmla="*/ 61305 w 76286"/>
                <a:gd name="connsiteY14" fmla="*/ 25510 h 37535"/>
                <a:gd name="connsiteX15" fmla="*/ 76155 w 76286"/>
                <a:gd name="connsiteY15" fmla="*/ 8522 h 37535"/>
                <a:gd name="connsiteX16" fmla="*/ 70039 w 76286"/>
                <a:gd name="connsiteY16" fmla="*/ 5964 h 3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86" h="37535">
                  <a:moveTo>
                    <a:pt x="70039" y="5964"/>
                  </a:moveTo>
                  <a:cubicBezTo>
                    <a:pt x="67963" y="10531"/>
                    <a:pt x="64850" y="14678"/>
                    <a:pt x="59790" y="16039"/>
                  </a:cubicBezTo>
                  <a:cubicBezTo>
                    <a:pt x="61663" y="12860"/>
                    <a:pt x="62921" y="9371"/>
                    <a:pt x="63518" y="5690"/>
                  </a:cubicBezTo>
                  <a:cubicBezTo>
                    <a:pt x="64428" y="18"/>
                    <a:pt x="55795" y="-2494"/>
                    <a:pt x="54739" y="3279"/>
                  </a:cubicBezTo>
                  <a:cubicBezTo>
                    <a:pt x="54069" y="6941"/>
                    <a:pt x="52810" y="10449"/>
                    <a:pt x="50414" y="13362"/>
                  </a:cubicBezTo>
                  <a:cubicBezTo>
                    <a:pt x="50055" y="13792"/>
                    <a:pt x="49633" y="14194"/>
                    <a:pt x="49174" y="14577"/>
                  </a:cubicBezTo>
                  <a:cubicBezTo>
                    <a:pt x="48301" y="14312"/>
                    <a:pt x="47420" y="14057"/>
                    <a:pt x="46520" y="13874"/>
                  </a:cubicBezTo>
                  <a:cubicBezTo>
                    <a:pt x="43443" y="13235"/>
                    <a:pt x="38594" y="12056"/>
                    <a:pt x="34701" y="11627"/>
                  </a:cubicBezTo>
                  <a:cubicBezTo>
                    <a:pt x="20962" y="10111"/>
                    <a:pt x="3587" y="18687"/>
                    <a:pt x="125" y="32744"/>
                  </a:cubicBezTo>
                  <a:cubicBezTo>
                    <a:pt x="-711" y="36151"/>
                    <a:pt x="2807" y="38572"/>
                    <a:pt x="5819" y="37092"/>
                  </a:cubicBezTo>
                  <a:cubicBezTo>
                    <a:pt x="13680" y="33238"/>
                    <a:pt x="18492" y="24972"/>
                    <a:pt x="27528" y="23200"/>
                  </a:cubicBezTo>
                  <a:cubicBezTo>
                    <a:pt x="32313" y="22259"/>
                    <a:pt x="36547" y="23547"/>
                    <a:pt x="41193" y="24405"/>
                  </a:cubicBezTo>
                  <a:cubicBezTo>
                    <a:pt x="42507" y="24652"/>
                    <a:pt x="43857" y="24926"/>
                    <a:pt x="45216" y="25209"/>
                  </a:cubicBezTo>
                  <a:cubicBezTo>
                    <a:pt x="46272" y="25748"/>
                    <a:pt x="47346" y="25921"/>
                    <a:pt x="48402" y="25821"/>
                  </a:cubicBezTo>
                  <a:cubicBezTo>
                    <a:pt x="52755" y="26579"/>
                    <a:pt x="57173" y="26944"/>
                    <a:pt x="61305" y="25510"/>
                  </a:cubicBezTo>
                  <a:cubicBezTo>
                    <a:pt x="68882" y="22871"/>
                    <a:pt x="73932" y="15892"/>
                    <a:pt x="76155" y="8522"/>
                  </a:cubicBezTo>
                  <a:cubicBezTo>
                    <a:pt x="77211" y="5005"/>
                    <a:pt x="71627" y="2475"/>
                    <a:pt x="70039" y="5964"/>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377" name="TextBox 376">
              <a:extLst>
                <a:ext uri="{FF2B5EF4-FFF2-40B4-BE49-F238E27FC236}">
                  <a16:creationId xmlns:a16="http://schemas.microsoft.com/office/drawing/2014/main" id="{778A22CC-CFAC-3758-B7EB-E7773DC7CAB8}"/>
                </a:ext>
              </a:extLst>
            </p:cNvPr>
            <p:cNvSpPr txBox="1"/>
            <p:nvPr/>
          </p:nvSpPr>
          <p:spPr>
            <a:xfrm>
              <a:off x="234547" y="1150379"/>
              <a:ext cx="4256528" cy="1472326"/>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a:t>Our top experts are ready to reach the goals</a:t>
              </a:r>
            </a:p>
          </p:txBody>
        </p:sp>
      </p:grpSp>
    </p:spTree>
    <p:extLst>
      <p:ext uri="{BB962C8B-B14F-4D97-AF65-F5344CB8AC3E}">
        <p14:creationId xmlns:p14="http://schemas.microsoft.com/office/powerpoint/2010/main" val="3234984323"/>
      </p:ext>
    </p:extLst>
  </p:cSld>
  <p:clrMapOvr>
    <a:masterClrMapping/>
  </p:clrMapOvr>
  <mc:AlternateContent xmlns:mc="http://schemas.openxmlformats.org/markup-compatibility/2006">
    <mc:Choice xmlns:p159="http://schemas.microsoft.com/office/powerpoint/2015/09/main" Requires="p159">
      <p:transition spd="slow" advTm="0">
        <p159:morph option="byObject"/>
      </p:transition>
    </mc:Choice>
    <mc:Fallback>
      <p:transition spd="slow" advTm="0">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Freeform: Shape 57">
            <a:extLst>
              <a:ext uri="{FF2B5EF4-FFF2-40B4-BE49-F238E27FC236}">
                <a16:creationId xmlns:a16="http://schemas.microsoft.com/office/drawing/2014/main" id="{FBF3D0A6-0B02-AE53-9E4A-32DC71D3F35E}"/>
              </a:ext>
            </a:extLst>
          </p:cNvPr>
          <p:cNvSpPr/>
          <p:nvPr/>
        </p:nvSpPr>
        <p:spPr>
          <a:xfrm>
            <a:off x="747252" y="3519880"/>
            <a:ext cx="1115774" cy="1010020"/>
          </a:xfrm>
          <a:custGeom>
            <a:avLst/>
            <a:gdLst>
              <a:gd name="connsiteX0" fmla="*/ 644100 w 1115774"/>
              <a:gd name="connsiteY0" fmla="*/ 1011793 h 1010020"/>
              <a:gd name="connsiteX1" fmla="*/ 496821 w 1115774"/>
              <a:gd name="connsiteY1" fmla="*/ 1007551 h 1010020"/>
              <a:gd name="connsiteX2" fmla="*/ 385890 w 1115774"/>
              <a:gd name="connsiteY2" fmla="*/ 1002948 h 1010020"/>
              <a:gd name="connsiteX3" fmla="*/ 297904 w 1115774"/>
              <a:gd name="connsiteY3" fmla="*/ 1002858 h 1010020"/>
              <a:gd name="connsiteX4" fmla="*/ 282339 w 1115774"/>
              <a:gd name="connsiteY4" fmla="*/ 1001865 h 1010020"/>
              <a:gd name="connsiteX5" fmla="*/ 64885 w 1115774"/>
              <a:gd name="connsiteY5" fmla="*/ 990763 h 1010020"/>
              <a:gd name="connsiteX6" fmla="*/ 40775 w 1115774"/>
              <a:gd name="connsiteY6" fmla="*/ 996269 h 1010020"/>
              <a:gd name="connsiteX7" fmla="*/ 10364 w 1115774"/>
              <a:gd name="connsiteY7" fmla="*/ 902308 h 1010020"/>
              <a:gd name="connsiteX8" fmla="*/ 12794 w 1115774"/>
              <a:gd name="connsiteY8" fmla="*/ 637666 h 1010020"/>
              <a:gd name="connsiteX9" fmla="*/ 90077 w 1115774"/>
              <a:gd name="connsiteY9" fmla="*/ 307495 h 1010020"/>
              <a:gd name="connsiteX10" fmla="*/ 155304 w 1115774"/>
              <a:gd name="connsiteY10" fmla="*/ 202341 h 1010020"/>
              <a:gd name="connsiteX11" fmla="*/ 212972 w 1115774"/>
              <a:gd name="connsiteY11" fmla="*/ 160281 h 1010020"/>
              <a:gd name="connsiteX12" fmla="*/ 236185 w 1115774"/>
              <a:gd name="connsiteY12" fmla="*/ 131037 h 1010020"/>
              <a:gd name="connsiteX13" fmla="*/ 271992 w 1115774"/>
              <a:gd name="connsiteY13" fmla="*/ 116866 h 1010020"/>
              <a:gd name="connsiteX14" fmla="*/ 298802 w 1115774"/>
              <a:gd name="connsiteY14" fmla="*/ 93489 h 1010020"/>
              <a:gd name="connsiteX15" fmla="*/ 327771 w 1115774"/>
              <a:gd name="connsiteY15" fmla="*/ 84643 h 1010020"/>
              <a:gd name="connsiteX16" fmla="*/ 440051 w 1115774"/>
              <a:gd name="connsiteY16" fmla="*/ 46463 h 1010020"/>
              <a:gd name="connsiteX17" fmla="*/ 473699 w 1115774"/>
              <a:gd name="connsiteY17" fmla="*/ 36444 h 1010020"/>
              <a:gd name="connsiteX18" fmla="*/ 499521 w 1115774"/>
              <a:gd name="connsiteY18" fmla="*/ 13879 h 1010020"/>
              <a:gd name="connsiteX19" fmla="*/ 546484 w 1115774"/>
              <a:gd name="connsiteY19" fmla="*/ 11803 h 1010020"/>
              <a:gd name="connsiteX20" fmla="*/ 737576 w 1115774"/>
              <a:gd name="connsiteY20" fmla="*/ 33194 h 1010020"/>
              <a:gd name="connsiteX21" fmla="*/ 780671 w 1115774"/>
              <a:gd name="connsiteY21" fmla="*/ 35541 h 1010020"/>
              <a:gd name="connsiteX22" fmla="*/ 803073 w 1115774"/>
              <a:gd name="connsiteY22" fmla="*/ 86087 h 1010020"/>
              <a:gd name="connsiteX23" fmla="*/ 826195 w 1115774"/>
              <a:gd name="connsiteY23" fmla="*/ 91593 h 1010020"/>
              <a:gd name="connsiteX24" fmla="*/ 846976 w 1115774"/>
              <a:gd name="connsiteY24" fmla="*/ 102334 h 1010020"/>
              <a:gd name="connsiteX25" fmla="*/ 859393 w 1115774"/>
              <a:gd name="connsiteY25" fmla="*/ 109915 h 1010020"/>
              <a:gd name="connsiteX26" fmla="*/ 1042836 w 1115774"/>
              <a:gd name="connsiteY26" fmla="*/ 313452 h 1010020"/>
              <a:gd name="connsiteX27" fmla="*/ 1062899 w 1115774"/>
              <a:gd name="connsiteY27" fmla="*/ 384938 h 1010020"/>
              <a:gd name="connsiteX28" fmla="*/ 1078555 w 1115774"/>
              <a:gd name="connsiteY28" fmla="*/ 492527 h 1010020"/>
              <a:gd name="connsiteX29" fmla="*/ 1077655 w 1115774"/>
              <a:gd name="connsiteY29" fmla="*/ 553453 h 1010020"/>
              <a:gd name="connsiteX30" fmla="*/ 1088270 w 1115774"/>
              <a:gd name="connsiteY30" fmla="*/ 586579 h 1010020"/>
              <a:gd name="connsiteX31" fmla="*/ 1085213 w 1115774"/>
              <a:gd name="connsiteY31" fmla="*/ 640373 h 1010020"/>
              <a:gd name="connsiteX32" fmla="*/ 1106264 w 1115774"/>
              <a:gd name="connsiteY32" fmla="*/ 807354 h 1010020"/>
              <a:gd name="connsiteX33" fmla="*/ 1106264 w 1115774"/>
              <a:gd name="connsiteY33" fmla="*/ 911965 h 1010020"/>
              <a:gd name="connsiteX34" fmla="*/ 1107615 w 1115774"/>
              <a:gd name="connsiteY34" fmla="*/ 921895 h 1010020"/>
              <a:gd name="connsiteX35" fmla="*/ 1112381 w 1115774"/>
              <a:gd name="connsiteY35" fmla="*/ 930740 h 1010020"/>
              <a:gd name="connsiteX36" fmla="*/ 1112381 w 1115774"/>
              <a:gd name="connsiteY36" fmla="*/ 930740 h 1010020"/>
              <a:gd name="connsiteX37" fmla="*/ 1091510 w 1115774"/>
              <a:gd name="connsiteY37" fmla="*/ 977313 h 1010020"/>
              <a:gd name="connsiteX38" fmla="*/ 994434 w 1115774"/>
              <a:gd name="connsiteY38" fmla="*/ 990852 h 1010020"/>
              <a:gd name="connsiteX39" fmla="*/ 979859 w 1115774"/>
              <a:gd name="connsiteY39" fmla="*/ 992568 h 1010020"/>
              <a:gd name="connsiteX40" fmla="*/ 949270 w 1115774"/>
              <a:gd name="connsiteY40" fmla="*/ 996449 h 1010020"/>
              <a:gd name="connsiteX41" fmla="*/ 949270 w 1115774"/>
              <a:gd name="connsiteY41" fmla="*/ 996449 h 1010020"/>
              <a:gd name="connsiteX42" fmla="*/ 883864 w 1115774"/>
              <a:gd name="connsiteY42" fmla="*/ 996900 h 1010020"/>
              <a:gd name="connsiteX43" fmla="*/ 819447 w 1115774"/>
              <a:gd name="connsiteY43" fmla="*/ 999066 h 1010020"/>
              <a:gd name="connsiteX44" fmla="*/ 819447 w 1115774"/>
              <a:gd name="connsiteY44" fmla="*/ 999066 h 1010020"/>
              <a:gd name="connsiteX45" fmla="*/ 644100 w 1115774"/>
              <a:gd name="connsiteY45" fmla="*/ 1011793 h 10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5774" h="1010020">
                <a:moveTo>
                  <a:pt x="644100" y="1011793"/>
                </a:moveTo>
                <a:cubicBezTo>
                  <a:pt x="595966" y="1011793"/>
                  <a:pt x="549454" y="1009898"/>
                  <a:pt x="496821" y="1007551"/>
                </a:cubicBezTo>
                <a:cubicBezTo>
                  <a:pt x="455976" y="1007551"/>
                  <a:pt x="424577" y="996178"/>
                  <a:pt x="385890" y="1002948"/>
                </a:cubicBezTo>
                <a:cubicBezTo>
                  <a:pt x="355482" y="1011793"/>
                  <a:pt x="329660" y="1004843"/>
                  <a:pt x="297904" y="1002858"/>
                </a:cubicBezTo>
                <a:cubicBezTo>
                  <a:pt x="297453" y="1002767"/>
                  <a:pt x="283058" y="1001955"/>
                  <a:pt x="282339" y="1001865"/>
                </a:cubicBezTo>
                <a:cubicBezTo>
                  <a:pt x="209645" y="999066"/>
                  <a:pt x="137760" y="991846"/>
                  <a:pt x="64885" y="990763"/>
                </a:cubicBezTo>
                <a:cubicBezTo>
                  <a:pt x="63086" y="1001955"/>
                  <a:pt x="46442" y="1007732"/>
                  <a:pt x="40775" y="996269"/>
                </a:cubicBezTo>
                <a:cubicBezTo>
                  <a:pt x="26739" y="965580"/>
                  <a:pt x="16664" y="935163"/>
                  <a:pt x="10364" y="902308"/>
                </a:cubicBezTo>
                <a:cubicBezTo>
                  <a:pt x="-5380" y="814936"/>
                  <a:pt x="11805" y="725670"/>
                  <a:pt x="12794" y="637666"/>
                </a:cubicBezTo>
                <a:cubicBezTo>
                  <a:pt x="13784" y="520960"/>
                  <a:pt x="35105" y="412286"/>
                  <a:pt x="90077" y="307495"/>
                </a:cubicBezTo>
                <a:cubicBezTo>
                  <a:pt x="107890" y="270579"/>
                  <a:pt x="125974" y="231857"/>
                  <a:pt x="155304" y="202341"/>
                </a:cubicBezTo>
                <a:cubicBezTo>
                  <a:pt x="171949" y="184922"/>
                  <a:pt x="192549" y="172647"/>
                  <a:pt x="212972" y="160281"/>
                </a:cubicBezTo>
                <a:cubicBezTo>
                  <a:pt x="223500" y="152970"/>
                  <a:pt x="227188" y="139792"/>
                  <a:pt x="236185" y="131037"/>
                </a:cubicBezTo>
                <a:cubicBezTo>
                  <a:pt x="245452" y="120476"/>
                  <a:pt x="260115" y="121650"/>
                  <a:pt x="271992" y="116866"/>
                </a:cubicBezTo>
                <a:cubicBezTo>
                  <a:pt x="282427" y="110818"/>
                  <a:pt x="288366" y="99806"/>
                  <a:pt x="298802" y="93489"/>
                </a:cubicBezTo>
                <a:cubicBezTo>
                  <a:pt x="307529" y="87802"/>
                  <a:pt x="317876" y="86177"/>
                  <a:pt x="327771" y="84643"/>
                </a:cubicBezTo>
                <a:cubicBezTo>
                  <a:pt x="366728" y="78595"/>
                  <a:pt x="404064" y="62259"/>
                  <a:pt x="440051" y="46463"/>
                </a:cubicBezTo>
                <a:cubicBezTo>
                  <a:pt x="450759" y="41950"/>
                  <a:pt x="461645" y="35541"/>
                  <a:pt x="473699" y="36444"/>
                </a:cubicBezTo>
                <a:cubicBezTo>
                  <a:pt x="488815" y="40145"/>
                  <a:pt x="488815" y="19655"/>
                  <a:pt x="499521" y="13879"/>
                </a:cubicBezTo>
                <a:cubicBezTo>
                  <a:pt x="508968" y="1694"/>
                  <a:pt x="537487" y="-4895"/>
                  <a:pt x="546484" y="11803"/>
                </a:cubicBezTo>
                <a:cubicBezTo>
                  <a:pt x="608831" y="27057"/>
                  <a:pt x="673069" y="41228"/>
                  <a:pt x="737576" y="33194"/>
                </a:cubicBezTo>
                <a:cubicBezTo>
                  <a:pt x="745762" y="13609"/>
                  <a:pt x="776172" y="11803"/>
                  <a:pt x="780671" y="35541"/>
                </a:cubicBezTo>
                <a:cubicBezTo>
                  <a:pt x="794346" y="48900"/>
                  <a:pt x="791827" y="71645"/>
                  <a:pt x="803073" y="86087"/>
                </a:cubicBezTo>
                <a:cubicBezTo>
                  <a:pt x="809010" y="91322"/>
                  <a:pt x="818817" y="89247"/>
                  <a:pt x="826195" y="91593"/>
                </a:cubicBezTo>
                <a:cubicBezTo>
                  <a:pt x="833661" y="93939"/>
                  <a:pt x="840408" y="98182"/>
                  <a:pt x="846976" y="102334"/>
                </a:cubicBezTo>
                <a:cubicBezTo>
                  <a:pt x="847516" y="102695"/>
                  <a:pt x="858852" y="109645"/>
                  <a:pt x="859393" y="109915"/>
                </a:cubicBezTo>
                <a:cubicBezTo>
                  <a:pt x="936766" y="154324"/>
                  <a:pt x="1029251" y="218137"/>
                  <a:pt x="1042836" y="313452"/>
                </a:cubicBezTo>
                <a:cubicBezTo>
                  <a:pt x="1041668" y="339808"/>
                  <a:pt x="1061640" y="359394"/>
                  <a:pt x="1062899" y="384938"/>
                </a:cubicBezTo>
                <a:cubicBezTo>
                  <a:pt x="1067757" y="421042"/>
                  <a:pt x="1058400" y="460395"/>
                  <a:pt x="1078555" y="492527"/>
                </a:cubicBezTo>
                <a:cubicBezTo>
                  <a:pt x="1086922" y="512295"/>
                  <a:pt x="1077745" y="533235"/>
                  <a:pt x="1077655" y="553453"/>
                </a:cubicBezTo>
                <a:cubicBezTo>
                  <a:pt x="1077655" y="565458"/>
                  <a:pt x="1084853" y="575567"/>
                  <a:pt x="1088270" y="586579"/>
                </a:cubicBezTo>
                <a:cubicBezTo>
                  <a:pt x="1093759" y="604450"/>
                  <a:pt x="1086021" y="622412"/>
                  <a:pt x="1085213" y="640373"/>
                </a:cubicBezTo>
                <a:cubicBezTo>
                  <a:pt x="1087372" y="696245"/>
                  <a:pt x="1104285" y="753198"/>
                  <a:pt x="1106264" y="807354"/>
                </a:cubicBezTo>
                <a:cubicBezTo>
                  <a:pt x="1108603" y="842375"/>
                  <a:pt x="1108693" y="877306"/>
                  <a:pt x="1106264" y="911965"/>
                </a:cubicBezTo>
                <a:cubicBezTo>
                  <a:pt x="1106264" y="912507"/>
                  <a:pt x="1106264" y="918103"/>
                  <a:pt x="1107615" y="921895"/>
                </a:cubicBezTo>
                <a:cubicBezTo>
                  <a:pt x="1108783" y="925053"/>
                  <a:pt x="1110582" y="927941"/>
                  <a:pt x="1112381" y="930740"/>
                </a:cubicBezTo>
                <a:lnTo>
                  <a:pt x="1112381" y="930740"/>
                </a:lnTo>
                <a:cubicBezTo>
                  <a:pt x="1127858" y="951680"/>
                  <a:pt x="1116970" y="974787"/>
                  <a:pt x="1091510" y="977313"/>
                </a:cubicBezTo>
                <a:cubicBezTo>
                  <a:pt x="1058761" y="983361"/>
                  <a:pt x="1024662" y="987333"/>
                  <a:pt x="994434" y="990852"/>
                </a:cubicBezTo>
                <a:cubicBezTo>
                  <a:pt x="993804" y="990943"/>
                  <a:pt x="980489" y="992477"/>
                  <a:pt x="979859" y="992568"/>
                </a:cubicBezTo>
                <a:cubicBezTo>
                  <a:pt x="971312" y="993560"/>
                  <a:pt x="958447" y="995095"/>
                  <a:pt x="949270" y="996449"/>
                </a:cubicBezTo>
                <a:lnTo>
                  <a:pt x="949270" y="996449"/>
                </a:lnTo>
                <a:cubicBezTo>
                  <a:pt x="927589" y="999969"/>
                  <a:pt x="905455" y="1001684"/>
                  <a:pt x="883864" y="996900"/>
                </a:cubicBezTo>
                <a:cubicBezTo>
                  <a:pt x="862720" y="991665"/>
                  <a:pt x="840498" y="995005"/>
                  <a:pt x="819447" y="999066"/>
                </a:cubicBezTo>
                <a:lnTo>
                  <a:pt x="819447" y="999066"/>
                </a:lnTo>
                <a:cubicBezTo>
                  <a:pt x="760518" y="1009266"/>
                  <a:pt x="706627" y="1011522"/>
                  <a:pt x="644100" y="1011793"/>
                </a:cubicBezTo>
                <a:close/>
              </a:path>
            </a:pathLst>
          </a:custGeom>
          <a:solidFill>
            <a:srgbClr val="B2C5F4"/>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pic>
        <p:nvPicPr>
          <p:cNvPr id="4" name="Picture 3" descr="A white and blue background&#10;&#10;AI-generated content may be incorrect.">
            <a:extLst>
              <a:ext uri="{FF2B5EF4-FFF2-40B4-BE49-F238E27FC236}">
                <a16:creationId xmlns:a16="http://schemas.microsoft.com/office/drawing/2014/main" id="{3E004CE3-9BA9-69F9-883A-61CFD526317B}"/>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9549201F-4C62-73C1-5D02-47FC1133D852}"/>
              </a:ext>
            </a:extLst>
          </p:cNvPr>
          <p:cNvSpPr txBox="1"/>
          <p:nvPr/>
        </p:nvSpPr>
        <p:spPr>
          <a:xfrm>
            <a:off x="299484" y="407551"/>
            <a:ext cx="209512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7333D"/>
                </a:solidFill>
                <a:effectLst/>
                <a:uLnTx/>
                <a:uFillTx/>
                <a:latin typeface="Darker Grotesque" pitchFamily="2" charset="0"/>
              </a:rPr>
              <a:t>Our</a:t>
            </a:r>
            <a:r>
              <a:rPr lang="en-US" kern="0">
                <a:solidFill>
                  <a:srgbClr val="27333D"/>
                </a:solidFill>
                <a:latin typeface="Darker Grotesque" pitchFamily="2" charset="0"/>
              </a:rPr>
              <a:t> Engineering Team</a:t>
            </a:r>
            <a:endParaRPr kumimoji="0" lang="en-US" b="0" i="0" u="none" strike="noStrike" kern="0" cap="none" spc="0" normalizeH="0" baseline="0" noProof="0">
              <a:ln>
                <a:noFill/>
              </a:ln>
              <a:solidFill>
                <a:srgbClr val="27333D"/>
              </a:solidFill>
              <a:effectLst/>
              <a:uLnTx/>
              <a:uFillTx/>
              <a:latin typeface="Darker Grotesque" pitchFamily="2" charset="0"/>
            </a:endParaRPr>
          </a:p>
        </p:txBody>
      </p:sp>
      <p:grpSp>
        <p:nvGrpSpPr>
          <p:cNvPr id="198" name="Group 197">
            <a:extLst>
              <a:ext uri="{FF2B5EF4-FFF2-40B4-BE49-F238E27FC236}">
                <a16:creationId xmlns:a16="http://schemas.microsoft.com/office/drawing/2014/main" id="{B60CB1FD-86EF-DC1D-C131-0368402999EF}"/>
              </a:ext>
            </a:extLst>
          </p:cNvPr>
          <p:cNvGrpSpPr/>
          <p:nvPr/>
        </p:nvGrpSpPr>
        <p:grpSpPr>
          <a:xfrm>
            <a:off x="236310" y="407551"/>
            <a:ext cx="11709360" cy="4608733"/>
            <a:chOff x="234547" y="338873"/>
            <a:chExt cx="11709360" cy="4608733"/>
          </a:xfrm>
        </p:grpSpPr>
        <p:cxnSp>
          <p:nvCxnSpPr>
            <p:cNvPr id="6" name="Straight Connector 5">
              <a:extLst>
                <a:ext uri="{FF2B5EF4-FFF2-40B4-BE49-F238E27FC236}">
                  <a16:creationId xmlns:a16="http://schemas.microsoft.com/office/drawing/2014/main" id="{DAF469FA-AF7F-70C6-5D0C-057DB7FD6D02}"/>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09683DC7-473B-6AA2-69C1-28122D7CF70F}"/>
                </a:ext>
              </a:extLst>
            </p:cNvPr>
            <p:cNvSpPr/>
            <p:nvPr/>
          </p:nvSpPr>
          <p:spPr>
            <a:xfrm>
              <a:off x="5842207" y="338873"/>
              <a:ext cx="507586" cy="507586"/>
            </a:xfrm>
            <a:prstGeom prst="ellipse">
              <a:avLst/>
            </a:prstGeom>
            <a:solidFill>
              <a:schemeClr val="tx1"/>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52" name="Graphic 51">
              <a:extLst>
                <a:ext uri="{FF2B5EF4-FFF2-40B4-BE49-F238E27FC236}">
                  <a16:creationId xmlns:a16="http://schemas.microsoft.com/office/drawing/2014/main" id="{31D8CC29-B332-A082-0B8B-3852195CB9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55" name="TextBox 54">
              <a:extLst>
                <a:ext uri="{FF2B5EF4-FFF2-40B4-BE49-F238E27FC236}">
                  <a16:creationId xmlns:a16="http://schemas.microsoft.com/office/drawing/2014/main" id="{118CC0BC-9F25-3A6C-64BF-FE311F5FE633}"/>
                </a:ext>
              </a:extLst>
            </p:cNvPr>
            <p:cNvSpPr txBox="1"/>
            <p:nvPr/>
          </p:nvSpPr>
          <p:spPr>
            <a:xfrm>
              <a:off x="2413542" y="4671889"/>
              <a:ext cx="825867" cy="275717"/>
            </a:xfrm>
            <a:prstGeom prst="rect">
              <a:avLst/>
            </a:prstGeom>
            <a:noFill/>
          </p:spPr>
          <p:txBody>
            <a:bodyPr wrap="none" rtlCol="0">
              <a:spAutoFit/>
            </a:bodyPr>
            <a:lstStyle/>
            <a:p>
              <a:pPr algn="ctr">
                <a:lnSpc>
                  <a:spcPct val="70000"/>
                </a:lnSpc>
              </a:pPr>
              <a:r>
                <a:rPr lang="en-US" sz="1600" err="1">
                  <a:solidFill>
                    <a:srgbClr val="27333D"/>
                  </a:solidFill>
                  <a:latin typeface="+mj-lt"/>
                </a:rPr>
                <a:t>Muneel</a:t>
              </a:r>
              <a:endParaRPr lang="en-GB" sz="1600">
                <a:solidFill>
                  <a:srgbClr val="27333D"/>
                </a:solidFill>
                <a:latin typeface="+mj-lt"/>
              </a:endParaRPr>
            </a:p>
          </p:txBody>
        </p:sp>
        <p:sp>
          <p:nvSpPr>
            <p:cNvPr id="56" name="Rounded Rectangle 24">
              <a:extLst>
                <a:ext uri="{FF2B5EF4-FFF2-40B4-BE49-F238E27FC236}">
                  <a16:creationId xmlns:a16="http://schemas.microsoft.com/office/drawing/2014/main" id="{C307511C-C5D3-F3C7-D94F-C9E1EE2025B3}"/>
                </a:ext>
              </a:extLst>
            </p:cNvPr>
            <p:cNvSpPr/>
            <p:nvPr/>
          </p:nvSpPr>
          <p:spPr>
            <a:xfrm>
              <a:off x="2143125" y="3229987"/>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57" name="Freeform: Shape 56">
              <a:extLst>
                <a:ext uri="{FF2B5EF4-FFF2-40B4-BE49-F238E27FC236}">
                  <a16:creationId xmlns:a16="http://schemas.microsoft.com/office/drawing/2014/main" id="{A9F79030-32C1-4A99-D280-1A8DEBAD5FD2}"/>
                </a:ext>
              </a:extLst>
            </p:cNvPr>
            <p:cNvSpPr/>
            <p:nvPr/>
          </p:nvSpPr>
          <p:spPr>
            <a:xfrm>
              <a:off x="2728339" y="3422713"/>
              <a:ext cx="272746" cy="137467"/>
            </a:xfrm>
            <a:custGeom>
              <a:avLst/>
              <a:gdLst>
                <a:gd name="connsiteX0" fmla="*/ 269204 w 272746"/>
                <a:gd name="connsiteY0" fmla="*/ 135867 h 137467"/>
                <a:gd name="connsiteX1" fmla="*/ 255799 w 272746"/>
                <a:gd name="connsiteY1" fmla="*/ 65825 h 137467"/>
                <a:gd name="connsiteX2" fmla="*/ 234748 w 272746"/>
                <a:gd name="connsiteY2" fmla="*/ 26021 h 137467"/>
                <a:gd name="connsiteX3" fmla="*/ 133084 w 272746"/>
                <a:gd name="connsiteY3" fmla="*/ 2192 h 137467"/>
                <a:gd name="connsiteX4" fmla="*/ 55350 w 272746"/>
                <a:gd name="connsiteY4" fmla="*/ 11850 h 137467"/>
                <a:gd name="connsiteX5" fmla="*/ 6679 w 272746"/>
                <a:gd name="connsiteY5" fmla="*/ 56619 h 137467"/>
                <a:gd name="connsiteX6" fmla="*/ 19543 w 272746"/>
                <a:gd name="connsiteY6" fmla="*/ 89294 h 137467"/>
                <a:gd name="connsiteX7" fmla="*/ 269204 w 272746"/>
                <a:gd name="connsiteY7" fmla="*/ 135867 h 1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746" h="137467">
                  <a:moveTo>
                    <a:pt x="269204" y="135867"/>
                  </a:moveTo>
                  <a:cubicBezTo>
                    <a:pt x="288098" y="126841"/>
                    <a:pt x="265426" y="71061"/>
                    <a:pt x="255799" y="65825"/>
                  </a:cubicBezTo>
                  <a:cubicBezTo>
                    <a:pt x="248781" y="62035"/>
                    <a:pt x="248871" y="35408"/>
                    <a:pt x="234748" y="26021"/>
                  </a:cubicBezTo>
                  <a:cubicBezTo>
                    <a:pt x="215674" y="13385"/>
                    <a:pt x="155126" y="3997"/>
                    <a:pt x="133084" y="2192"/>
                  </a:cubicBezTo>
                  <a:cubicBezTo>
                    <a:pt x="111941" y="477"/>
                    <a:pt x="75143" y="4088"/>
                    <a:pt x="55350" y="11850"/>
                  </a:cubicBezTo>
                  <a:cubicBezTo>
                    <a:pt x="31420" y="21147"/>
                    <a:pt x="17835" y="36671"/>
                    <a:pt x="6679" y="56619"/>
                  </a:cubicBezTo>
                  <a:cubicBezTo>
                    <a:pt x="-339" y="69166"/>
                    <a:pt x="5778" y="85050"/>
                    <a:pt x="19543" y="89294"/>
                  </a:cubicBezTo>
                  <a:cubicBezTo>
                    <a:pt x="80002" y="107887"/>
                    <a:pt x="231328" y="151662"/>
                    <a:pt x="269204" y="13586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58" name="Freeform: Shape 57">
              <a:extLst>
                <a:ext uri="{FF2B5EF4-FFF2-40B4-BE49-F238E27FC236}">
                  <a16:creationId xmlns:a16="http://schemas.microsoft.com/office/drawing/2014/main" id="{1DD307EF-6E87-86D6-E0B8-C81129CC70D8}"/>
                </a:ext>
              </a:extLst>
            </p:cNvPr>
            <p:cNvSpPr/>
            <p:nvPr/>
          </p:nvSpPr>
          <p:spPr>
            <a:xfrm>
              <a:off x="2230908" y="3454441"/>
              <a:ext cx="1115774" cy="1010020"/>
            </a:xfrm>
            <a:custGeom>
              <a:avLst/>
              <a:gdLst>
                <a:gd name="connsiteX0" fmla="*/ 644100 w 1115774"/>
                <a:gd name="connsiteY0" fmla="*/ 1011793 h 1010020"/>
                <a:gd name="connsiteX1" fmla="*/ 496821 w 1115774"/>
                <a:gd name="connsiteY1" fmla="*/ 1007551 h 1010020"/>
                <a:gd name="connsiteX2" fmla="*/ 385890 w 1115774"/>
                <a:gd name="connsiteY2" fmla="*/ 1002948 h 1010020"/>
                <a:gd name="connsiteX3" fmla="*/ 297904 w 1115774"/>
                <a:gd name="connsiteY3" fmla="*/ 1002858 h 1010020"/>
                <a:gd name="connsiteX4" fmla="*/ 282339 w 1115774"/>
                <a:gd name="connsiteY4" fmla="*/ 1001865 h 1010020"/>
                <a:gd name="connsiteX5" fmla="*/ 64885 w 1115774"/>
                <a:gd name="connsiteY5" fmla="*/ 990763 h 1010020"/>
                <a:gd name="connsiteX6" fmla="*/ 40775 w 1115774"/>
                <a:gd name="connsiteY6" fmla="*/ 996269 h 1010020"/>
                <a:gd name="connsiteX7" fmla="*/ 10364 w 1115774"/>
                <a:gd name="connsiteY7" fmla="*/ 902308 h 1010020"/>
                <a:gd name="connsiteX8" fmla="*/ 12794 w 1115774"/>
                <a:gd name="connsiteY8" fmla="*/ 637666 h 1010020"/>
                <a:gd name="connsiteX9" fmla="*/ 90077 w 1115774"/>
                <a:gd name="connsiteY9" fmla="*/ 307495 h 1010020"/>
                <a:gd name="connsiteX10" fmla="*/ 155304 w 1115774"/>
                <a:gd name="connsiteY10" fmla="*/ 202341 h 1010020"/>
                <a:gd name="connsiteX11" fmla="*/ 212972 w 1115774"/>
                <a:gd name="connsiteY11" fmla="*/ 160281 h 1010020"/>
                <a:gd name="connsiteX12" fmla="*/ 236185 w 1115774"/>
                <a:gd name="connsiteY12" fmla="*/ 131037 h 1010020"/>
                <a:gd name="connsiteX13" fmla="*/ 271992 w 1115774"/>
                <a:gd name="connsiteY13" fmla="*/ 116866 h 1010020"/>
                <a:gd name="connsiteX14" fmla="*/ 298802 w 1115774"/>
                <a:gd name="connsiteY14" fmla="*/ 93489 h 1010020"/>
                <a:gd name="connsiteX15" fmla="*/ 327771 w 1115774"/>
                <a:gd name="connsiteY15" fmla="*/ 84643 h 1010020"/>
                <a:gd name="connsiteX16" fmla="*/ 440051 w 1115774"/>
                <a:gd name="connsiteY16" fmla="*/ 46463 h 1010020"/>
                <a:gd name="connsiteX17" fmla="*/ 473699 w 1115774"/>
                <a:gd name="connsiteY17" fmla="*/ 36444 h 1010020"/>
                <a:gd name="connsiteX18" fmla="*/ 499521 w 1115774"/>
                <a:gd name="connsiteY18" fmla="*/ 13879 h 1010020"/>
                <a:gd name="connsiteX19" fmla="*/ 546484 w 1115774"/>
                <a:gd name="connsiteY19" fmla="*/ 11803 h 1010020"/>
                <a:gd name="connsiteX20" fmla="*/ 737576 w 1115774"/>
                <a:gd name="connsiteY20" fmla="*/ 33194 h 1010020"/>
                <a:gd name="connsiteX21" fmla="*/ 780671 w 1115774"/>
                <a:gd name="connsiteY21" fmla="*/ 35541 h 1010020"/>
                <a:gd name="connsiteX22" fmla="*/ 803073 w 1115774"/>
                <a:gd name="connsiteY22" fmla="*/ 86087 h 1010020"/>
                <a:gd name="connsiteX23" fmla="*/ 826195 w 1115774"/>
                <a:gd name="connsiteY23" fmla="*/ 91593 h 1010020"/>
                <a:gd name="connsiteX24" fmla="*/ 846976 w 1115774"/>
                <a:gd name="connsiteY24" fmla="*/ 102334 h 1010020"/>
                <a:gd name="connsiteX25" fmla="*/ 859393 w 1115774"/>
                <a:gd name="connsiteY25" fmla="*/ 109915 h 1010020"/>
                <a:gd name="connsiteX26" fmla="*/ 1042836 w 1115774"/>
                <a:gd name="connsiteY26" fmla="*/ 313452 h 1010020"/>
                <a:gd name="connsiteX27" fmla="*/ 1062899 w 1115774"/>
                <a:gd name="connsiteY27" fmla="*/ 384938 h 1010020"/>
                <a:gd name="connsiteX28" fmla="*/ 1078555 w 1115774"/>
                <a:gd name="connsiteY28" fmla="*/ 492527 h 1010020"/>
                <a:gd name="connsiteX29" fmla="*/ 1077655 w 1115774"/>
                <a:gd name="connsiteY29" fmla="*/ 553453 h 1010020"/>
                <a:gd name="connsiteX30" fmla="*/ 1088270 w 1115774"/>
                <a:gd name="connsiteY30" fmla="*/ 586579 h 1010020"/>
                <a:gd name="connsiteX31" fmla="*/ 1085213 w 1115774"/>
                <a:gd name="connsiteY31" fmla="*/ 640373 h 1010020"/>
                <a:gd name="connsiteX32" fmla="*/ 1106264 w 1115774"/>
                <a:gd name="connsiteY32" fmla="*/ 807354 h 1010020"/>
                <a:gd name="connsiteX33" fmla="*/ 1106264 w 1115774"/>
                <a:gd name="connsiteY33" fmla="*/ 911965 h 1010020"/>
                <a:gd name="connsiteX34" fmla="*/ 1107615 w 1115774"/>
                <a:gd name="connsiteY34" fmla="*/ 921895 h 1010020"/>
                <a:gd name="connsiteX35" fmla="*/ 1112381 w 1115774"/>
                <a:gd name="connsiteY35" fmla="*/ 930740 h 1010020"/>
                <a:gd name="connsiteX36" fmla="*/ 1112381 w 1115774"/>
                <a:gd name="connsiteY36" fmla="*/ 930740 h 1010020"/>
                <a:gd name="connsiteX37" fmla="*/ 1091510 w 1115774"/>
                <a:gd name="connsiteY37" fmla="*/ 977313 h 1010020"/>
                <a:gd name="connsiteX38" fmla="*/ 994434 w 1115774"/>
                <a:gd name="connsiteY38" fmla="*/ 990852 h 1010020"/>
                <a:gd name="connsiteX39" fmla="*/ 979859 w 1115774"/>
                <a:gd name="connsiteY39" fmla="*/ 992568 h 1010020"/>
                <a:gd name="connsiteX40" fmla="*/ 949270 w 1115774"/>
                <a:gd name="connsiteY40" fmla="*/ 996449 h 1010020"/>
                <a:gd name="connsiteX41" fmla="*/ 949270 w 1115774"/>
                <a:gd name="connsiteY41" fmla="*/ 996449 h 1010020"/>
                <a:gd name="connsiteX42" fmla="*/ 883864 w 1115774"/>
                <a:gd name="connsiteY42" fmla="*/ 996900 h 1010020"/>
                <a:gd name="connsiteX43" fmla="*/ 819447 w 1115774"/>
                <a:gd name="connsiteY43" fmla="*/ 999066 h 1010020"/>
                <a:gd name="connsiteX44" fmla="*/ 819447 w 1115774"/>
                <a:gd name="connsiteY44" fmla="*/ 999066 h 1010020"/>
                <a:gd name="connsiteX45" fmla="*/ 644100 w 1115774"/>
                <a:gd name="connsiteY45" fmla="*/ 1011793 h 10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5774" h="1010020">
                  <a:moveTo>
                    <a:pt x="644100" y="1011793"/>
                  </a:moveTo>
                  <a:cubicBezTo>
                    <a:pt x="595966" y="1011793"/>
                    <a:pt x="549454" y="1009898"/>
                    <a:pt x="496821" y="1007551"/>
                  </a:cubicBezTo>
                  <a:cubicBezTo>
                    <a:pt x="455976" y="1007551"/>
                    <a:pt x="424577" y="996178"/>
                    <a:pt x="385890" y="1002948"/>
                  </a:cubicBezTo>
                  <a:cubicBezTo>
                    <a:pt x="355482" y="1011793"/>
                    <a:pt x="329660" y="1004843"/>
                    <a:pt x="297904" y="1002858"/>
                  </a:cubicBezTo>
                  <a:cubicBezTo>
                    <a:pt x="297453" y="1002767"/>
                    <a:pt x="283058" y="1001955"/>
                    <a:pt x="282339" y="1001865"/>
                  </a:cubicBezTo>
                  <a:cubicBezTo>
                    <a:pt x="209645" y="999066"/>
                    <a:pt x="137760" y="991846"/>
                    <a:pt x="64885" y="990763"/>
                  </a:cubicBezTo>
                  <a:cubicBezTo>
                    <a:pt x="63086" y="1001955"/>
                    <a:pt x="46442" y="1007732"/>
                    <a:pt x="40775" y="996269"/>
                  </a:cubicBezTo>
                  <a:cubicBezTo>
                    <a:pt x="26739" y="965580"/>
                    <a:pt x="16664" y="935163"/>
                    <a:pt x="10364" y="902308"/>
                  </a:cubicBezTo>
                  <a:cubicBezTo>
                    <a:pt x="-5380" y="814936"/>
                    <a:pt x="11805" y="725670"/>
                    <a:pt x="12794" y="637666"/>
                  </a:cubicBezTo>
                  <a:cubicBezTo>
                    <a:pt x="13784" y="520960"/>
                    <a:pt x="35105" y="412286"/>
                    <a:pt x="90077" y="307495"/>
                  </a:cubicBezTo>
                  <a:cubicBezTo>
                    <a:pt x="107890" y="270579"/>
                    <a:pt x="125974" y="231857"/>
                    <a:pt x="155304" y="202341"/>
                  </a:cubicBezTo>
                  <a:cubicBezTo>
                    <a:pt x="171949" y="184922"/>
                    <a:pt x="192549" y="172647"/>
                    <a:pt x="212972" y="160281"/>
                  </a:cubicBezTo>
                  <a:cubicBezTo>
                    <a:pt x="223500" y="152970"/>
                    <a:pt x="227188" y="139792"/>
                    <a:pt x="236185" y="131037"/>
                  </a:cubicBezTo>
                  <a:cubicBezTo>
                    <a:pt x="245452" y="120476"/>
                    <a:pt x="260115" y="121650"/>
                    <a:pt x="271992" y="116866"/>
                  </a:cubicBezTo>
                  <a:cubicBezTo>
                    <a:pt x="282427" y="110818"/>
                    <a:pt x="288366" y="99806"/>
                    <a:pt x="298802" y="93489"/>
                  </a:cubicBezTo>
                  <a:cubicBezTo>
                    <a:pt x="307529" y="87802"/>
                    <a:pt x="317876" y="86177"/>
                    <a:pt x="327771" y="84643"/>
                  </a:cubicBezTo>
                  <a:cubicBezTo>
                    <a:pt x="366728" y="78595"/>
                    <a:pt x="404064" y="62259"/>
                    <a:pt x="440051" y="46463"/>
                  </a:cubicBezTo>
                  <a:cubicBezTo>
                    <a:pt x="450759" y="41950"/>
                    <a:pt x="461645" y="35541"/>
                    <a:pt x="473699" y="36444"/>
                  </a:cubicBezTo>
                  <a:cubicBezTo>
                    <a:pt x="488815" y="40145"/>
                    <a:pt x="488815" y="19655"/>
                    <a:pt x="499521" y="13879"/>
                  </a:cubicBezTo>
                  <a:cubicBezTo>
                    <a:pt x="508968" y="1694"/>
                    <a:pt x="537487" y="-4895"/>
                    <a:pt x="546484" y="11803"/>
                  </a:cubicBezTo>
                  <a:cubicBezTo>
                    <a:pt x="608831" y="27057"/>
                    <a:pt x="673069" y="41228"/>
                    <a:pt x="737576" y="33194"/>
                  </a:cubicBezTo>
                  <a:cubicBezTo>
                    <a:pt x="745762" y="13609"/>
                    <a:pt x="776172" y="11803"/>
                    <a:pt x="780671" y="35541"/>
                  </a:cubicBezTo>
                  <a:cubicBezTo>
                    <a:pt x="794346" y="48900"/>
                    <a:pt x="791827" y="71645"/>
                    <a:pt x="803073" y="86087"/>
                  </a:cubicBezTo>
                  <a:cubicBezTo>
                    <a:pt x="809010" y="91322"/>
                    <a:pt x="818817" y="89247"/>
                    <a:pt x="826195" y="91593"/>
                  </a:cubicBezTo>
                  <a:cubicBezTo>
                    <a:pt x="833661" y="93939"/>
                    <a:pt x="840408" y="98182"/>
                    <a:pt x="846976" y="102334"/>
                  </a:cubicBezTo>
                  <a:cubicBezTo>
                    <a:pt x="847516" y="102695"/>
                    <a:pt x="858852" y="109645"/>
                    <a:pt x="859393" y="109915"/>
                  </a:cubicBezTo>
                  <a:cubicBezTo>
                    <a:pt x="936766" y="154324"/>
                    <a:pt x="1029251" y="218137"/>
                    <a:pt x="1042836" y="313452"/>
                  </a:cubicBezTo>
                  <a:cubicBezTo>
                    <a:pt x="1041668" y="339808"/>
                    <a:pt x="1061640" y="359394"/>
                    <a:pt x="1062899" y="384938"/>
                  </a:cubicBezTo>
                  <a:cubicBezTo>
                    <a:pt x="1067757" y="421042"/>
                    <a:pt x="1058400" y="460395"/>
                    <a:pt x="1078555" y="492527"/>
                  </a:cubicBezTo>
                  <a:cubicBezTo>
                    <a:pt x="1086922" y="512295"/>
                    <a:pt x="1077745" y="533235"/>
                    <a:pt x="1077655" y="553453"/>
                  </a:cubicBezTo>
                  <a:cubicBezTo>
                    <a:pt x="1077655" y="565458"/>
                    <a:pt x="1084853" y="575567"/>
                    <a:pt x="1088270" y="586579"/>
                  </a:cubicBezTo>
                  <a:cubicBezTo>
                    <a:pt x="1093759" y="604450"/>
                    <a:pt x="1086021" y="622412"/>
                    <a:pt x="1085213" y="640373"/>
                  </a:cubicBezTo>
                  <a:cubicBezTo>
                    <a:pt x="1087372" y="696245"/>
                    <a:pt x="1104285" y="753198"/>
                    <a:pt x="1106264" y="807354"/>
                  </a:cubicBezTo>
                  <a:cubicBezTo>
                    <a:pt x="1108603" y="842375"/>
                    <a:pt x="1108693" y="877306"/>
                    <a:pt x="1106264" y="911965"/>
                  </a:cubicBezTo>
                  <a:cubicBezTo>
                    <a:pt x="1106264" y="912507"/>
                    <a:pt x="1106264" y="918103"/>
                    <a:pt x="1107615" y="921895"/>
                  </a:cubicBezTo>
                  <a:cubicBezTo>
                    <a:pt x="1108783" y="925053"/>
                    <a:pt x="1110582" y="927941"/>
                    <a:pt x="1112381" y="930740"/>
                  </a:cubicBezTo>
                  <a:lnTo>
                    <a:pt x="1112381" y="930740"/>
                  </a:lnTo>
                  <a:cubicBezTo>
                    <a:pt x="1127858" y="951680"/>
                    <a:pt x="1116970" y="974787"/>
                    <a:pt x="1091510" y="977313"/>
                  </a:cubicBezTo>
                  <a:cubicBezTo>
                    <a:pt x="1058761" y="983361"/>
                    <a:pt x="1024662" y="987333"/>
                    <a:pt x="994434" y="990852"/>
                  </a:cubicBezTo>
                  <a:cubicBezTo>
                    <a:pt x="993804" y="990943"/>
                    <a:pt x="980489" y="992477"/>
                    <a:pt x="979859" y="992568"/>
                  </a:cubicBezTo>
                  <a:cubicBezTo>
                    <a:pt x="971312" y="993560"/>
                    <a:pt x="958447" y="995095"/>
                    <a:pt x="949270" y="996449"/>
                  </a:cubicBezTo>
                  <a:lnTo>
                    <a:pt x="949270" y="996449"/>
                  </a:lnTo>
                  <a:cubicBezTo>
                    <a:pt x="927589" y="999969"/>
                    <a:pt x="905455" y="1001684"/>
                    <a:pt x="883864" y="996900"/>
                  </a:cubicBezTo>
                  <a:cubicBezTo>
                    <a:pt x="862720" y="991665"/>
                    <a:pt x="840498" y="995005"/>
                    <a:pt x="819447" y="999066"/>
                  </a:cubicBezTo>
                  <a:lnTo>
                    <a:pt x="819447" y="999066"/>
                  </a:lnTo>
                  <a:cubicBezTo>
                    <a:pt x="760518" y="1009266"/>
                    <a:pt x="706627" y="1011522"/>
                    <a:pt x="644100" y="1011793"/>
                  </a:cubicBezTo>
                  <a:close/>
                </a:path>
              </a:pathLst>
            </a:custGeom>
            <a:solidFill>
              <a:srgbClr val="B2C5F4"/>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dirty="0">
                <a:solidFill>
                  <a:schemeClr val="bg1"/>
                </a:solidFill>
                <a:cs typeface="Poppins SemiBold" panose="00000700000000000000" pitchFamily="2" charset="0"/>
              </a:endParaRPr>
            </a:p>
          </p:txBody>
        </p:sp>
        <p:grpSp>
          <p:nvGrpSpPr>
            <p:cNvPr id="59" name="Graphic 33" descr="Person wearing sweater">
              <a:extLst>
                <a:ext uri="{FF2B5EF4-FFF2-40B4-BE49-F238E27FC236}">
                  <a16:creationId xmlns:a16="http://schemas.microsoft.com/office/drawing/2014/main" id="{82F29F94-74C4-5D35-58D7-CE71C1885456}"/>
                </a:ext>
              </a:extLst>
            </p:cNvPr>
            <p:cNvGrpSpPr/>
            <p:nvPr/>
          </p:nvGrpSpPr>
          <p:grpSpPr>
            <a:xfrm>
              <a:off x="2484484" y="4181716"/>
              <a:ext cx="735341" cy="278725"/>
              <a:chOff x="2484484" y="4298660"/>
              <a:chExt cx="735341" cy="278725"/>
            </a:xfrm>
            <a:solidFill>
              <a:srgbClr val="FFFFFF"/>
            </a:solidFill>
          </p:grpSpPr>
          <p:sp>
            <p:nvSpPr>
              <p:cNvPr id="104" name="Freeform: Shape 103">
                <a:extLst>
                  <a:ext uri="{FF2B5EF4-FFF2-40B4-BE49-F238E27FC236}">
                    <a16:creationId xmlns:a16="http://schemas.microsoft.com/office/drawing/2014/main" id="{432F8E18-9BBF-91A4-5E08-634817ECD0EA}"/>
                  </a:ext>
                </a:extLst>
              </p:cNvPr>
              <p:cNvSpPr/>
              <p:nvPr/>
            </p:nvSpPr>
            <p:spPr>
              <a:xfrm>
                <a:off x="2484484" y="4298660"/>
                <a:ext cx="39170" cy="278725"/>
              </a:xfrm>
              <a:custGeom>
                <a:avLst/>
                <a:gdLst>
                  <a:gd name="connsiteX0" fmla="*/ 42887 w 39170"/>
                  <a:gd name="connsiteY0" fmla="*/ 275492 h 278725"/>
                  <a:gd name="connsiteX1" fmla="*/ 13647 w 39170"/>
                  <a:gd name="connsiteY1" fmla="*/ 7149 h 278725"/>
                  <a:gd name="connsiteX2" fmla="*/ 3752 w 39170"/>
                  <a:gd name="connsiteY2" fmla="*/ 3358 h 278725"/>
                  <a:gd name="connsiteX3" fmla="*/ 30922 w 39170"/>
                  <a:gd name="connsiteY3" fmla="*/ 274680 h 278725"/>
                  <a:gd name="connsiteX4" fmla="*/ 37580 w 39170"/>
                  <a:gd name="connsiteY4" fmla="*/ 280366 h 278725"/>
                  <a:gd name="connsiteX5" fmla="*/ 42887 w 39170"/>
                  <a:gd name="connsiteY5" fmla="*/ 275492 h 27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70" h="278725">
                    <a:moveTo>
                      <a:pt x="42887" y="275492"/>
                    </a:moveTo>
                    <a:cubicBezTo>
                      <a:pt x="14368" y="189835"/>
                      <a:pt x="17965" y="96507"/>
                      <a:pt x="13647" y="7149"/>
                    </a:cubicBezTo>
                    <a:cubicBezTo>
                      <a:pt x="13647" y="2275"/>
                      <a:pt x="7080" y="19"/>
                      <a:pt x="3752" y="3358"/>
                    </a:cubicBezTo>
                    <a:cubicBezTo>
                      <a:pt x="4200" y="92987"/>
                      <a:pt x="4380" y="187579"/>
                      <a:pt x="30922" y="274680"/>
                    </a:cubicBezTo>
                    <a:cubicBezTo>
                      <a:pt x="30922" y="274680"/>
                      <a:pt x="32811" y="279553"/>
                      <a:pt x="37580" y="280366"/>
                    </a:cubicBezTo>
                    <a:cubicBezTo>
                      <a:pt x="43697" y="281450"/>
                      <a:pt x="42887" y="275492"/>
                      <a:pt x="42887" y="27549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105" name="Freeform: Shape 104">
                <a:extLst>
                  <a:ext uri="{FF2B5EF4-FFF2-40B4-BE49-F238E27FC236}">
                    <a16:creationId xmlns:a16="http://schemas.microsoft.com/office/drawing/2014/main" id="{CC5F22F2-92C3-4430-A654-98625586BDC2}"/>
                  </a:ext>
                </a:extLst>
              </p:cNvPr>
              <p:cNvSpPr/>
              <p:nvPr/>
            </p:nvSpPr>
            <p:spPr>
              <a:xfrm>
                <a:off x="3191779" y="4390311"/>
                <a:ext cx="28046" cy="175771"/>
              </a:xfrm>
              <a:custGeom>
                <a:avLst/>
                <a:gdLst>
                  <a:gd name="connsiteX0" fmla="*/ 31765 w 28046"/>
                  <a:gd name="connsiteY0" fmla="*/ 172107 h 175771"/>
                  <a:gd name="connsiteX1" fmla="*/ 14940 w 28046"/>
                  <a:gd name="connsiteY1" fmla="*/ 7022 h 175771"/>
                  <a:gd name="connsiteX2" fmla="*/ 3784 w 28046"/>
                  <a:gd name="connsiteY2" fmla="*/ 7022 h 175771"/>
                  <a:gd name="connsiteX3" fmla="*/ 20789 w 28046"/>
                  <a:gd name="connsiteY3" fmla="*/ 173461 h 175771"/>
                  <a:gd name="connsiteX4" fmla="*/ 27266 w 28046"/>
                  <a:gd name="connsiteY4" fmla="*/ 177433 h 175771"/>
                  <a:gd name="connsiteX5" fmla="*/ 31765 w 28046"/>
                  <a:gd name="connsiteY5" fmla="*/ 172107 h 17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46" h="175771">
                    <a:moveTo>
                      <a:pt x="31765" y="172107"/>
                    </a:moveTo>
                    <a:cubicBezTo>
                      <a:pt x="24477" y="123908"/>
                      <a:pt x="18808" y="57206"/>
                      <a:pt x="14940" y="7022"/>
                    </a:cubicBezTo>
                    <a:cubicBezTo>
                      <a:pt x="14850" y="343"/>
                      <a:pt x="3063" y="-289"/>
                      <a:pt x="3784" y="7022"/>
                    </a:cubicBezTo>
                    <a:cubicBezTo>
                      <a:pt x="8012" y="61269"/>
                      <a:pt x="13321" y="122916"/>
                      <a:pt x="20789" y="173461"/>
                    </a:cubicBezTo>
                    <a:cubicBezTo>
                      <a:pt x="20789" y="173461"/>
                      <a:pt x="22047" y="178335"/>
                      <a:pt x="27266" y="177433"/>
                    </a:cubicBezTo>
                    <a:cubicBezTo>
                      <a:pt x="32483" y="176620"/>
                      <a:pt x="31765" y="172107"/>
                      <a:pt x="31765" y="17210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grpSp>
          <p:nvGrpSpPr>
            <p:cNvPr id="60" name="Graphic 33" descr="Person wearing sweater">
              <a:extLst>
                <a:ext uri="{FF2B5EF4-FFF2-40B4-BE49-F238E27FC236}">
                  <a16:creationId xmlns:a16="http://schemas.microsoft.com/office/drawing/2014/main" id="{8D7DA50C-8246-70A4-A4E6-EF1D56526003}"/>
                </a:ext>
              </a:extLst>
            </p:cNvPr>
            <p:cNvGrpSpPr/>
            <p:nvPr/>
          </p:nvGrpSpPr>
          <p:grpSpPr>
            <a:xfrm>
              <a:off x="2322462" y="3555546"/>
              <a:ext cx="1012448" cy="848997"/>
              <a:chOff x="2322462" y="3672490"/>
              <a:chExt cx="1012448" cy="848997"/>
            </a:xfrm>
            <a:solidFill>
              <a:srgbClr val="FFFFFF"/>
            </a:solidFill>
          </p:grpSpPr>
          <p:sp>
            <p:nvSpPr>
              <p:cNvPr id="69" name="Freeform: Shape 68">
                <a:extLst>
                  <a:ext uri="{FF2B5EF4-FFF2-40B4-BE49-F238E27FC236}">
                    <a16:creationId xmlns:a16="http://schemas.microsoft.com/office/drawing/2014/main" id="{E7AD3697-DCC1-A653-3B67-2DF0A17C7D3D}"/>
                  </a:ext>
                </a:extLst>
              </p:cNvPr>
              <p:cNvSpPr/>
              <p:nvPr/>
            </p:nvSpPr>
            <p:spPr>
              <a:xfrm>
                <a:off x="2637042" y="4503330"/>
                <a:ext cx="22938" cy="18157"/>
              </a:xfrm>
              <a:custGeom>
                <a:avLst/>
                <a:gdLst>
                  <a:gd name="connsiteX0" fmla="*/ 21323 w 22938"/>
                  <a:gd name="connsiteY0" fmla="*/ 1773 h 18157"/>
                  <a:gd name="connsiteX1" fmla="*/ 17275 w 22938"/>
                  <a:gd name="connsiteY1" fmla="*/ 3037 h 18157"/>
                  <a:gd name="connsiteX2" fmla="*/ 3960 w 22938"/>
                  <a:gd name="connsiteY2" fmla="*/ 16214 h 18157"/>
                  <a:gd name="connsiteX3" fmla="*/ 21863 w 22938"/>
                  <a:gd name="connsiteY3" fmla="*/ 13146 h 18157"/>
                  <a:gd name="connsiteX4" fmla="*/ 21323 w 22938"/>
                  <a:gd name="connsiteY4" fmla="*/ 1773 h 18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8" h="18157">
                    <a:moveTo>
                      <a:pt x="21323" y="1773"/>
                    </a:moveTo>
                    <a:cubicBezTo>
                      <a:pt x="19884" y="1773"/>
                      <a:pt x="18533" y="2405"/>
                      <a:pt x="17275" y="3037"/>
                    </a:cubicBezTo>
                    <a:cubicBezTo>
                      <a:pt x="12506" y="6015"/>
                      <a:pt x="2161" y="9085"/>
                      <a:pt x="3960" y="16214"/>
                    </a:cubicBezTo>
                    <a:cubicBezTo>
                      <a:pt x="8548" y="25331"/>
                      <a:pt x="16014" y="15041"/>
                      <a:pt x="21863" y="13146"/>
                    </a:cubicBezTo>
                    <a:cubicBezTo>
                      <a:pt x="28431" y="11882"/>
                      <a:pt x="28341" y="1863"/>
                      <a:pt x="2132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0" name="Freeform: Shape 69">
                <a:extLst>
                  <a:ext uri="{FF2B5EF4-FFF2-40B4-BE49-F238E27FC236}">
                    <a16:creationId xmlns:a16="http://schemas.microsoft.com/office/drawing/2014/main" id="{08E0369D-6610-909E-BAD7-D626AC4AC6C8}"/>
                  </a:ext>
                </a:extLst>
              </p:cNvPr>
              <p:cNvSpPr/>
              <p:nvPr/>
            </p:nvSpPr>
            <p:spPr>
              <a:xfrm>
                <a:off x="2793401" y="4498367"/>
                <a:ext cx="32260" cy="16224"/>
              </a:xfrm>
              <a:custGeom>
                <a:avLst/>
                <a:gdLst>
                  <a:gd name="connsiteX0" fmla="*/ 8642 w 32260"/>
                  <a:gd name="connsiteY0" fmla="*/ 1773 h 16224"/>
                  <a:gd name="connsiteX1" fmla="*/ 7563 w 32260"/>
                  <a:gd name="connsiteY1" fmla="*/ 12784 h 16224"/>
                  <a:gd name="connsiteX2" fmla="*/ 35992 w 32260"/>
                  <a:gd name="connsiteY2" fmla="*/ 12784 h 16224"/>
                  <a:gd name="connsiteX3" fmla="*/ 30593 w 32260"/>
                  <a:gd name="connsiteY3" fmla="*/ 6646 h 16224"/>
                  <a:gd name="connsiteX4" fmla="*/ 8642 w 32260"/>
                  <a:gd name="connsiteY4" fmla="*/ 1773 h 16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60" h="16224">
                    <a:moveTo>
                      <a:pt x="8642" y="1773"/>
                    </a:moveTo>
                    <a:cubicBezTo>
                      <a:pt x="2795" y="1862"/>
                      <a:pt x="1894" y="11340"/>
                      <a:pt x="7563" y="12784"/>
                    </a:cubicBezTo>
                    <a:cubicBezTo>
                      <a:pt x="14491" y="14318"/>
                      <a:pt x="34103" y="23706"/>
                      <a:pt x="35992" y="12784"/>
                    </a:cubicBezTo>
                    <a:cubicBezTo>
                      <a:pt x="36262" y="9715"/>
                      <a:pt x="33833" y="6556"/>
                      <a:pt x="30593" y="6646"/>
                    </a:cubicBezTo>
                    <a:cubicBezTo>
                      <a:pt x="22947" y="6737"/>
                      <a:pt x="15929" y="3397"/>
                      <a:pt x="8642"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1" name="Freeform: Shape 70">
                <a:extLst>
                  <a:ext uri="{FF2B5EF4-FFF2-40B4-BE49-F238E27FC236}">
                    <a16:creationId xmlns:a16="http://schemas.microsoft.com/office/drawing/2014/main" id="{1823577E-64ED-4FAD-C9C9-2FC9C3DE9E9E}"/>
                  </a:ext>
                </a:extLst>
              </p:cNvPr>
              <p:cNvSpPr/>
              <p:nvPr/>
            </p:nvSpPr>
            <p:spPr>
              <a:xfrm>
                <a:off x="2327272" y="4455041"/>
                <a:ext cx="15739" cy="16001"/>
              </a:xfrm>
              <a:custGeom>
                <a:avLst/>
                <a:gdLst>
                  <a:gd name="connsiteX0" fmla="*/ 14136 w 15739"/>
                  <a:gd name="connsiteY0" fmla="*/ 1773 h 16001"/>
                  <a:gd name="connsiteX1" fmla="*/ 8467 w 15739"/>
                  <a:gd name="connsiteY1" fmla="*/ 6738 h 16001"/>
                  <a:gd name="connsiteX2" fmla="*/ 9187 w 15739"/>
                  <a:gd name="connsiteY2" fmla="*/ 17749 h 16001"/>
                  <a:gd name="connsiteX3" fmla="*/ 14136 w 15739"/>
                  <a:gd name="connsiteY3" fmla="*/ 1773 h 16001"/>
                  <a:gd name="connsiteX4" fmla="*/ 14136 w 15739"/>
                  <a:gd name="connsiteY4" fmla="*/ 1773 h 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9" h="16001">
                    <a:moveTo>
                      <a:pt x="14136" y="1773"/>
                    </a:moveTo>
                    <a:cubicBezTo>
                      <a:pt x="11346" y="1773"/>
                      <a:pt x="8827" y="3849"/>
                      <a:pt x="8467" y="6738"/>
                    </a:cubicBezTo>
                    <a:cubicBezTo>
                      <a:pt x="1719" y="7459"/>
                      <a:pt x="2440" y="17930"/>
                      <a:pt x="9187" y="17749"/>
                    </a:cubicBezTo>
                    <a:cubicBezTo>
                      <a:pt x="17554" y="18471"/>
                      <a:pt x="24842" y="3578"/>
                      <a:pt x="14136" y="1773"/>
                    </a:cubicBezTo>
                    <a:lnTo>
                      <a:pt x="14136"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2" name="Freeform: Shape 71">
                <a:extLst>
                  <a:ext uri="{FF2B5EF4-FFF2-40B4-BE49-F238E27FC236}">
                    <a16:creationId xmlns:a16="http://schemas.microsoft.com/office/drawing/2014/main" id="{6D47FCF3-F72C-1500-5EB9-A9C4C308DDD9}"/>
                  </a:ext>
                </a:extLst>
              </p:cNvPr>
              <p:cNvSpPr/>
              <p:nvPr/>
            </p:nvSpPr>
            <p:spPr>
              <a:xfrm>
                <a:off x="2956626" y="4438249"/>
                <a:ext cx="37076" cy="13687"/>
              </a:xfrm>
              <a:custGeom>
                <a:avLst/>
                <a:gdLst>
                  <a:gd name="connsiteX0" fmla="*/ 35610 w 37076"/>
                  <a:gd name="connsiteY0" fmla="*/ 1778 h 13687"/>
                  <a:gd name="connsiteX1" fmla="*/ 9158 w 37076"/>
                  <a:gd name="connsiteY1" fmla="*/ 4125 h 13687"/>
                  <a:gd name="connsiteX2" fmla="*/ 3761 w 37076"/>
                  <a:gd name="connsiteY2" fmla="*/ 9901 h 13687"/>
                  <a:gd name="connsiteX3" fmla="*/ 35520 w 37076"/>
                  <a:gd name="connsiteY3" fmla="*/ 12879 h 13687"/>
                  <a:gd name="connsiteX4" fmla="*/ 35610 w 37076"/>
                  <a:gd name="connsiteY4" fmla="*/ 1778 h 13687"/>
                  <a:gd name="connsiteX5" fmla="*/ 35610 w 37076"/>
                  <a:gd name="connsiteY5" fmla="*/ 177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76" h="13687">
                    <a:moveTo>
                      <a:pt x="35610" y="1778"/>
                    </a:moveTo>
                    <a:cubicBezTo>
                      <a:pt x="26791" y="1868"/>
                      <a:pt x="18065" y="3944"/>
                      <a:pt x="9158" y="4125"/>
                    </a:cubicBezTo>
                    <a:cubicBezTo>
                      <a:pt x="6100" y="4034"/>
                      <a:pt x="3581" y="6922"/>
                      <a:pt x="3761" y="9901"/>
                    </a:cubicBezTo>
                    <a:cubicBezTo>
                      <a:pt x="4569" y="21274"/>
                      <a:pt x="27692" y="11435"/>
                      <a:pt x="35520" y="12879"/>
                    </a:cubicBezTo>
                    <a:cubicBezTo>
                      <a:pt x="42448" y="13151"/>
                      <a:pt x="42716" y="1507"/>
                      <a:pt x="35610" y="1778"/>
                    </a:cubicBezTo>
                    <a:lnTo>
                      <a:pt x="35610" y="177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3" name="Freeform: Shape 72">
                <a:extLst>
                  <a:ext uri="{FF2B5EF4-FFF2-40B4-BE49-F238E27FC236}">
                    <a16:creationId xmlns:a16="http://schemas.microsoft.com/office/drawing/2014/main" id="{906781DF-57DE-1054-1A65-0CB056104753}"/>
                  </a:ext>
                </a:extLst>
              </p:cNvPr>
              <p:cNvSpPr/>
              <p:nvPr/>
            </p:nvSpPr>
            <p:spPr>
              <a:xfrm>
                <a:off x="3242470" y="4382825"/>
                <a:ext cx="25411" cy="15813"/>
              </a:xfrm>
              <a:custGeom>
                <a:avLst/>
                <a:gdLst>
                  <a:gd name="connsiteX0" fmla="*/ 8873 w 25411"/>
                  <a:gd name="connsiteY0" fmla="*/ 1782 h 15813"/>
                  <a:gd name="connsiteX1" fmla="*/ 5095 w 25411"/>
                  <a:gd name="connsiteY1" fmla="*/ 10988 h 15813"/>
                  <a:gd name="connsiteX2" fmla="*/ 19848 w 25411"/>
                  <a:gd name="connsiteY2" fmla="*/ 16494 h 15813"/>
                  <a:gd name="connsiteX3" fmla="*/ 23268 w 25411"/>
                  <a:gd name="connsiteY3" fmla="*/ 17577 h 15813"/>
                  <a:gd name="connsiteX4" fmla="*/ 29025 w 25411"/>
                  <a:gd name="connsiteY4" fmla="*/ 12883 h 15813"/>
                  <a:gd name="connsiteX5" fmla="*/ 26328 w 25411"/>
                  <a:gd name="connsiteY5" fmla="*/ 7378 h 15813"/>
                  <a:gd name="connsiteX6" fmla="*/ 8873 w 2541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1" h="15813">
                    <a:moveTo>
                      <a:pt x="8873" y="1782"/>
                    </a:moveTo>
                    <a:cubicBezTo>
                      <a:pt x="4194" y="1511"/>
                      <a:pt x="2215" y="7739"/>
                      <a:pt x="5095" y="10988"/>
                    </a:cubicBezTo>
                    <a:cubicBezTo>
                      <a:pt x="8424" y="14057"/>
                      <a:pt x="15082" y="12883"/>
                      <a:pt x="19848" y="16494"/>
                    </a:cubicBezTo>
                    <a:cubicBezTo>
                      <a:pt x="20929" y="17125"/>
                      <a:pt x="22098" y="17667"/>
                      <a:pt x="23268" y="17577"/>
                    </a:cubicBezTo>
                    <a:cubicBezTo>
                      <a:pt x="26058" y="17487"/>
                      <a:pt x="28397" y="15501"/>
                      <a:pt x="29025" y="12883"/>
                    </a:cubicBezTo>
                    <a:cubicBezTo>
                      <a:pt x="29566" y="10627"/>
                      <a:pt x="28487" y="8280"/>
                      <a:pt x="26328" y="7378"/>
                    </a:cubicBezTo>
                    <a:cubicBezTo>
                      <a:pt x="20389" y="4399"/>
                      <a:pt x="14992" y="1872"/>
                      <a:pt x="8873"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4" name="Freeform: Shape 73">
                <a:extLst>
                  <a:ext uri="{FF2B5EF4-FFF2-40B4-BE49-F238E27FC236}">
                    <a16:creationId xmlns:a16="http://schemas.microsoft.com/office/drawing/2014/main" id="{E1A1F745-0547-1808-1D4C-D0FD9275F6F6}"/>
                  </a:ext>
                </a:extLst>
              </p:cNvPr>
              <p:cNvSpPr/>
              <p:nvPr/>
            </p:nvSpPr>
            <p:spPr>
              <a:xfrm>
                <a:off x="2858230" y="4363391"/>
                <a:ext cx="22838" cy="18539"/>
              </a:xfrm>
              <a:custGeom>
                <a:avLst/>
                <a:gdLst>
                  <a:gd name="connsiteX0" fmla="*/ 8860 w 22838"/>
                  <a:gd name="connsiteY0" fmla="*/ 1899 h 18539"/>
                  <a:gd name="connsiteX1" fmla="*/ 9040 w 22838"/>
                  <a:gd name="connsiteY1" fmla="*/ 13091 h 18539"/>
                  <a:gd name="connsiteX2" fmla="*/ 20646 w 22838"/>
                  <a:gd name="connsiteY2" fmla="*/ 20313 h 18539"/>
                  <a:gd name="connsiteX3" fmla="*/ 8860 w 22838"/>
                  <a:gd name="connsiteY3" fmla="*/ 1899 h 18539"/>
                </a:gdLst>
                <a:ahLst/>
                <a:cxnLst>
                  <a:cxn ang="0">
                    <a:pos x="connsiteX0" y="connsiteY0"/>
                  </a:cxn>
                  <a:cxn ang="0">
                    <a:pos x="connsiteX1" y="connsiteY1"/>
                  </a:cxn>
                  <a:cxn ang="0">
                    <a:pos x="connsiteX2" y="connsiteY2"/>
                  </a:cxn>
                  <a:cxn ang="0">
                    <a:pos x="connsiteX3" y="connsiteY3"/>
                  </a:cxn>
                </a:cxnLst>
                <a:rect l="l" t="t" r="r" b="b"/>
                <a:pathLst>
                  <a:path w="22838" h="18539">
                    <a:moveTo>
                      <a:pt x="8860" y="1899"/>
                    </a:moveTo>
                    <a:cubicBezTo>
                      <a:pt x="1842" y="1719"/>
                      <a:pt x="2202" y="13272"/>
                      <a:pt x="9040" y="13091"/>
                    </a:cubicBezTo>
                    <a:cubicBezTo>
                      <a:pt x="15337" y="12279"/>
                      <a:pt x="15427" y="20042"/>
                      <a:pt x="20646" y="20313"/>
                    </a:cubicBezTo>
                    <a:cubicBezTo>
                      <a:pt x="35940" y="16431"/>
                      <a:pt x="17947" y="185"/>
                      <a:pt x="8860" y="1899"/>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5" name="Freeform: Shape 74">
                <a:extLst>
                  <a:ext uri="{FF2B5EF4-FFF2-40B4-BE49-F238E27FC236}">
                    <a16:creationId xmlns:a16="http://schemas.microsoft.com/office/drawing/2014/main" id="{086F6962-FAD3-CCEF-71B8-3B7B3C58266D}"/>
                  </a:ext>
                </a:extLst>
              </p:cNvPr>
              <p:cNvSpPr/>
              <p:nvPr/>
            </p:nvSpPr>
            <p:spPr>
              <a:xfrm>
                <a:off x="2617905" y="4361080"/>
                <a:ext cx="22956" cy="13541"/>
              </a:xfrm>
              <a:custGeom>
                <a:avLst/>
                <a:gdLst>
                  <a:gd name="connsiteX0" fmla="*/ 17247 w 22956"/>
                  <a:gd name="connsiteY0" fmla="*/ 13779 h 13541"/>
                  <a:gd name="connsiteX1" fmla="*/ 26694 w 22956"/>
                  <a:gd name="connsiteY1" fmla="*/ 9536 h 13541"/>
                  <a:gd name="connsiteX2" fmla="*/ 9150 w 22956"/>
                  <a:gd name="connsiteY2" fmla="*/ 1774 h 13541"/>
                  <a:gd name="connsiteX3" fmla="*/ 9150 w 22956"/>
                  <a:gd name="connsiteY3" fmla="*/ 12966 h 13541"/>
                  <a:gd name="connsiteX4" fmla="*/ 17337 w 22956"/>
                  <a:gd name="connsiteY4" fmla="*/ 13779 h 13541"/>
                  <a:gd name="connsiteX5" fmla="*/ 17247 w 22956"/>
                  <a:gd name="connsiteY5" fmla="*/ 13779 h 13541"/>
                  <a:gd name="connsiteX6" fmla="*/ 17247 w 22956"/>
                  <a:gd name="connsiteY6" fmla="*/ 13779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56" h="13541">
                    <a:moveTo>
                      <a:pt x="17247" y="13779"/>
                    </a:moveTo>
                    <a:cubicBezTo>
                      <a:pt x="20757" y="17209"/>
                      <a:pt x="27054" y="14500"/>
                      <a:pt x="26694" y="9536"/>
                    </a:cubicBezTo>
                    <a:cubicBezTo>
                      <a:pt x="25525" y="1864"/>
                      <a:pt x="14907" y="1864"/>
                      <a:pt x="9150" y="1774"/>
                    </a:cubicBezTo>
                    <a:cubicBezTo>
                      <a:pt x="1953" y="1683"/>
                      <a:pt x="1953" y="13056"/>
                      <a:pt x="9150" y="12966"/>
                    </a:cubicBezTo>
                    <a:cubicBezTo>
                      <a:pt x="11850" y="12966"/>
                      <a:pt x="14817" y="12696"/>
                      <a:pt x="17337" y="13779"/>
                    </a:cubicBezTo>
                    <a:cubicBezTo>
                      <a:pt x="17337" y="13779"/>
                      <a:pt x="17337" y="13779"/>
                      <a:pt x="17247" y="13779"/>
                    </a:cubicBezTo>
                    <a:lnTo>
                      <a:pt x="17247" y="13779"/>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6" name="Freeform: Shape 75">
                <a:extLst>
                  <a:ext uri="{FF2B5EF4-FFF2-40B4-BE49-F238E27FC236}">
                    <a16:creationId xmlns:a16="http://schemas.microsoft.com/office/drawing/2014/main" id="{3A22B562-AC00-3017-2EE2-1E643700CF35}"/>
                  </a:ext>
                </a:extLst>
              </p:cNvPr>
              <p:cNvSpPr/>
              <p:nvPr/>
            </p:nvSpPr>
            <p:spPr>
              <a:xfrm>
                <a:off x="3119945" y="4291490"/>
                <a:ext cx="32635" cy="25367"/>
              </a:xfrm>
              <a:custGeom>
                <a:avLst/>
                <a:gdLst>
                  <a:gd name="connsiteX0" fmla="*/ 30543 w 32635"/>
                  <a:gd name="connsiteY0" fmla="*/ 1773 h 25367"/>
                  <a:gd name="connsiteX1" fmla="*/ 25955 w 32635"/>
                  <a:gd name="connsiteY1" fmla="*/ 4301 h 25367"/>
                  <a:gd name="connsiteX2" fmla="*/ 7691 w 32635"/>
                  <a:gd name="connsiteY2" fmla="*/ 16214 h 25367"/>
                  <a:gd name="connsiteX3" fmla="*/ 9042 w 32635"/>
                  <a:gd name="connsiteY3" fmla="*/ 27135 h 25367"/>
                  <a:gd name="connsiteX4" fmla="*/ 30543 w 32635"/>
                  <a:gd name="connsiteY4" fmla="*/ 1773 h 25367"/>
                  <a:gd name="connsiteX5" fmla="*/ 30543 w 32635"/>
                  <a:gd name="connsiteY5" fmla="*/ 1773 h 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35" h="25367">
                    <a:moveTo>
                      <a:pt x="30543" y="1773"/>
                    </a:moveTo>
                    <a:cubicBezTo>
                      <a:pt x="28744" y="1773"/>
                      <a:pt x="26945" y="2675"/>
                      <a:pt x="25955" y="4301"/>
                    </a:cubicBezTo>
                    <a:cubicBezTo>
                      <a:pt x="21907" y="10077"/>
                      <a:pt x="15970" y="13958"/>
                      <a:pt x="7691" y="16214"/>
                    </a:cubicBezTo>
                    <a:cubicBezTo>
                      <a:pt x="1574" y="17478"/>
                      <a:pt x="3013" y="27135"/>
                      <a:pt x="9042" y="27135"/>
                    </a:cubicBezTo>
                    <a:cubicBezTo>
                      <a:pt x="17498" y="27497"/>
                      <a:pt x="49347" y="6917"/>
                      <a:pt x="30543" y="1773"/>
                    </a:cubicBezTo>
                    <a:lnTo>
                      <a:pt x="30543"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7" name="Freeform: Shape 76">
                <a:extLst>
                  <a:ext uri="{FF2B5EF4-FFF2-40B4-BE49-F238E27FC236}">
                    <a16:creationId xmlns:a16="http://schemas.microsoft.com/office/drawing/2014/main" id="{4EDE50C8-69CD-520D-0ED2-D9E731520543}"/>
                  </a:ext>
                </a:extLst>
              </p:cNvPr>
              <p:cNvSpPr/>
              <p:nvPr/>
            </p:nvSpPr>
            <p:spPr>
              <a:xfrm>
                <a:off x="2399194" y="4300878"/>
                <a:ext cx="15765" cy="15796"/>
              </a:xfrm>
              <a:custGeom>
                <a:avLst/>
                <a:gdLst>
                  <a:gd name="connsiteX0" fmla="*/ 14278 w 15765"/>
                  <a:gd name="connsiteY0" fmla="*/ 1773 h 15796"/>
                  <a:gd name="connsiteX1" fmla="*/ 3753 w 15765"/>
                  <a:gd name="connsiteY1" fmla="*/ 12152 h 15796"/>
                  <a:gd name="connsiteX2" fmla="*/ 14818 w 15765"/>
                  <a:gd name="connsiteY2" fmla="*/ 12875 h 15796"/>
                  <a:gd name="connsiteX3" fmla="*/ 14278 w 15765"/>
                  <a:gd name="connsiteY3" fmla="*/ 1773 h 15796"/>
                  <a:gd name="connsiteX4" fmla="*/ 14278 w 15765"/>
                  <a:gd name="connsiteY4" fmla="*/ 1773 h 15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5" h="15796">
                    <a:moveTo>
                      <a:pt x="14278" y="1773"/>
                    </a:moveTo>
                    <a:cubicBezTo>
                      <a:pt x="8609" y="1862"/>
                      <a:pt x="3930" y="6466"/>
                      <a:pt x="3753" y="12152"/>
                    </a:cubicBezTo>
                    <a:cubicBezTo>
                      <a:pt x="3663" y="18922"/>
                      <a:pt x="14008" y="19554"/>
                      <a:pt x="14818" y="12875"/>
                    </a:cubicBezTo>
                    <a:cubicBezTo>
                      <a:pt x="21476" y="12152"/>
                      <a:pt x="20846" y="1862"/>
                      <a:pt x="14278" y="1773"/>
                    </a:cubicBezTo>
                    <a:lnTo>
                      <a:pt x="1427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8" name="Freeform: Shape 77">
                <a:extLst>
                  <a:ext uri="{FF2B5EF4-FFF2-40B4-BE49-F238E27FC236}">
                    <a16:creationId xmlns:a16="http://schemas.microsoft.com/office/drawing/2014/main" id="{134CCA6B-747A-83BE-6EB1-8A96AC58BE17}"/>
                  </a:ext>
                </a:extLst>
              </p:cNvPr>
              <p:cNvSpPr/>
              <p:nvPr/>
            </p:nvSpPr>
            <p:spPr>
              <a:xfrm>
                <a:off x="2764206" y="4257553"/>
                <a:ext cx="25371" cy="18422"/>
              </a:xfrm>
              <a:custGeom>
                <a:avLst/>
                <a:gdLst>
                  <a:gd name="connsiteX0" fmla="*/ 9588 w 25371"/>
                  <a:gd name="connsiteY0" fmla="*/ 1773 h 18422"/>
                  <a:gd name="connsiteX1" fmla="*/ 23982 w 25371"/>
                  <a:gd name="connsiteY1" fmla="*/ 20096 h 18422"/>
                  <a:gd name="connsiteX2" fmla="*/ 23801 w 25371"/>
                  <a:gd name="connsiteY2" fmla="*/ 8904 h 18422"/>
                  <a:gd name="connsiteX3" fmla="*/ 9588 w 25371"/>
                  <a:gd name="connsiteY3" fmla="*/ 1773 h 18422"/>
                  <a:gd name="connsiteX4" fmla="*/ 9588 w 25371"/>
                  <a:gd name="connsiteY4" fmla="*/ 1773 h 1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1" h="18422">
                    <a:moveTo>
                      <a:pt x="9588" y="1773"/>
                    </a:moveTo>
                    <a:cubicBezTo>
                      <a:pt x="-7237" y="6917"/>
                      <a:pt x="16964" y="21539"/>
                      <a:pt x="23982" y="20096"/>
                    </a:cubicBezTo>
                    <a:cubicBezTo>
                      <a:pt x="31089" y="20277"/>
                      <a:pt x="30639" y="8814"/>
                      <a:pt x="23801" y="8904"/>
                    </a:cubicBezTo>
                    <a:cubicBezTo>
                      <a:pt x="17594" y="9264"/>
                      <a:pt x="14985" y="2585"/>
                      <a:pt x="9588" y="1773"/>
                    </a:cubicBezTo>
                    <a:lnTo>
                      <a:pt x="9588"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79" name="Freeform: Shape 78">
                <a:extLst>
                  <a:ext uri="{FF2B5EF4-FFF2-40B4-BE49-F238E27FC236}">
                    <a16:creationId xmlns:a16="http://schemas.microsoft.com/office/drawing/2014/main" id="{63231F63-F787-BAC2-AE3F-77742159580A}"/>
                  </a:ext>
                </a:extLst>
              </p:cNvPr>
              <p:cNvSpPr/>
              <p:nvPr/>
            </p:nvSpPr>
            <p:spPr>
              <a:xfrm>
                <a:off x="3004505" y="4252676"/>
                <a:ext cx="13588" cy="16002"/>
              </a:xfrm>
              <a:custGeom>
                <a:avLst/>
                <a:gdLst>
                  <a:gd name="connsiteX0" fmla="*/ 11842 w 13588"/>
                  <a:gd name="connsiteY0" fmla="*/ 1775 h 16002"/>
                  <a:gd name="connsiteX1" fmla="*/ 6083 w 13588"/>
                  <a:gd name="connsiteY1" fmla="*/ 7642 h 16002"/>
                  <a:gd name="connsiteX2" fmla="*/ 9323 w 13588"/>
                  <a:gd name="connsiteY2" fmla="*/ 17751 h 16002"/>
                  <a:gd name="connsiteX3" fmla="*/ 11842 w 13588"/>
                  <a:gd name="connsiteY3" fmla="*/ 1775 h 16002"/>
                  <a:gd name="connsiteX4" fmla="*/ 11842 w 13588"/>
                  <a:gd name="connsiteY4" fmla="*/ 1775 h 1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8" h="16002">
                    <a:moveTo>
                      <a:pt x="11842" y="1775"/>
                    </a:moveTo>
                    <a:cubicBezTo>
                      <a:pt x="8783" y="1685"/>
                      <a:pt x="5903" y="4483"/>
                      <a:pt x="6083" y="7642"/>
                    </a:cubicBezTo>
                    <a:cubicBezTo>
                      <a:pt x="1585" y="10441"/>
                      <a:pt x="4104" y="17842"/>
                      <a:pt x="9323" y="17751"/>
                    </a:cubicBezTo>
                    <a:cubicBezTo>
                      <a:pt x="17689" y="18473"/>
                      <a:pt x="21019" y="2678"/>
                      <a:pt x="11842" y="1775"/>
                    </a:cubicBezTo>
                    <a:lnTo>
                      <a:pt x="11842"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0" name="Freeform: Shape 79">
                <a:extLst>
                  <a:ext uri="{FF2B5EF4-FFF2-40B4-BE49-F238E27FC236}">
                    <a16:creationId xmlns:a16="http://schemas.microsoft.com/office/drawing/2014/main" id="{9B7C0851-DD6E-33C4-B228-9DE47EACF3CA}"/>
                  </a:ext>
                </a:extLst>
              </p:cNvPr>
              <p:cNvSpPr/>
              <p:nvPr/>
            </p:nvSpPr>
            <p:spPr>
              <a:xfrm>
                <a:off x="2526675" y="4221233"/>
                <a:ext cx="15834" cy="13647"/>
              </a:xfrm>
              <a:custGeom>
                <a:avLst/>
                <a:gdLst>
                  <a:gd name="connsiteX0" fmla="*/ 9152 w 15834"/>
                  <a:gd name="connsiteY0" fmla="*/ 1898 h 13647"/>
                  <a:gd name="connsiteX1" fmla="*/ 9422 w 15834"/>
                  <a:gd name="connsiteY1" fmla="*/ 13000 h 13647"/>
                  <a:gd name="connsiteX2" fmla="*/ 17881 w 15834"/>
                  <a:gd name="connsiteY2" fmla="*/ 13812 h 13647"/>
                  <a:gd name="connsiteX3" fmla="*/ 9152 w 15834"/>
                  <a:gd name="connsiteY3" fmla="*/ 1898 h 13647"/>
                  <a:gd name="connsiteX4" fmla="*/ 9152 w 15834"/>
                  <a:gd name="connsiteY4" fmla="*/ 1898 h 13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4" h="13647">
                    <a:moveTo>
                      <a:pt x="9152" y="1898"/>
                    </a:moveTo>
                    <a:cubicBezTo>
                      <a:pt x="1686" y="1898"/>
                      <a:pt x="2136" y="13452"/>
                      <a:pt x="9422" y="13000"/>
                    </a:cubicBezTo>
                    <a:cubicBezTo>
                      <a:pt x="11223" y="15979"/>
                      <a:pt x="15542" y="16159"/>
                      <a:pt x="17881" y="13812"/>
                    </a:cubicBezTo>
                    <a:cubicBezTo>
                      <a:pt x="23007" y="8036"/>
                      <a:pt x="15542" y="725"/>
                      <a:pt x="9152" y="1898"/>
                    </a:cubicBezTo>
                    <a:lnTo>
                      <a:pt x="9152" y="189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1" name="Freeform: Shape 80">
                <a:extLst>
                  <a:ext uri="{FF2B5EF4-FFF2-40B4-BE49-F238E27FC236}">
                    <a16:creationId xmlns:a16="http://schemas.microsoft.com/office/drawing/2014/main" id="{72C92968-98F8-5FEA-5893-73B1954748CD}"/>
                  </a:ext>
                </a:extLst>
              </p:cNvPr>
              <p:cNvSpPr/>
              <p:nvPr/>
            </p:nvSpPr>
            <p:spPr>
              <a:xfrm>
                <a:off x="3184581" y="4168373"/>
                <a:ext cx="12896" cy="44673"/>
              </a:xfrm>
              <a:custGeom>
                <a:avLst/>
                <a:gdLst>
                  <a:gd name="connsiteX0" fmla="*/ 9993 w 12896"/>
                  <a:gd name="connsiteY0" fmla="*/ 1776 h 44673"/>
                  <a:gd name="connsiteX1" fmla="*/ 3964 w 12896"/>
                  <a:gd name="connsiteY1" fmla="*/ 8817 h 44673"/>
                  <a:gd name="connsiteX2" fmla="*/ 3964 w 12896"/>
                  <a:gd name="connsiteY2" fmla="*/ 39595 h 44673"/>
                  <a:gd name="connsiteX3" fmla="*/ 14759 w 12896"/>
                  <a:gd name="connsiteY3" fmla="*/ 42484 h 44673"/>
                  <a:gd name="connsiteX4" fmla="*/ 14759 w 12896"/>
                  <a:gd name="connsiteY4" fmla="*/ 5838 h 44673"/>
                  <a:gd name="connsiteX5" fmla="*/ 9993 w 12896"/>
                  <a:gd name="connsiteY5" fmla="*/ 1776 h 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96" h="44673">
                    <a:moveTo>
                      <a:pt x="9993" y="1776"/>
                    </a:moveTo>
                    <a:cubicBezTo>
                      <a:pt x="6483" y="1776"/>
                      <a:pt x="3155" y="5116"/>
                      <a:pt x="3964" y="8817"/>
                    </a:cubicBezTo>
                    <a:cubicBezTo>
                      <a:pt x="6123" y="20190"/>
                      <a:pt x="6123" y="30299"/>
                      <a:pt x="3964" y="39595"/>
                    </a:cubicBezTo>
                    <a:cubicBezTo>
                      <a:pt x="2075" y="46185"/>
                      <a:pt x="13411" y="49614"/>
                      <a:pt x="14759" y="42484"/>
                    </a:cubicBezTo>
                    <a:cubicBezTo>
                      <a:pt x="17279" y="31472"/>
                      <a:pt x="17279" y="19467"/>
                      <a:pt x="14759" y="5838"/>
                    </a:cubicBezTo>
                    <a:cubicBezTo>
                      <a:pt x="14401" y="3491"/>
                      <a:pt x="12422" y="1686"/>
                      <a:pt x="9993" y="177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2" name="Freeform: Shape 81">
                <a:extLst>
                  <a:ext uri="{FF2B5EF4-FFF2-40B4-BE49-F238E27FC236}">
                    <a16:creationId xmlns:a16="http://schemas.microsoft.com/office/drawing/2014/main" id="{EB6B3C9A-4156-2137-4F40-3B6511F5501D}"/>
                  </a:ext>
                </a:extLst>
              </p:cNvPr>
              <p:cNvSpPr/>
              <p:nvPr/>
            </p:nvSpPr>
            <p:spPr>
              <a:xfrm>
                <a:off x="2322462" y="4197258"/>
                <a:ext cx="25208" cy="13261"/>
              </a:xfrm>
              <a:custGeom>
                <a:avLst/>
                <a:gdLst>
                  <a:gd name="connsiteX0" fmla="*/ 9139 w 25208"/>
                  <a:gd name="connsiteY0" fmla="*/ 1774 h 13261"/>
                  <a:gd name="connsiteX1" fmla="*/ 9229 w 25208"/>
                  <a:gd name="connsiteY1" fmla="*/ 12876 h 13261"/>
                  <a:gd name="connsiteX2" fmla="*/ 28573 w 25208"/>
                  <a:gd name="connsiteY2" fmla="*/ 12154 h 13261"/>
                  <a:gd name="connsiteX3" fmla="*/ 9139 w 25208"/>
                  <a:gd name="connsiteY3" fmla="*/ 1774 h 13261"/>
                </a:gdLst>
                <a:ahLst/>
                <a:cxnLst>
                  <a:cxn ang="0">
                    <a:pos x="connsiteX0" y="connsiteY0"/>
                  </a:cxn>
                  <a:cxn ang="0">
                    <a:pos x="connsiteX1" y="connsiteY1"/>
                  </a:cxn>
                  <a:cxn ang="0">
                    <a:pos x="connsiteX2" y="connsiteY2"/>
                  </a:cxn>
                  <a:cxn ang="0">
                    <a:pos x="connsiteX3" y="connsiteY3"/>
                  </a:cxn>
                </a:cxnLst>
                <a:rect l="l" t="t" r="r" b="b"/>
                <a:pathLst>
                  <a:path w="25208" h="13261">
                    <a:moveTo>
                      <a:pt x="9139" y="1774"/>
                    </a:moveTo>
                    <a:cubicBezTo>
                      <a:pt x="1853" y="1683"/>
                      <a:pt x="2031" y="13056"/>
                      <a:pt x="9229" y="12876"/>
                    </a:cubicBezTo>
                    <a:cubicBezTo>
                      <a:pt x="15976" y="11251"/>
                      <a:pt x="25153" y="19013"/>
                      <a:pt x="28573" y="12154"/>
                    </a:cubicBezTo>
                    <a:cubicBezTo>
                      <a:pt x="31631" y="1864"/>
                      <a:pt x="15796" y="2135"/>
                      <a:pt x="9139" y="177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3" name="Freeform: Shape 82">
                <a:extLst>
                  <a:ext uri="{FF2B5EF4-FFF2-40B4-BE49-F238E27FC236}">
                    <a16:creationId xmlns:a16="http://schemas.microsoft.com/office/drawing/2014/main" id="{7E3FC9E2-3D03-33EB-D36D-FB4C577A2C94}"/>
                  </a:ext>
                </a:extLst>
              </p:cNvPr>
              <p:cNvSpPr/>
              <p:nvPr/>
            </p:nvSpPr>
            <p:spPr>
              <a:xfrm>
                <a:off x="2622617" y="4168522"/>
                <a:ext cx="13547" cy="23099"/>
              </a:xfrm>
              <a:custGeom>
                <a:avLst/>
                <a:gdLst>
                  <a:gd name="connsiteX0" fmla="*/ 11637 w 13547"/>
                  <a:gd name="connsiteY0" fmla="*/ 1807 h 23099"/>
                  <a:gd name="connsiteX1" fmla="*/ 4439 w 13547"/>
                  <a:gd name="connsiteY1" fmla="*/ 16429 h 23099"/>
                  <a:gd name="connsiteX2" fmla="*/ 6418 w 13547"/>
                  <a:gd name="connsiteY2" fmla="*/ 24011 h 23099"/>
                  <a:gd name="connsiteX3" fmla="*/ 11637 w 13547"/>
                  <a:gd name="connsiteY3" fmla="*/ 1807 h 23099"/>
                  <a:gd name="connsiteX4" fmla="*/ 11637 w 13547"/>
                  <a:gd name="connsiteY4" fmla="*/ 1807 h 23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7" h="23099">
                    <a:moveTo>
                      <a:pt x="11637" y="1807"/>
                    </a:moveTo>
                    <a:cubicBezTo>
                      <a:pt x="3358" y="1897"/>
                      <a:pt x="7676" y="11555"/>
                      <a:pt x="4439" y="16429"/>
                    </a:cubicBezTo>
                    <a:cubicBezTo>
                      <a:pt x="3000" y="19047"/>
                      <a:pt x="3898" y="22387"/>
                      <a:pt x="6418" y="24011"/>
                    </a:cubicBezTo>
                    <a:cubicBezTo>
                      <a:pt x="16315" y="30239"/>
                      <a:pt x="22342" y="634"/>
                      <a:pt x="11637" y="1807"/>
                    </a:cubicBezTo>
                    <a:lnTo>
                      <a:pt x="11637" y="1807"/>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4" name="Freeform: Shape 83">
                <a:extLst>
                  <a:ext uri="{FF2B5EF4-FFF2-40B4-BE49-F238E27FC236}">
                    <a16:creationId xmlns:a16="http://schemas.microsoft.com/office/drawing/2014/main" id="{C0848DF1-1A00-AF01-F47D-C939B4DF0B1B}"/>
                  </a:ext>
                </a:extLst>
              </p:cNvPr>
              <p:cNvSpPr/>
              <p:nvPr/>
            </p:nvSpPr>
            <p:spPr>
              <a:xfrm>
                <a:off x="3011734" y="4137089"/>
                <a:ext cx="27782" cy="12893"/>
              </a:xfrm>
              <a:custGeom>
                <a:avLst/>
                <a:gdLst>
                  <a:gd name="connsiteX0" fmla="*/ 9111 w 27782"/>
                  <a:gd name="connsiteY0" fmla="*/ 1830 h 12893"/>
                  <a:gd name="connsiteX1" fmla="*/ 4073 w 27782"/>
                  <a:gd name="connsiteY1" fmla="*/ 9141 h 12893"/>
                  <a:gd name="connsiteX2" fmla="*/ 30883 w 27782"/>
                  <a:gd name="connsiteY2" fmla="*/ 4447 h 12893"/>
                  <a:gd name="connsiteX3" fmla="*/ 23237 w 27782"/>
                  <a:gd name="connsiteY3" fmla="*/ 2462 h 12893"/>
                  <a:gd name="connsiteX4" fmla="*/ 9111 w 27782"/>
                  <a:gd name="connsiteY4" fmla="*/ 1830 h 1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82" h="12893">
                    <a:moveTo>
                      <a:pt x="9111" y="1830"/>
                    </a:moveTo>
                    <a:cubicBezTo>
                      <a:pt x="5421" y="1559"/>
                      <a:pt x="2814" y="5711"/>
                      <a:pt x="4073" y="9141"/>
                    </a:cubicBezTo>
                    <a:cubicBezTo>
                      <a:pt x="7402" y="17355"/>
                      <a:pt x="36192" y="16903"/>
                      <a:pt x="30883" y="4447"/>
                    </a:cubicBezTo>
                    <a:cubicBezTo>
                      <a:pt x="29444" y="1740"/>
                      <a:pt x="25844" y="1108"/>
                      <a:pt x="23237" y="2462"/>
                    </a:cubicBezTo>
                    <a:cubicBezTo>
                      <a:pt x="18558" y="4809"/>
                      <a:pt x="13790" y="2823"/>
                      <a:pt x="9111" y="1830"/>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5" name="Freeform: Shape 84">
                <a:extLst>
                  <a:ext uri="{FF2B5EF4-FFF2-40B4-BE49-F238E27FC236}">
                    <a16:creationId xmlns:a16="http://schemas.microsoft.com/office/drawing/2014/main" id="{F8AD0BDC-7D5B-6DA1-1C02-E69F6E3CE7F9}"/>
                  </a:ext>
                </a:extLst>
              </p:cNvPr>
              <p:cNvSpPr/>
              <p:nvPr/>
            </p:nvSpPr>
            <p:spPr>
              <a:xfrm>
                <a:off x="2845981" y="4120150"/>
                <a:ext cx="18253" cy="18369"/>
              </a:xfrm>
              <a:custGeom>
                <a:avLst/>
                <a:gdLst>
                  <a:gd name="connsiteX0" fmla="*/ 16430 w 18253"/>
                  <a:gd name="connsiteY0" fmla="*/ 1801 h 18369"/>
                  <a:gd name="connsiteX1" fmla="*/ 5364 w 18253"/>
                  <a:gd name="connsiteY1" fmla="*/ 10646 h 18369"/>
                  <a:gd name="connsiteX2" fmla="*/ 9412 w 18253"/>
                  <a:gd name="connsiteY2" fmla="*/ 20123 h 18369"/>
                  <a:gd name="connsiteX3" fmla="*/ 20390 w 18253"/>
                  <a:gd name="connsiteY3" fmla="*/ 11277 h 18369"/>
                  <a:gd name="connsiteX4" fmla="*/ 16430 w 18253"/>
                  <a:gd name="connsiteY4" fmla="*/ 1801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3" h="18369">
                    <a:moveTo>
                      <a:pt x="16430" y="1801"/>
                    </a:moveTo>
                    <a:cubicBezTo>
                      <a:pt x="12922" y="1259"/>
                      <a:pt x="7703" y="8840"/>
                      <a:pt x="5364" y="10646"/>
                    </a:cubicBezTo>
                    <a:cubicBezTo>
                      <a:pt x="1856" y="13986"/>
                      <a:pt x="4466" y="20303"/>
                      <a:pt x="9412" y="20123"/>
                    </a:cubicBezTo>
                    <a:cubicBezTo>
                      <a:pt x="12832" y="20574"/>
                      <a:pt x="18051" y="13083"/>
                      <a:pt x="20390" y="11277"/>
                    </a:cubicBezTo>
                    <a:cubicBezTo>
                      <a:pt x="23898" y="7847"/>
                      <a:pt x="21289" y="1620"/>
                      <a:pt x="16430" y="180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6" name="Freeform: Shape 85">
                <a:extLst>
                  <a:ext uri="{FF2B5EF4-FFF2-40B4-BE49-F238E27FC236}">
                    <a16:creationId xmlns:a16="http://schemas.microsoft.com/office/drawing/2014/main" id="{7D007C7B-DAA9-1847-102C-BA4443AC46A1}"/>
                  </a:ext>
                </a:extLst>
              </p:cNvPr>
              <p:cNvSpPr/>
              <p:nvPr/>
            </p:nvSpPr>
            <p:spPr>
              <a:xfrm>
                <a:off x="3242394" y="4083982"/>
                <a:ext cx="20596" cy="13513"/>
              </a:xfrm>
              <a:custGeom>
                <a:avLst/>
                <a:gdLst>
                  <a:gd name="connsiteX0" fmla="*/ 14977 w 20596"/>
                  <a:gd name="connsiteY0" fmla="*/ 13868 h 13513"/>
                  <a:gd name="connsiteX1" fmla="*/ 24334 w 20596"/>
                  <a:gd name="connsiteY1" fmla="*/ 9536 h 13513"/>
                  <a:gd name="connsiteX2" fmla="*/ 9218 w 20596"/>
                  <a:gd name="connsiteY2" fmla="*/ 1774 h 13513"/>
                  <a:gd name="connsiteX3" fmla="*/ 9218 w 20596"/>
                  <a:gd name="connsiteY3" fmla="*/ 12966 h 13513"/>
                  <a:gd name="connsiteX4" fmla="*/ 12548 w 20596"/>
                  <a:gd name="connsiteY4" fmla="*/ 13056 h 13513"/>
                  <a:gd name="connsiteX5" fmla="*/ 14437 w 20596"/>
                  <a:gd name="connsiteY5" fmla="*/ 13507 h 13513"/>
                  <a:gd name="connsiteX6" fmla="*/ 14437 w 20596"/>
                  <a:gd name="connsiteY6" fmla="*/ 13507 h 13513"/>
                  <a:gd name="connsiteX7" fmla="*/ 14437 w 20596"/>
                  <a:gd name="connsiteY7" fmla="*/ 13507 h 13513"/>
                  <a:gd name="connsiteX8" fmla="*/ 14617 w 20596"/>
                  <a:gd name="connsiteY8" fmla="*/ 13597 h 13513"/>
                  <a:gd name="connsiteX9" fmla="*/ 14977 w 20596"/>
                  <a:gd name="connsiteY9" fmla="*/ 13868 h 13513"/>
                  <a:gd name="connsiteX10" fmla="*/ 14977 w 20596"/>
                  <a:gd name="connsiteY10" fmla="*/ 13868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96" h="13513">
                    <a:moveTo>
                      <a:pt x="14977" y="13868"/>
                    </a:moveTo>
                    <a:cubicBezTo>
                      <a:pt x="18485" y="17117"/>
                      <a:pt x="24692" y="14410"/>
                      <a:pt x="24334" y="9536"/>
                    </a:cubicBezTo>
                    <a:cubicBezTo>
                      <a:pt x="23524" y="2676"/>
                      <a:pt x="14167" y="1774"/>
                      <a:pt x="9218" y="1774"/>
                    </a:cubicBezTo>
                    <a:cubicBezTo>
                      <a:pt x="1930" y="1683"/>
                      <a:pt x="1930" y="13056"/>
                      <a:pt x="9218" y="12966"/>
                    </a:cubicBezTo>
                    <a:cubicBezTo>
                      <a:pt x="10209" y="12875"/>
                      <a:pt x="11557" y="12966"/>
                      <a:pt x="12548" y="13056"/>
                    </a:cubicBezTo>
                    <a:cubicBezTo>
                      <a:pt x="13176" y="13146"/>
                      <a:pt x="13806" y="13327"/>
                      <a:pt x="14437" y="13507"/>
                    </a:cubicBezTo>
                    <a:lnTo>
                      <a:pt x="14437" y="13507"/>
                    </a:lnTo>
                    <a:lnTo>
                      <a:pt x="14437" y="13507"/>
                    </a:lnTo>
                    <a:cubicBezTo>
                      <a:pt x="14527" y="13507"/>
                      <a:pt x="14527" y="13507"/>
                      <a:pt x="14617" y="13597"/>
                    </a:cubicBezTo>
                    <a:cubicBezTo>
                      <a:pt x="14797" y="13687"/>
                      <a:pt x="15425" y="14229"/>
                      <a:pt x="14977" y="13868"/>
                    </a:cubicBezTo>
                    <a:lnTo>
                      <a:pt x="14977" y="13868"/>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7" name="Freeform: Shape 86">
                <a:extLst>
                  <a:ext uri="{FF2B5EF4-FFF2-40B4-BE49-F238E27FC236}">
                    <a16:creationId xmlns:a16="http://schemas.microsoft.com/office/drawing/2014/main" id="{2A2E1B13-1DC0-315B-A624-49D8EA9809ED}"/>
                  </a:ext>
                </a:extLst>
              </p:cNvPr>
              <p:cNvSpPr/>
              <p:nvPr/>
            </p:nvSpPr>
            <p:spPr>
              <a:xfrm>
                <a:off x="3136549" y="4062391"/>
                <a:ext cx="25593" cy="18162"/>
              </a:xfrm>
              <a:custGeom>
                <a:avLst/>
                <a:gdLst>
                  <a:gd name="connsiteX0" fmla="*/ 9531 w 25593"/>
                  <a:gd name="connsiteY0" fmla="*/ 1792 h 18162"/>
                  <a:gd name="connsiteX1" fmla="*/ 6561 w 25593"/>
                  <a:gd name="connsiteY1" fmla="*/ 12082 h 18162"/>
                  <a:gd name="connsiteX2" fmla="*/ 23566 w 25593"/>
                  <a:gd name="connsiteY2" fmla="*/ 19935 h 18162"/>
                  <a:gd name="connsiteX3" fmla="*/ 26536 w 25593"/>
                  <a:gd name="connsiteY3" fmla="*/ 9645 h 18162"/>
                  <a:gd name="connsiteX4" fmla="*/ 9531 w 25593"/>
                  <a:gd name="connsiteY4" fmla="*/ 1792 h 18162"/>
                  <a:gd name="connsiteX5" fmla="*/ 9531 w 25593"/>
                  <a:gd name="connsiteY5" fmla="*/ 1792 h 1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 h="18162">
                    <a:moveTo>
                      <a:pt x="9531" y="1792"/>
                    </a:moveTo>
                    <a:cubicBezTo>
                      <a:pt x="4312" y="1702"/>
                      <a:pt x="1165" y="9735"/>
                      <a:pt x="6561" y="12082"/>
                    </a:cubicBezTo>
                    <a:cubicBezTo>
                      <a:pt x="11330" y="14067"/>
                      <a:pt x="18438" y="18942"/>
                      <a:pt x="23566" y="19935"/>
                    </a:cubicBezTo>
                    <a:cubicBezTo>
                      <a:pt x="28785" y="20025"/>
                      <a:pt x="31933" y="12082"/>
                      <a:pt x="26536" y="9645"/>
                    </a:cubicBezTo>
                    <a:cubicBezTo>
                      <a:pt x="24735" y="9013"/>
                      <a:pt x="11330" y="1340"/>
                      <a:pt x="9531" y="1792"/>
                    </a:cubicBezTo>
                    <a:lnTo>
                      <a:pt x="9531" y="1792"/>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8" name="Freeform: Shape 87">
                <a:extLst>
                  <a:ext uri="{FF2B5EF4-FFF2-40B4-BE49-F238E27FC236}">
                    <a16:creationId xmlns:a16="http://schemas.microsoft.com/office/drawing/2014/main" id="{8D368680-E423-E8E8-6FF2-958C7F40DFA1}"/>
                  </a:ext>
                </a:extLst>
              </p:cNvPr>
              <p:cNvSpPr/>
              <p:nvPr/>
            </p:nvSpPr>
            <p:spPr>
              <a:xfrm>
                <a:off x="2473529" y="4031171"/>
                <a:ext cx="13660" cy="32420"/>
              </a:xfrm>
              <a:custGeom>
                <a:avLst/>
                <a:gdLst>
                  <a:gd name="connsiteX0" fmla="*/ 11827 w 13660"/>
                  <a:gd name="connsiteY0" fmla="*/ 1784 h 32420"/>
                  <a:gd name="connsiteX1" fmla="*/ 6248 w 13660"/>
                  <a:gd name="connsiteY1" fmla="*/ 6747 h 32420"/>
                  <a:gd name="connsiteX2" fmla="*/ 4089 w 13660"/>
                  <a:gd name="connsiteY2" fmla="*/ 27327 h 32420"/>
                  <a:gd name="connsiteX3" fmla="*/ 9578 w 13660"/>
                  <a:gd name="connsiteY3" fmla="*/ 34187 h 32420"/>
                  <a:gd name="connsiteX4" fmla="*/ 14797 w 13660"/>
                  <a:gd name="connsiteY4" fmla="*/ 30305 h 32420"/>
                  <a:gd name="connsiteX5" fmla="*/ 17404 w 13660"/>
                  <a:gd name="connsiteY5" fmla="*/ 7199 h 32420"/>
                  <a:gd name="connsiteX6" fmla="*/ 11827 w 13660"/>
                  <a:gd name="connsiteY6" fmla="*/ 1784 h 3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0" h="32420">
                    <a:moveTo>
                      <a:pt x="11827" y="1784"/>
                    </a:moveTo>
                    <a:cubicBezTo>
                      <a:pt x="8948" y="1603"/>
                      <a:pt x="6428" y="3769"/>
                      <a:pt x="6248" y="6747"/>
                    </a:cubicBezTo>
                    <a:cubicBezTo>
                      <a:pt x="6248" y="13968"/>
                      <a:pt x="6158" y="20648"/>
                      <a:pt x="4089" y="27327"/>
                    </a:cubicBezTo>
                    <a:cubicBezTo>
                      <a:pt x="2650" y="30847"/>
                      <a:pt x="6068" y="34367"/>
                      <a:pt x="9578" y="34187"/>
                    </a:cubicBezTo>
                    <a:cubicBezTo>
                      <a:pt x="12007" y="34277"/>
                      <a:pt x="14167" y="32652"/>
                      <a:pt x="14797" y="30305"/>
                    </a:cubicBezTo>
                    <a:cubicBezTo>
                      <a:pt x="17226" y="22543"/>
                      <a:pt x="17404" y="14600"/>
                      <a:pt x="17404" y="7199"/>
                    </a:cubicBezTo>
                    <a:cubicBezTo>
                      <a:pt x="17584" y="4130"/>
                      <a:pt x="14797" y="1603"/>
                      <a:pt x="11827" y="1784"/>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89" name="Freeform: Shape 88">
                <a:extLst>
                  <a:ext uri="{FF2B5EF4-FFF2-40B4-BE49-F238E27FC236}">
                    <a16:creationId xmlns:a16="http://schemas.microsoft.com/office/drawing/2014/main" id="{EA6173CA-80DA-F04E-6B9B-A6D236DD4D20}"/>
                  </a:ext>
                </a:extLst>
              </p:cNvPr>
              <p:cNvSpPr/>
              <p:nvPr/>
            </p:nvSpPr>
            <p:spPr>
              <a:xfrm>
                <a:off x="2653983" y="4009124"/>
                <a:ext cx="22942" cy="11438"/>
              </a:xfrm>
              <a:custGeom>
                <a:avLst/>
                <a:gdLst>
                  <a:gd name="connsiteX0" fmla="*/ 9150 w 22942"/>
                  <a:gd name="connsiteY0" fmla="*/ 1896 h 11438"/>
                  <a:gd name="connsiteX1" fmla="*/ 9150 w 22942"/>
                  <a:gd name="connsiteY1" fmla="*/ 13088 h 11438"/>
                  <a:gd name="connsiteX2" fmla="*/ 26694 w 22942"/>
                  <a:gd name="connsiteY2" fmla="*/ 7492 h 11438"/>
                  <a:gd name="connsiteX3" fmla="*/ 9150 w 22942"/>
                  <a:gd name="connsiteY3" fmla="*/ 1896 h 11438"/>
                </a:gdLst>
                <a:ahLst/>
                <a:cxnLst>
                  <a:cxn ang="0">
                    <a:pos x="connsiteX0" y="connsiteY0"/>
                  </a:cxn>
                  <a:cxn ang="0">
                    <a:pos x="connsiteX1" y="connsiteY1"/>
                  </a:cxn>
                  <a:cxn ang="0">
                    <a:pos x="connsiteX2" y="connsiteY2"/>
                  </a:cxn>
                  <a:cxn ang="0">
                    <a:pos x="connsiteX3" y="connsiteY3"/>
                  </a:cxn>
                </a:cxnLst>
                <a:rect l="l" t="t" r="r" b="b"/>
                <a:pathLst>
                  <a:path w="22942" h="11438">
                    <a:moveTo>
                      <a:pt x="9150" y="1896"/>
                    </a:moveTo>
                    <a:cubicBezTo>
                      <a:pt x="1953" y="1806"/>
                      <a:pt x="1953" y="13179"/>
                      <a:pt x="9150" y="13088"/>
                    </a:cubicBezTo>
                    <a:cubicBezTo>
                      <a:pt x="13919" y="12457"/>
                      <a:pt x="26784" y="15706"/>
                      <a:pt x="26694" y="7492"/>
                    </a:cubicBezTo>
                    <a:cubicBezTo>
                      <a:pt x="26784" y="-722"/>
                      <a:pt x="13919" y="2528"/>
                      <a:pt x="9150" y="1896"/>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0" name="Freeform: Shape 89">
                <a:extLst>
                  <a:ext uri="{FF2B5EF4-FFF2-40B4-BE49-F238E27FC236}">
                    <a16:creationId xmlns:a16="http://schemas.microsoft.com/office/drawing/2014/main" id="{C471630E-EBFB-5C75-BFB3-CAEA590F813D}"/>
                  </a:ext>
                </a:extLst>
              </p:cNvPr>
              <p:cNvSpPr/>
              <p:nvPr/>
            </p:nvSpPr>
            <p:spPr>
              <a:xfrm>
                <a:off x="2346203" y="3980274"/>
                <a:ext cx="30179" cy="20849"/>
              </a:xfrm>
              <a:custGeom>
                <a:avLst/>
                <a:gdLst>
                  <a:gd name="connsiteX0" fmla="*/ 29033 w 30179"/>
                  <a:gd name="connsiteY0" fmla="*/ 1773 h 20849"/>
                  <a:gd name="connsiteX1" fmla="*/ 9688 w 30179"/>
                  <a:gd name="connsiteY1" fmla="*/ 22622 h 20849"/>
                  <a:gd name="connsiteX2" fmla="*/ 13379 w 30179"/>
                  <a:gd name="connsiteY2" fmla="*/ 20998 h 20849"/>
                  <a:gd name="connsiteX3" fmla="*/ 30201 w 30179"/>
                  <a:gd name="connsiteY3" fmla="*/ 12784 h 20849"/>
                  <a:gd name="connsiteX4" fmla="*/ 29033 w 30179"/>
                  <a:gd name="connsiteY4" fmla="*/ 1773 h 2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9" h="20849">
                    <a:moveTo>
                      <a:pt x="29033" y="1773"/>
                    </a:moveTo>
                    <a:cubicBezTo>
                      <a:pt x="21835" y="2585"/>
                      <a:pt x="-9023" y="15582"/>
                      <a:pt x="9688" y="22622"/>
                    </a:cubicBezTo>
                    <a:cubicBezTo>
                      <a:pt x="11039" y="22532"/>
                      <a:pt x="12388" y="21991"/>
                      <a:pt x="13379" y="20998"/>
                    </a:cubicBezTo>
                    <a:cubicBezTo>
                      <a:pt x="17967" y="16666"/>
                      <a:pt x="24264" y="14770"/>
                      <a:pt x="30201" y="12784"/>
                    </a:cubicBezTo>
                    <a:cubicBezTo>
                      <a:pt x="35690" y="11340"/>
                      <a:pt x="34970" y="1773"/>
                      <a:pt x="29033"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1" name="Freeform: Shape 90">
                <a:extLst>
                  <a:ext uri="{FF2B5EF4-FFF2-40B4-BE49-F238E27FC236}">
                    <a16:creationId xmlns:a16="http://schemas.microsoft.com/office/drawing/2014/main" id="{F71B04FE-6CD6-AA01-0E97-3BD2953CAC35}"/>
                  </a:ext>
                </a:extLst>
              </p:cNvPr>
              <p:cNvSpPr/>
              <p:nvPr/>
            </p:nvSpPr>
            <p:spPr>
              <a:xfrm>
                <a:off x="2795471" y="3963666"/>
                <a:ext cx="15856" cy="23107"/>
              </a:xfrm>
              <a:custGeom>
                <a:avLst/>
                <a:gdLst>
                  <a:gd name="connsiteX0" fmla="*/ 9182 w 15856"/>
                  <a:gd name="connsiteY0" fmla="*/ 1773 h 23107"/>
                  <a:gd name="connsiteX1" fmla="*/ 13950 w 15856"/>
                  <a:gd name="connsiteY1" fmla="*/ 24880 h 23107"/>
                  <a:gd name="connsiteX2" fmla="*/ 18088 w 15856"/>
                  <a:gd name="connsiteY2" fmla="*/ 15312 h 23107"/>
                  <a:gd name="connsiteX3" fmla="*/ 9182 w 15856"/>
                  <a:gd name="connsiteY3" fmla="*/ 1773 h 23107"/>
                  <a:gd name="connsiteX4" fmla="*/ 9182 w 15856"/>
                  <a:gd name="connsiteY4" fmla="*/ 1773 h 2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6" h="23107">
                    <a:moveTo>
                      <a:pt x="9182" y="1773"/>
                    </a:moveTo>
                    <a:cubicBezTo>
                      <a:pt x="-2064" y="2225"/>
                      <a:pt x="6482" y="24249"/>
                      <a:pt x="13950" y="24880"/>
                    </a:cubicBezTo>
                    <a:cubicBezTo>
                      <a:pt x="18539" y="24880"/>
                      <a:pt x="21596" y="18652"/>
                      <a:pt x="18088" y="15312"/>
                    </a:cubicBezTo>
                    <a:cubicBezTo>
                      <a:pt x="13590" y="11431"/>
                      <a:pt x="16920" y="1773"/>
                      <a:pt x="9182" y="1773"/>
                    </a:cubicBezTo>
                    <a:lnTo>
                      <a:pt x="918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2" name="Freeform: Shape 91">
                <a:extLst>
                  <a:ext uri="{FF2B5EF4-FFF2-40B4-BE49-F238E27FC236}">
                    <a16:creationId xmlns:a16="http://schemas.microsoft.com/office/drawing/2014/main" id="{29345DA9-220E-D440-D11F-24D6DAC11D2C}"/>
                  </a:ext>
                </a:extLst>
              </p:cNvPr>
              <p:cNvSpPr/>
              <p:nvPr/>
            </p:nvSpPr>
            <p:spPr>
              <a:xfrm>
                <a:off x="3028563" y="3965919"/>
                <a:ext cx="15768" cy="18334"/>
              </a:xfrm>
              <a:custGeom>
                <a:avLst/>
                <a:gdLst>
                  <a:gd name="connsiteX0" fmla="*/ 9196 w 15768"/>
                  <a:gd name="connsiteY0" fmla="*/ 1776 h 18334"/>
                  <a:gd name="connsiteX1" fmla="*/ 5598 w 15768"/>
                  <a:gd name="connsiteY1" fmla="*/ 11616 h 18334"/>
                  <a:gd name="connsiteX2" fmla="*/ 14054 w 15768"/>
                  <a:gd name="connsiteY2" fmla="*/ 20099 h 18334"/>
                  <a:gd name="connsiteX3" fmla="*/ 17654 w 15768"/>
                  <a:gd name="connsiteY3" fmla="*/ 10352 h 18334"/>
                  <a:gd name="connsiteX4" fmla="*/ 9196 w 15768"/>
                  <a:gd name="connsiteY4" fmla="*/ 1776 h 18334"/>
                  <a:gd name="connsiteX5" fmla="*/ 9196 w 15768"/>
                  <a:gd name="connsiteY5" fmla="*/ 1776 h 1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68" h="18334">
                    <a:moveTo>
                      <a:pt x="9196" y="1776"/>
                    </a:moveTo>
                    <a:cubicBezTo>
                      <a:pt x="4249" y="1597"/>
                      <a:pt x="1820" y="8457"/>
                      <a:pt x="5598" y="11616"/>
                    </a:cubicBezTo>
                    <a:cubicBezTo>
                      <a:pt x="7757" y="14955"/>
                      <a:pt x="9376" y="20190"/>
                      <a:pt x="14054" y="20099"/>
                    </a:cubicBezTo>
                    <a:cubicBezTo>
                      <a:pt x="19093" y="20371"/>
                      <a:pt x="21432" y="13420"/>
                      <a:pt x="17654" y="10352"/>
                    </a:cubicBezTo>
                    <a:cubicBezTo>
                      <a:pt x="15583" y="7012"/>
                      <a:pt x="13874" y="1776"/>
                      <a:pt x="9196" y="1776"/>
                    </a:cubicBezTo>
                    <a:lnTo>
                      <a:pt x="9196" y="1776"/>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3" name="Freeform: Shape 92">
                <a:extLst>
                  <a:ext uri="{FF2B5EF4-FFF2-40B4-BE49-F238E27FC236}">
                    <a16:creationId xmlns:a16="http://schemas.microsoft.com/office/drawing/2014/main" id="{9BC2ED95-7F15-9624-BD7E-206A372F6CD8}"/>
                  </a:ext>
                </a:extLst>
              </p:cNvPr>
              <p:cNvSpPr/>
              <p:nvPr/>
            </p:nvSpPr>
            <p:spPr>
              <a:xfrm>
                <a:off x="2565107" y="3910323"/>
                <a:ext cx="29895" cy="21120"/>
              </a:xfrm>
              <a:custGeom>
                <a:avLst/>
                <a:gdLst>
                  <a:gd name="connsiteX0" fmla="*/ 28752 w 29895"/>
                  <a:gd name="connsiteY0" fmla="*/ 1773 h 21120"/>
                  <a:gd name="connsiteX1" fmla="*/ 4010 w 29895"/>
                  <a:gd name="connsiteY1" fmla="*/ 15312 h 21120"/>
                  <a:gd name="connsiteX2" fmla="*/ 9047 w 29895"/>
                  <a:gd name="connsiteY2" fmla="*/ 22894 h 21120"/>
                  <a:gd name="connsiteX3" fmla="*/ 29830 w 29895"/>
                  <a:gd name="connsiteY3" fmla="*/ 12875 h 21120"/>
                  <a:gd name="connsiteX4" fmla="*/ 32980 w 29895"/>
                  <a:gd name="connsiteY4" fmla="*/ 10257 h 21120"/>
                  <a:gd name="connsiteX5" fmla="*/ 28752 w 29895"/>
                  <a:gd name="connsiteY5" fmla="*/ 1773 h 21120"/>
                  <a:gd name="connsiteX6" fmla="*/ 28752 w 29895"/>
                  <a:gd name="connsiteY6" fmla="*/ 1773 h 2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5" h="21120">
                    <a:moveTo>
                      <a:pt x="28752" y="1773"/>
                    </a:moveTo>
                    <a:cubicBezTo>
                      <a:pt x="20203" y="4480"/>
                      <a:pt x="9587" y="8091"/>
                      <a:pt x="4010" y="15312"/>
                    </a:cubicBezTo>
                    <a:cubicBezTo>
                      <a:pt x="2930" y="18742"/>
                      <a:pt x="5359" y="22713"/>
                      <a:pt x="9047" y="22894"/>
                    </a:cubicBezTo>
                    <a:cubicBezTo>
                      <a:pt x="16155" y="20366"/>
                      <a:pt x="22274" y="14860"/>
                      <a:pt x="29830" y="12875"/>
                    </a:cubicBezTo>
                    <a:cubicBezTo>
                      <a:pt x="31181" y="12423"/>
                      <a:pt x="32349" y="11521"/>
                      <a:pt x="32980" y="10257"/>
                    </a:cubicBezTo>
                    <a:cubicBezTo>
                      <a:pt x="34779" y="6917"/>
                      <a:pt x="32800" y="1773"/>
                      <a:pt x="28752" y="1773"/>
                    </a:cubicBezTo>
                    <a:lnTo>
                      <a:pt x="28752" y="1773"/>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4" name="Freeform: Shape 93">
                <a:extLst>
                  <a:ext uri="{FF2B5EF4-FFF2-40B4-BE49-F238E27FC236}">
                    <a16:creationId xmlns:a16="http://schemas.microsoft.com/office/drawing/2014/main" id="{2A718CF5-883E-E6A3-D0FB-21A2BC869CBF}"/>
                  </a:ext>
                </a:extLst>
              </p:cNvPr>
              <p:cNvSpPr/>
              <p:nvPr/>
            </p:nvSpPr>
            <p:spPr>
              <a:xfrm>
                <a:off x="3100795" y="3891073"/>
                <a:ext cx="22843" cy="18526"/>
              </a:xfrm>
              <a:custGeom>
                <a:avLst/>
                <a:gdLst>
                  <a:gd name="connsiteX0" fmla="*/ 8938 w 22843"/>
                  <a:gd name="connsiteY0" fmla="*/ 1887 h 18526"/>
                  <a:gd name="connsiteX1" fmla="*/ 9028 w 22843"/>
                  <a:gd name="connsiteY1" fmla="*/ 13080 h 18526"/>
                  <a:gd name="connsiteX2" fmla="*/ 20634 w 22843"/>
                  <a:gd name="connsiteY2" fmla="*/ 20300 h 18526"/>
                  <a:gd name="connsiteX3" fmla="*/ 8938 w 22843"/>
                  <a:gd name="connsiteY3" fmla="*/ 1887 h 18526"/>
                </a:gdLst>
                <a:ahLst/>
                <a:cxnLst>
                  <a:cxn ang="0">
                    <a:pos x="connsiteX0" y="connsiteY0"/>
                  </a:cxn>
                  <a:cxn ang="0">
                    <a:pos x="connsiteX1" y="connsiteY1"/>
                  </a:cxn>
                  <a:cxn ang="0">
                    <a:pos x="connsiteX2" y="connsiteY2"/>
                  </a:cxn>
                  <a:cxn ang="0">
                    <a:pos x="connsiteX3" y="connsiteY3"/>
                  </a:cxn>
                </a:cxnLst>
                <a:rect l="l" t="t" r="r" b="b"/>
                <a:pathLst>
                  <a:path w="22843" h="18526">
                    <a:moveTo>
                      <a:pt x="8938" y="1887"/>
                    </a:moveTo>
                    <a:cubicBezTo>
                      <a:pt x="1830" y="1707"/>
                      <a:pt x="2190" y="13260"/>
                      <a:pt x="9028" y="13080"/>
                    </a:cubicBezTo>
                    <a:cubicBezTo>
                      <a:pt x="15325" y="12266"/>
                      <a:pt x="15415" y="20030"/>
                      <a:pt x="20634" y="20300"/>
                    </a:cubicBezTo>
                    <a:cubicBezTo>
                      <a:pt x="35928" y="16419"/>
                      <a:pt x="18025" y="262"/>
                      <a:pt x="8938" y="1887"/>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5" name="Freeform: Shape 94">
                <a:extLst>
                  <a:ext uri="{FF2B5EF4-FFF2-40B4-BE49-F238E27FC236}">
                    <a16:creationId xmlns:a16="http://schemas.microsoft.com/office/drawing/2014/main" id="{B1C6781B-7D7B-B5FC-B5FB-805091073578}"/>
                  </a:ext>
                </a:extLst>
              </p:cNvPr>
              <p:cNvSpPr/>
              <p:nvPr/>
            </p:nvSpPr>
            <p:spPr>
              <a:xfrm>
                <a:off x="2920607" y="3847854"/>
                <a:ext cx="25401" cy="15813"/>
              </a:xfrm>
              <a:custGeom>
                <a:avLst/>
                <a:gdLst>
                  <a:gd name="connsiteX0" fmla="*/ 8919 w 25401"/>
                  <a:gd name="connsiteY0" fmla="*/ 1782 h 15813"/>
                  <a:gd name="connsiteX1" fmla="*/ 5051 w 25401"/>
                  <a:gd name="connsiteY1" fmla="*/ 10988 h 15813"/>
                  <a:gd name="connsiteX2" fmla="*/ 19807 w 25401"/>
                  <a:gd name="connsiteY2" fmla="*/ 16494 h 15813"/>
                  <a:gd name="connsiteX3" fmla="*/ 23315 w 25401"/>
                  <a:gd name="connsiteY3" fmla="*/ 17577 h 15813"/>
                  <a:gd name="connsiteX4" fmla="*/ 28984 w 25401"/>
                  <a:gd name="connsiteY4" fmla="*/ 12883 h 15813"/>
                  <a:gd name="connsiteX5" fmla="*/ 26285 w 25401"/>
                  <a:gd name="connsiteY5" fmla="*/ 7378 h 15813"/>
                  <a:gd name="connsiteX6" fmla="*/ 8919 w 25401"/>
                  <a:gd name="connsiteY6" fmla="*/ 1782 h 1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1" h="15813">
                    <a:moveTo>
                      <a:pt x="8919" y="1782"/>
                    </a:moveTo>
                    <a:cubicBezTo>
                      <a:pt x="4153" y="1511"/>
                      <a:pt x="2262" y="7739"/>
                      <a:pt x="5051" y="10988"/>
                    </a:cubicBezTo>
                    <a:cubicBezTo>
                      <a:pt x="8471" y="14057"/>
                      <a:pt x="15039" y="12883"/>
                      <a:pt x="19807" y="16494"/>
                    </a:cubicBezTo>
                    <a:cubicBezTo>
                      <a:pt x="20886" y="17125"/>
                      <a:pt x="22056" y="17667"/>
                      <a:pt x="23315" y="17577"/>
                    </a:cubicBezTo>
                    <a:cubicBezTo>
                      <a:pt x="26015" y="17487"/>
                      <a:pt x="28354" y="15592"/>
                      <a:pt x="28984" y="12883"/>
                    </a:cubicBezTo>
                    <a:cubicBezTo>
                      <a:pt x="29612" y="10627"/>
                      <a:pt x="28444" y="8280"/>
                      <a:pt x="26285" y="7378"/>
                    </a:cubicBezTo>
                    <a:cubicBezTo>
                      <a:pt x="20435" y="4399"/>
                      <a:pt x="15039" y="1872"/>
                      <a:pt x="8919" y="178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6" name="Freeform: Shape 95">
                <a:extLst>
                  <a:ext uri="{FF2B5EF4-FFF2-40B4-BE49-F238E27FC236}">
                    <a16:creationId xmlns:a16="http://schemas.microsoft.com/office/drawing/2014/main" id="{30D00862-2B60-EBCA-3153-0B032DBF7EB1}"/>
                  </a:ext>
                </a:extLst>
              </p:cNvPr>
              <p:cNvSpPr/>
              <p:nvPr/>
            </p:nvSpPr>
            <p:spPr>
              <a:xfrm>
                <a:off x="2502722" y="3830893"/>
                <a:ext cx="34684" cy="18595"/>
              </a:xfrm>
              <a:custGeom>
                <a:avLst/>
                <a:gdLst>
                  <a:gd name="connsiteX0" fmla="*/ 33375 w 34684"/>
                  <a:gd name="connsiteY0" fmla="*/ 1774 h 18595"/>
                  <a:gd name="connsiteX1" fmla="*/ 19610 w 34684"/>
                  <a:gd name="connsiteY1" fmla="*/ 5656 h 18595"/>
                  <a:gd name="connsiteX2" fmla="*/ 19610 w 34684"/>
                  <a:gd name="connsiteY2" fmla="*/ 5656 h 18595"/>
                  <a:gd name="connsiteX3" fmla="*/ 4406 w 34684"/>
                  <a:gd name="connsiteY3" fmla="*/ 11883 h 18595"/>
                  <a:gd name="connsiteX4" fmla="*/ 8724 w 34684"/>
                  <a:gd name="connsiteY4" fmla="*/ 20368 h 18595"/>
                  <a:gd name="connsiteX5" fmla="*/ 37783 w 34684"/>
                  <a:gd name="connsiteY5" fmla="*/ 10169 h 18595"/>
                  <a:gd name="connsiteX6" fmla="*/ 33375 w 34684"/>
                  <a:gd name="connsiteY6" fmla="*/ 1774 h 18595"/>
                  <a:gd name="connsiteX7" fmla="*/ 33375 w 34684"/>
                  <a:gd name="connsiteY7" fmla="*/ 1774 h 1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84" h="18595">
                    <a:moveTo>
                      <a:pt x="33375" y="1774"/>
                    </a:moveTo>
                    <a:cubicBezTo>
                      <a:pt x="28696" y="2586"/>
                      <a:pt x="24198" y="4573"/>
                      <a:pt x="19610" y="5656"/>
                    </a:cubicBezTo>
                    <a:lnTo>
                      <a:pt x="19610" y="5656"/>
                    </a:lnTo>
                    <a:cubicBezTo>
                      <a:pt x="14753" y="7732"/>
                      <a:pt x="7735" y="7461"/>
                      <a:pt x="4406" y="11883"/>
                    </a:cubicBezTo>
                    <a:cubicBezTo>
                      <a:pt x="2607" y="15132"/>
                      <a:pt x="4676" y="20368"/>
                      <a:pt x="8724" y="20368"/>
                    </a:cubicBezTo>
                    <a:cubicBezTo>
                      <a:pt x="18081" y="16938"/>
                      <a:pt x="30047" y="16487"/>
                      <a:pt x="37783" y="10169"/>
                    </a:cubicBezTo>
                    <a:cubicBezTo>
                      <a:pt x="39584" y="6920"/>
                      <a:pt x="37515" y="1684"/>
                      <a:pt x="33375" y="1774"/>
                    </a:cubicBezTo>
                    <a:lnTo>
                      <a:pt x="33375"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7" name="Freeform: Shape 96">
                <a:extLst>
                  <a:ext uri="{FF2B5EF4-FFF2-40B4-BE49-F238E27FC236}">
                    <a16:creationId xmlns:a16="http://schemas.microsoft.com/office/drawing/2014/main" id="{2F2CD717-E9B3-4F3E-7FFE-9E2BD7E11F16}"/>
                  </a:ext>
                </a:extLst>
              </p:cNvPr>
              <p:cNvSpPr/>
              <p:nvPr/>
            </p:nvSpPr>
            <p:spPr>
              <a:xfrm>
                <a:off x="2689948" y="3828547"/>
                <a:ext cx="22822" cy="13542"/>
              </a:xfrm>
              <a:custGeom>
                <a:avLst/>
                <a:gdLst>
                  <a:gd name="connsiteX0" fmla="*/ 21406 w 22822"/>
                  <a:gd name="connsiteY0" fmla="*/ 15312 h 13542"/>
                  <a:gd name="connsiteX1" fmla="*/ 25277 w 22822"/>
                  <a:gd name="connsiteY1" fmla="*/ 6105 h 13542"/>
                  <a:gd name="connsiteX2" fmla="*/ 8902 w 22822"/>
                  <a:gd name="connsiteY2" fmla="*/ 1773 h 13542"/>
                  <a:gd name="connsiteX3" fmla="*/ 8001 w 22822"/>
                  <a:gd name="connsiteY3" fmla="*/ 12784 h 13542"/>
                  <a:gd name="connsiteX4" fmla="*/ 21406 w 22822"/>
                  <a:gd name="connsiteY4" fmla="*/ 15312 h 13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22" h="13542">
                    <a:moveTo>
                      <a:pt x="21406" y="15312"/>
                    </a:moveTo>
                    <a:cubicBezTo>
                      <a:pt x="26175" y="15493"/>
                      <a:pt x="28064" y="9445"/>
                      <a:pt x="25277" y="6105"/>
                    </a:cubicBezTo>
                    <a:cubicBezTo>
                      <a:pt x="22397" y="3489"/>
                      <a:pt x="13310" y="2856"/>
                      <a:pt x="8902" y="1773"/>
                    </a:cubicBezTo>
                    <a:cubicBezTo>
                      <a:pt x="2334" y="2044"/>
                      <a:pt x="2064" y="11611"/>
                      <a:pt x="8001" y="12784"/>
                    </a:cubicBezTo>
                    <a:cubicBezTo>
                      <a:pt x="8361" y="12875"/>
                      <a:pt x="16998" y="15402"/>
                      <a:pt x="21406" y="1531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8" name="Freeform: Shape 97">
                <a:extLst>
                  <a:ext uri="{FF2B5EF4-FFF2-40B4-BE49-F238E27FC236}">
                    <a16:creationId xmlns:a16="http://schemas.microsoft.com/office/drawing/2014/main" id="{AE757A87-1D5D-D37A-0BF7-E22355EF6B1A}"/>
                  </a:ext>
                </a:extLst>
              </p:cNvPr>
              <p:cNvSpPr/>
              <p:nvPr/>
            </p:nvSpPr>
            <p:spPr>
              <a:xfrm>
                <a:off x="3151035" y="3794763"/>
                <a:ext cx="37216" cy="13541"/>
              </a:xfrm>
              <a:custGeom>
                <a:avLst/>
                <a:gdLst>
                  <a:gd name="connsiteX0" fmla="*/ 9261 w 37216"/>
                  <a:gd name="connsiteY0" fmla="*/ 1800 h 13541"/>
                  <a:gd name="connsiteX1" fmla="*/ 3772 w 37216"/>
                  <a:gd name="connsiteY1" fmla="*/ 7848 h 13541"/>
                  <a:gd name="connsiteX2" fmla="*/ 10790 w 37216"/>
                  <a:gd name="connsiteY2" fmla="*/ 12992 h 13541"/>
                  <a:gd name="connsiteX3" fmla="*/ 34632 w 37216"/>
                  <a:gd name="connsiteY3" fmla="*/ 15249 h 13541"/>
                  <a:gd name="connsiteX4" fmla="*/ 35081 w 37216"/>
                  <a:gd name="connsiteY4" fmla="*/ 3966 h 13541"/>
                  <a:gd name="connsiteX5" fmla="*/ 9261 w 37216"/>
                  <a:gd name="connsiteY5" fmla="*/ 1800 h 13541"/>
                  <a:gd name="connsiteX6" fmla="*/ 9261 w 37216"/>
                  <a:gd name="connsiteY6" fmla="*/ 1800 h 1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6" h="13541">
                    <a:moveTo>
                      <a:pt x="9261" y="1800"/>
                    </a:moveTo>
                    <a:cubicBezTo>
                      <a:pt x="6021" y="1800"/>
                      <a:pt x="3502" y="4599"/>
                      <a:pt x="3772" y="7848"/>
                    </a:cubicBezTo>
                    <a:cubicBezTo>
                      <a:pt x="3952" y="11459"/>
                      <a:pt x="7462" y="13444"/>
                      <a:pt x="10790" y="12992"/>
                    </a:cubicBezTo>
                    <a:cubicBezTo>
                      <a:pt x="18438" y="12992"/>
                      <a:pt x="26534" y="13354"/>
                      <a:pt x="34632" y="15249"/>
                    </a:cubicBezTo>
                    <a:cubicBezTo>
                      <a:pt x="42729" y="16332"/>
                      <a:pt x="43269" y="3606"/>
                      <a:pt x="35081" y="3966"/>
                    </a:cubicBezTo>
                    <a:cubicBezTo>
                      <a:pt x="26534" y="2342"/>
                      <a:pt x="17897" y="1619"/>
                      <a:pt x="9261" y="1800"/>
                    </a:cubicBezTo>
                    <a:lnTo>
                      <a:pt x="9261" y="1800"/>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99" name="Freeform: Shape 98">
                <a:extLst>
                  <a:ext uri="{FF2B5EF4-FFF2-40B4-BE49-F238E27FC236}">
                    <a16:creationId xmlns:a16="http://schemas.microsoft.com/office/drawing/2014/main" id="{ED3760F5-B272-B5F9-284E-CF7F49BC7902}"/>
                  </a:ext>
                </a:extLst>
              </p:cNvPr>
              <p:cNvSpPr/>
              <p:nvPr/>
            </p:nvSpPr>
            <p:spPr>
              <a:xfrm>
                <a:off x="2925053" y="3725019"/>
                <a:ext cx="28302" cy="20351"/>
              </a:xfrm>
              <a:custGeom>
                <a:avLst/>
                <a:gdLst>
                  <a:gd name="connsiteX0" fmla="*/ 26068 w 28302"/>
                  <a:gd name="connsiteY0" fmla="*/ 1773 h 20351"/>
                  <a:gd name="connsiteX1" fmla="*/ 10593 w 28302"/>
                  <a:gd name="connsiteY1" fmla="*/ 10257 h 20351"/>
                  <a:gd name="connsiteX2" fmla="*/ 3936 w 28302"/>
                  <a:gd name="connsiteY2" fmla="*/ 17568 h 20351"/>
                  <a:gd name="connsiteX3" fmla="*/ 15720 w 28302"/>
                  <a:gd name="connsiteY3" fmla="*/ 20096 h 20351"/>
                  <a:gd name="connsiteX4" fmla="*/ 15720 w 28302"/>
                  <a:gd name="connsiteY4" fmla="*/ 20096 h 20351"/>
                  <a:gd name="connsiteX5" fmla="*/ 26068 w 28302"/>
                  <a:gd name="connsiteY5" fmla="*/ 1773 h 2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02" h="20351">
                    <a:moveTo>
                      <a:pt x="26068" y="1773"/>
                    </a:moveTo>
                    <a:cubicBezTo>
                      <a:pt x="20579" y="3308"/>
                      <a:pt x="16441" y="8723"/>
                      <a:pt x="10593" y="10257"/>
                    </a:cubicBezTo>
                    <a:cubicBezTo>
                      <a:pt x="7444" y="11611"/>
                      <a:pt x="2765" y="13236"/>
                      <a:pt x="3936" y="17568"/>
                    </a:cubicBezTo>
                    <a:cubicBezTo>
                      <a:pt x="5375" y="23436"/>
                      <a:pt x="11762" y="22894"/>
                      <a:pt x="15720" y="20096"/>
                    </a:cubicBezTo>
                    <a:lnTo>
                      <a:pt x="15720" y="20096"/>
                    </a:lnTo>
                    <a:cubicBezTo>
                      <a:pt x="22738" y="17478"/>
                      <a:pt x="41632" y="6557"/>
                      <a:pt x="26068" y="1773"/>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100" name="Freeform: Shape 99">
                <a:extLst>
                  <a:ext uri="{FF2B5EF4-FFF2-40B4-BE49-F238E27FC236}">
                    <a16:creationId xmlns:a16="http://schemas.microsoft.com/office/drawing/2014/main" id="{02E55319-74BC-3CBB-F076-113D703B5EC7}"/>
                  </a:ext>
                </a:extLst>
              </p:cNvPr>
              <p:cNvSpPr/>
              <p:nvPr/>
            </p:nvSpPr>
            <p:spPr>
              <a:xfrm>
                <a:off x="2531187" y="3722489"/>
                <a:ext cx="27769" cy="15599"/>
              </a:xfrm>
              <a:custGeom>
                <a:avLst/>
                <a:gdLst>
                  <a:gd name="connsiteX0" fmla="*/ 26414 w 27769"/>
                  <a:gd name="connsiteY0" fmla="*/ 1775 h 15599"/>
                  <a:gd name="connsiteX1" fmla="*/ 6622 w 27769"/>
                  <a:gd name="connsiteY1" fmla="*/ 7371 h 15599"/>
                  <a:gd name="connsiteX2" fmla="*/ 3922 w 27769"/>
                  <a:gd name="connsiteY2" fmla="*/ 12787 h 15599"/>
                  <a:gd name="connsiteX3" fmla="*/ 26234 w 27769"/>
                  <a:gd name="connsiteY3" fmla="*/ 12967 h 15599"/>
                  <a:gd name="connsiteX4" fmla="*/ 26414 w 27769"/>
                  <a:gd name="connsiteY4" fmla="*/ 1775 h 15599"/>
                  <a:gd name="connsiteX5" fmla="*/ 26414 w 27769"/>
                  <a:gd name="connsiteY5" fmla="*/ 1775 h 1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69" h="15599">
                    <a:moveTo>
                      <a:pt x="26414" y="1775"/>
                    </a:moveTo>
                    <a:cubicBezTo>
                      <a:pt x="20385" y="1956"/>
                      <a:pt x="14177" y="3671"/>
                      <a:pt x="6622" y="7371"/>
                    </a:cubicBezTo>
                    <a:cubicBezTo>
                      <a:pt x="4462" y="8274"/>
                      <a:pt x="3292" y="10620"/>
                      <a:pt x="3922" y="12787"/>
                    </a:cubicBezTo>
                    <a:cubicBezTo>
                      <a:pt x="7700" y="23528"/>
                      <a:pt x="18766" y="11884"/>
                      <a:pt x="26234" y="12967"/>
                    </a:cubicBezTo>
                    <a:cubicBezTo>
                      <a:pt x="33072" y="13148"/>
                      <a:pt x="33432" y="1594"/>
                      <a:pt x="26414" y="1775"/>
                    </a:cubicBezTo>
                    <a:lnTo>
                      <a:pt x="26414" y="1775"/>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101" name="Freeform: Shape 100">
                <a:extLst>
                  <a:ext uri="{FF2B5EF4-FFF2-40B4-BE49-F238E27FC236}">
                    <a16:creationId xmlns:a16="http://schemas.microsoft.com/office/drawing/2014/main" id="{D0902869-4007-997A-1CFB-FDB15134A9CF}"/>
                  </a:ext>
                </a:extLst>
              </p:cNvPr>
              <p:cNvSpPr/>
              <p:nvPr/>
            </p:nvSpPr>
            <p:spPr>
              <a:xfrm>
                <a:off x="2709052" y="3703265"/>
                <a:ext cx="22809" cy="25635"/>
              </a:xfrm>
              <a:custGeom>
                <a:avLst/>
                <a:gdLst>
                  <a:gd name="connsiteX0" fmla="*/ 9411 w 22809"/>
                  <a:gd name="connsiteY0" fmla="*/ 1774 h 25635"/>
                  <a:gd name="connsiteX1" fmla="*/ 6443 w 22809"/>
                  <a:gd name="connsiteY1" fmla="*/ 12154 h 25635"/>
                  <a:gd name="connsiteX2" fmla="*/ 16519 w 22809"/>
                  <a:gd name="connsiteY2" fmla="*/ 24610 h 25635"/>
                  <a:gd name="connsiteX3" fmla="*/ 20837 w 22809"/>
                  <a:gd name="connsiteY3" fmla="*/ 27408 h 25635"/>
                  <a:gd name="connsiteX4" fmla="*/ 9411 w 22809"/>
                  <a:gd name="connsiteY4" fmla="*/ 1774 h 25635"/>
                  <a:gd name="connsiteX5" fmla="*/ 9411 w 22809"/>
                  <a:gd name="connsiteY5" fmla="*/ 1774 h 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09" h="25635">
                    <a:moveTo>
                      <a:pt x="9411" y="1774"/>
                    </a:moveTo>
                    <a:cubicBezTo>
                      <a:pt x="4194" y="1683"/>
                      <a:pt x="1314" y="9717"/>
                      <a:pt x="6443" y="12154"/>
                    </a:cubicBezTo>
                    <a:cubicBezTo>
                      <a:pt x="10942" y="14591"/>
                      <a:pt x="13909" y="19555"/>
                      <a:pt x="16519" y="24610"/>
                    </a:cubicBezTo>
                    <a:cubicBezTo>
                      <a:pt x="17239" y="26324"/>
                      <a:pt x="18948" y="27408"/>
                      <a:pt x="20837" y="27408"/>
                    </a:cubicBezTo>
                    <a:cubicBezTo>
                      <a:pt x="35951" y="24971"/>
                      <a:pt x="17239" y="2676"/>
                      <a:pt x="9411" y="1774"/>
                    </a:cubicBezTo>
                    <a:lnTo>
                      <a:pt x="9411" y="1774"/>
                    </a:ln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102" name="Freeform: Shape 101">
                <a:extLst>
                  <a:ext uri="{FF2B5EF4-FFF2-40B4-BE49-F238E27FC236}">
                    <a16:creationId xmlns:a16="http://schemas.microsoft.com/office/drawing/2014/main" id="{1C23724C-28C0-0C59-2D32-2CA6E38E93CC}"/>
                  </a:ext>
                </a:extLst>
              </p:cNvPr>
              <p:cNvSpPr/>
              <p:nvPr/>
            </p:nvSpPr>
            <p:spPr>
              <a:xfrm>
                <a:off x="3307092" y="4481577"/>
                <a:ext cx="27818" cy="13517"/>
              </a:xfrm>
              <a:custGeom>
                <a:avLst/>
                <a:gdLst>
                  <a:gd name="connsiteX0" fmla="*/ 29990 w 27818"/>
                  <a:gd name="connsiteY0" fmla="*/ 3308 h 13517"/>
                  <a:gd name="connsiteX1" fmla="*/ 26122 w 27818"/>
                  <a:gd name="connsiteY1" fmla="*/ 1773 h 13517"/>
                  <a:gd name="connsiteX2" fmla="*/ 4080 w 27818"/>
                  <a:gd name="connsiteY2" fmla="*/ 7911 h 13517"/>
                  <a:gd name="connsiteX3" fmla="*/ 12176 w 27818"/>
                  <a:gd name="connsiteY3" fmla="*/ 14590 h 13517"/>
                  <a:gd name="connsiteX4" fmla="*/ 30890 w 27818"/>
                  <a:gd name="connsiteY4" fmla="*/ 10077 h 13517"/>
                  <a:gd name="connsiteX5" fmla="*/ 31521 w 27818"/>
                  <a:gd name="connsiteY5" fmla="*/ 6738 h 13517"/>
                  <a:gd name="connsiteX6" fmla="*/ 29990 w 27818"/>
                  <a:gd name="connsiteY6" fmla="*/ 3308 h 1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8" h="13517">
                    <a:moveTo>
                      <a:pt x="29990" y="3308"/>
                    </a:moveTo>
                    <a:cubicBezTo>
                      <a:pt x="28911" y="2315"/>
                      <a:pt x="27560" y="1773"/>
                      <a:pt x="26122" y="1773"/>
                    </a:cubicBezTo>
                    <a:cubicBezTo>
                      <a:pt x="19374" y="2315"/>
                      <a:pt x="8308" y="961"/>
                      <a:pt x="4080" y="7911"/>
                    </a:cubicBezTo>
                    <a:cubicBezTo>
                      <a:pt x="2371" y="12695"/>
                      <a:pt x="7678" y="17028"/>
                      <a:pt x="12176" y="14590"/>
                    </a:cubicBezTo>
                    <a:cubicBezTo>
                      <a:pt x="17755" y="10980"/>
                      <a:pt x="27470" y="15854"/>
                      <a:pt x="30890" y="10077"/>
                    </a:cubicBezTo>
                    <a:cubicBezTo>
                      <a:pt x="30890" y="10077"/>
                      <a:pt x="31789" y="8633"/>
                      <a:pt x="31521" y="6738"/>
                    </a:cubicBezTo>
                    <a:cubicBezTo>
                      <a:pt x="31250" y="4843"/>
                      <a:pt x="29990" y="3308"/>
                      <a:pt x="29990" y="3308"/>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103" name="Freeform: Shape 102">
                <a:extLst>
                  <a:ext uri="{FF2B5EF4-FFF2-40B4-BE49-F238E27FC236}">
                    <a16:creationId xmlns:a16="http://schemas.microsoft.com/office/drawing/2014/main" id="{EA45DA4D-9303-2F3C-CBFE-2ED08DE1C631}"/>
                  </a:ext>
                </a:extLst>
              </p:cNvPr>
              <p:cNvSpPr/>
              <p:nvPr/>
            </p:nvSpPr>
            <p:spPr>
              <a:xfrm>
                <a:off x="3055066" y="3672490"/>
                <a:ext cx="29916" cy="20073"/>
              </a:xfrm>
              <a:custGeom>
                <a:avLst/>
                <a:gdLst>
                  <a:gd name="connsiteX0" fmla="*/ 24439 w 29916"/>
                  <a:gd name="connsiteY0" fmla="*/ 2221 h 20073"/>
                  <a:gd name="connsiteX1" fmla="*/ 3836 w 29916"/>
                  <a:gd name="connsiteY1" fmla="*/ 18017 h 20073"/>
                  <a:gd name="connsiteX2" fmla="*/ 13103 w 29916"/>
                  <a:gd name="connsiteY2" fmla="*/ 20364 h 20073"/>
                  <a:gd name="connsiteX3" fmla="*/ 28667 w 29916"/>
                  <a:gd name="connsiteY3" fmla="*/ 12511 h 20073"/>
                  <a:gd name="connsiteX4" fmla="*/ 33526 w 29916"/>
                  <a:gd name="connsiteY4" fmla="*/ 7908 h 20073"/>
                  <a:gd name="connsiteX5" fmla="*/ 30827 w 29916"/>
                  <a:gd name="connsiteY5" fmla="*/ 2673 h 20073"/>
                  <a:gd name="connsiteX6" fmla="*/ 24439 w 29916"/>
                  <a:gd name="connsiteY6" fmla="*/ 2221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16" h="20073">
                    <a:moveTo>
                      <a:pt x="24439" y="2221"/>
                    </a:moveTo>
                    <a:cubicBezTo>
                      <a:pt x="17692" y="5200"/>
                      <a:pt x="2488" y="8720"/>
                      <a:pt x="3836" y="18017"/>
                    </a:cubicBezTo>
                    <a:cubicBezTo>
                      <a:pt x="5275" y="21628"/>
                      <a:pt x="10314" y="23252"/>
                      <a:pt x="13103" y="20364"/>
                    </a:cubicBezTo>
                    <a:cubicBezTo>
                      <a:pt x="17421" y="16303"/>
                      <a:pt x="23178" y="14406"/>
                      <a:pt x="28667" y="12511"/>
                    </a:cubicBezTo>
                    <a:cubicBezTo>
                      <a:pt x="31007" y="11969"/>
                      <a:pt x="33256" y="10435"/>
                      <a:pt x="33526" y="7908"/>
                    </a:cubicBezTo>
                    <a:cubicBezTo>
                      <a:pt x="33526" y="7908"/>
                      <a:pt x="34605" y="4388"/>
                      <a:pt x="30827" y="2673"/>
                    </a:cubicBezTo>
                    <a:cubicBezTo>
                      <a:pt x="27139" y="958"/>
                      <a:pt x="24439" y="2221"/>
                      <a:pt x="24439" y="2221"/>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grpSp>
        <p:sp>
          <p:nvSpPr>
            <p:cNvPr id="61" name="Freeform: Shape 60">
              <a:extLst>
                <a:ext uri="{FF2B5EF4-FFF2-40B4-BE49-F238E27FC236}">
                  <a16:creationId xmlns:a16="http://schemas.microsoft.com/office/drawing/2014/main" id="{02A97C4E-E83C-13BB-C73F-A6017319A3F6}"/>
                </a:ext>
              </a:extLst>
            </p:cNvPr>
            <p:cNvSpPr/>
            <p:nvPr/>
          </p:nvSpPr>
          <p:spPr>
            <a:xfrm>
              <a:off x="2612593" y="2911896"/>
              <a:ext cx="483411" cy="589426"/>
            </a:xfrm>
            <a:custGeom>
              <a:avLst/>
              <a:gdLst>
                <a:gd name="connsiteX0" fmla="*/ 389441 w 483411"/>
                <a:gd name="connsiteY0" fmla="*/ 34142 h 589426"/>
                <a:gd name="connsiteX1" fmla="*/ 70955 w 483411"/>
                <a:gd name="connsiteY1" fmla="*/ 85409 h 589426"/>
                <a:gd name="connsiteX2" fmla="*/ 42884 w 483411"/>
                <a:gd name="connsiteY2" fmla="*/ 144439 h 589426"/>
                <a:gd name="connsiteX3" fmla="*/ 21025 w 483411"/>
                <a:gd name="connsiteY3" fmla="*/ 248328 h 589426"/>
                <a:gd name="connsiteX4" fmla="*/ 22641 w 483411"/>
                <a:gd name="connsiteY4" fmla="*/ 303658 h 589426"/>
                <a:gd name="connsiteX5" fmla="*/ 29029 w 483411"/>
                <a:gd name="connsiteY5" fmla="*/ 314940 h 589426"/>
                <a:gd name="connsiteX6" fmla="*/ 4920 w 483411"/>
                <a:gd name="connsiteY6" fmla="*/ 345358 h 589426"/>
                <a:gd name="connsiteX7" fmla="*/ 19852 w 483411"/>
                <a:gd name="connsiteY7" fmla="*/ 399874 h 589426"/>
                <a:gd name="connsiteX8" fmla="*/ 27772 w 483411"/>
                <a:gd name="connsiteY8" fmla="*/ 430112 h 589426"/>
                <a:gd name="connsiteX9" fmla="*/ 77790 w 483411"/>
                <a:gd name="connsiteY9" fmla="*/ 463056 h 589426"/>
                <a:gd name="connsiteX10" fmla="*/ 120978 w 483411"/>
                <a:gd name="connsiteY10" fmla="*/ 512610 h 589426"/>
                <a:gd name="connsiteX11" fmla="*/ 332222 w 483411"/>
                <a:gd name="connsiteY11" fmla="*/ 590233 h 589426"/>
                <a:gd name="connsiteX12" fmla="*/ 461055 w 483411"/>
                <a:gd name="connsiteY12" fmla="*/ 476595 h 589426"/>
                <a:gd name="connsiteX13" fmla="*/ 484537 w 483411"/>
                <a:gd name="connsiteY13" fmla="*/ 175307 h 589426"/>
                <a:gd name="connsiteX14" fmla="*/ 389441 w 483411"/>
                <a:gd name="connsiteY14" fmla="*/ 34142 h 58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3411" h="589426">
                  <a:moveTo>
                    <a:pt x="389441" y="34142"/>
                  </a:moveTo>
                  <a:cubicBezTo>
                    <a:pt x="289668" y="-17125"/>
                    <a:pt x="141128" y="-11621"/>
                    <a:pt x="70955" y="85409"/>
                  </a:cubicBezTo>
                  <a:cubicBezTo>
                    <a:pt x="59709" y="103822"/>
                    <a:pt x="48463" y="123950"/>
                    <a:pt x="42884" y="144439"/>
                  </a:cubicBezTo>
                  <a:cubicBezTo>
                    <a:pt x="36049" y="170975"/>
                    <a:pt x="23810" y="210239"/>
                    <a:pt x="21025" y="248328"/>
                  </a:cubicBezTo>
                  <a:cubicBezTo>
                    <a:pt x="19584" y="267643"/>
                    <a:pt x="21205" y="285605"/>
                    <a:pt x="22641" y="303658"/>
                  </a:cubicBezTo>
                  <a:cubicBezTo>
                    <a:pt x="23182" y="310066"/>
                    <a:pt x="29209" y="312593"/>
                    <a:pt x="29029" y="314940"/>
                  </a:cubicBezTo>
                  <a:cubicBezTo>
                    <a:pt x="27412" y="330013"/>
                    <a:pt x="11575" y="326403"/>
                    <a:pt x="4920" y="345358"/>
                  </a:cubicBezTo>
                  <a:cubicBezTo>
                    <a:pt x="2130" y="356640"/>
                    <a:pt x="7437" y="383357"/>
                    <a:pt x="19852" y="399874"/>
                  </a:cubicBezTo>
                  <a:cubicBezTo>
                    <a:pt x="25791" y="407817"/>
                    <a:pt x="20124" y="426682"/>
                    <a:pt x="27772" y="430112"/>
                  </a:cubicBezTo>
                  <a:cubicBezTo>
                    <a:pt x="45313" y="440040"/>
                    <a:pt x="58808" y="438235"/>
                    <a:pt x="77790" y="463056"/>
                  </a:cubicBezTo>
                  <a:cubicBezTo>
                    <a:pt x="91558" y="480115"/>
                    <a:pt x="103524" y="498980"/>
                    <a:pt x="120978" y="512610"/>
                  </a:cubicBezTo>
                  <a:cubicBezTo>
                    <a:pt x="157505" y="581026"/>
                    <a:pt x="261869" y="596551"/>
                    <a:pt x="332222" y="590233"/>
                  </a:cubicBezTo>
                  <a:cubicBezTo>
                    <a:pt x="397629" y="579763"/>
                    <a:pt x="437214" y="535084"/>
                    <a:pt x="461055" y="476595"/>
                  </a:cubicBezTo>
                  <a:cubicBezTo>
                    <a:pt x="498213" y="385342"/>
                    <a:pt x="485976" y="255821"/>
                    <a:pt x="484537" y="175307"/>
                  </a:cubicBezTo>
                  <a:cubicBezTo>
                    <a:pt x="485258" y="107703"/>
                    <a:pt x="446659" y="62302"/>
                    <a:pt x="389441" y="34142"/>
                  </a:cubicBezTo>
                  <a:close/>
                </a:path>
              </a:pathLst>
            </a:custGeom>
            <a:solidFill>
              <a:srgbClr val="FFFFFF"/>
            </a:solidFill>
            <a:ln w="8956" cap="flat">
              <a:noFill/>
              <a:prstDash val="solid"/>
              <a:miter/>
            </a:ln>
          </p:spPr>
          <p:txBody>
            <a:bodyPr rtlCol="0" anchor="ctr"/>
            <a:lstStyle/>
            <a:p>
              <a:endParaRPr lang="en-GB">
                <a:solidFill>
                  <a:schemeClr val="bg1"/>
                </a:solidFill>
              </a:endParaRPr>
            </a:p>
          </p:txBody>
        </p:sp>
        <p:sp>
          <p:nvSpPr>
            <p:cNvPr id="63" name="Freeform: Shape 62">
              <a:extLst>
                <a:ext uri="{FF2B5EF4-FFF2-40B4-BE49-F238E27FC236}">
                  <a16:creationId xmlns:a16="http://schemas.microsoft.com/office/drawing/2014/main" id="{89E2C43A-B241-8311-3FAD-A9D41FA6EFE2}"/>
                </a:ext>
              </a:extLst>
            </p:cNvPr>
            <p:cNvSpPr/>
            <p:nvPr/>
          </p:nvSpPr>
          <p:spPr>
            <a:xfrm>
              <a:off x="2889291" y="3354076"/>
              <a:ext cx="93873" cy="46313"/>
            </a:xfrm>
            <a:custGeom>
              <a:avLst/>
              <a:gdLst>
                <a:gd name="connsiteX0" fmla="*/ 49122 w 93873"/>
                <a:gd name="connsiteY0" fmla="*/ 47549 h 46313"/>
                <a:gd name="connsiteX1" fmla="*/ 9734 w 93873"/>
                <a:gd name="connsiteY1" fmla="*/ 29317 h 46313"/>
                <a:gd name="connsiteX2" fmla="*/ 4489 w 93873"/>
                <a:gd name="connsiteY2" fmla="*/ 1246 h 46313"/>
                <a:gd name="connsiteX3" fmla="*/ 7979 w 93873"/>
                <a:gd name="connsiteY3" fmla="*/ 3322 h 46313"/>
                <a:gd name="connsiteX4" fmla="*/ 75932 w 93873"/>
                <a:gd name="connsiteY4" fmla="*/ 14244 h 46313"/>
                <a:gd name="connsiteX5" fmla="*/ 82914 w 93873"/>
                <a:gd name="connsiteY5" fmla="*/ 10724 h 46313"/>
                <a:gd name="connsiteX6" fmla="*/ 82977 w 93873"/>
                <a:gd name="connsiteY6" fmla="*/ 10724 h 46313"/>
                <a:gd name="connsiteX7" fmla="*/ 90399 w 93873"/>
                <a:gd name="connsiteY7" fmla="*/ 14063 h 46313"/>
                <a:gd name="connsiteX8" fmla="*/ 93872 w 93873"/>
                <a:gd name="connsiteY8" fmla="*/ 21645 h 46313"/>
                <a:gd name="connsiteX9" fmla="*/ 91002 w 93873"/>
                <a:gd name="connsiteY9" fmla="*/ 29045 h 46313"/>
                <a:gd name="connsiteX10" fmla="*/ 49122 w 93873"/>
                <a:gd name="connsiteY10" fmla="*/ 47549 h 4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73" h="46313">
                  <a:moveTo>
                    <a:pt x="49122" y="47549"/>
                  </a:moveTo>
                  <a:cubicBezTo>
                    <a:pt x="34097" y="47730"/>
                    <a:pt x="19513" y="40599"/>
                    <a:pt x="9734" y="29317"/>
                  </a:cubicBezTo>
                  <a:cubicBezTo>
                    <a:pt x="4354" y="23811"/>
                    <a:pt x="-5930" y="2871"/>
                    <a:pt x="4489" y="1246"/>
                  </a:cubicBezTo>
                  <a:cubicBezTo>
                    <a:pt x="5937" y="1155"/>
                    <a:pt x="7377" y="1968"/>
                    <a:pt x="7979" y="3322"/>
                  </a:cubicBezTo>
                  <a:cubicBezTo>
                    <a:pt x="24093" y="28685"/>
                    <a:pt x="54727" y="38975"/>
                    <a:pt x="75932" y="14244"/>
                  </a:cubicBezTo>
                  <a:cubicBezTo>
                    <a:pt x="77633" y="12077"/>
                    <a:pt x="80188" y="10814"/>
                    <a:pt x="82914" y="10724"/>
                  </a:cubicBezTo>
                  <a:lnTo>
                    <a:pt x="82977" y="10724"/>
                  </a:lnTo>
                  <a:cubicBezTo>
                    <a:pt x="85784" y="10814"/>
                    <a:pt x="88456" y="11987"/>
                    <a:pt x="90399" y="14063"/>
                  </a:cubicBezTo>
                  <a:cubicBezTo>
                    <a:pt x="92450" y="16049"/>
                    <a:pt x="93692" y="18757"/>
                    <a:pt x="93872" y="21645"/>
                  </a:cubicBezTo>
                  <a:cubicBezTo>
                    <a:pt x="93971" y="24443"/>
                    <a:pt x="92936" y="27060"/>
                    <a:pt x="91002" y="29045"/>
                  </a:cubicBezTo>
                  <a:cubicBezTo>
                    <a:pt x="80323" y="40599"/>
                    <a:pt x="64830" y="47549"/>
                    <a:pt x="49122" y="4754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64" name="Freeform: Shape 63">
              <a:extLst>
                <a:ext uri="{FF2B5EF4-FFF2-40B4-BE49-F238E27FC236}">
                  <a16:creationId xmlns:a16="http://schemas.microsoft.com/office/drawing/2014/main" id="{98F1B0DC-A770-2212-2052-49E4FD098DB5}"/>
                </a:ext>
              </a:extLst>
            </p:cNvPr>
            <p:cNvSpPr/>
            <p:nvPr/>
          </p:nvSpPr>
          <p:spPr>
            <a:xfrm>
              <a:off x="2915566" y="3264094"/>
              <a:ext cx="69784" cy="62666"/>
            </a:xfrm>
            <a:custGeom>
              <a:avLst/>
              <a:gdLst>
                <a:gd name="connsiteX0" fmla="*/ 38563 w 69784"/>
                <a:gd name="connsiteY0" fmla="*/ 63879 h 62666"/>
                <a:gd name="connsiteX1" fmla="*/ 3755 w 69784"/>
                <a:gd name="connsiteY1" fmla="*/ 35718 h 62666"/>
                <a:gd name="connsiteX2" fmla="*/ 8820 w 69784"/>
                <a:gd name="connsiteY2" fmla="*/ 33732 h 62666"/>
                <a:gd name="connsiteX3" fmla="*/ 12743 w 69784"/>
                <a:gd name="connsiteY3" fmla="*/ 34996 h 62666"/>
                <a:gd name="connsiteX4" fmla="*/ 52481 w 69784"/>
                <a:gd name="connsiteY4" fmla="*/ 43751 h 62666"/>
                <a:gd name="connsiteX5" fmla="*/ 38051 w 69784"/>
                <a:gd name="connsiteY5" fmla="*/ 8459 h 62666"/>
                <a:gd name="connsiteX6" fmla="*/ 37151 w 69784"/>
                <a:gd name="connsiteY6" fmla="*/ 4669 h 62666"/>
                <a:gd name="connsiteX7" fmla="*/ 41955 w 69784"/>
                <a:gd name="connsiteY7" fmla="*/ 1239 h 62666"/>
                <a:gd name="connsiteX8" fmla="*/ 69575 w 69784"/>
                <a:gd name="connsiteY8" fmla="*/ 34544 h 62666"/>
                <a:gd name="connsiteX9" fmla="*/ 38563 w 69784"/>
                <a:gd name="connsiteY9" fmla="*/ 63879 h 6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4" h="62666">
                  <a:moveTo>
                    <a:pt x="38563" y="63879"/>
                  </a:moveTo>
                  <a:cubicBezTo>
                    <a:pt x="27524" y="64331"/>
                    <a:pt x="-12260" y="50611"/>
                    <a:pt x="3755" y="35718"/>
                  </a:cubicBezTo>
                  <a:cubicBezTo>
                    <a:pt x="5158" y="34454"/>
                    <a:pt x="6949" y="33823"/>
                    <a:pt x="8820" y="33732"/>
                  </a:cubicBezTo>
                  <a:cubicBezTo>
                    <a:pt x="10214" y="33732"/>
                    <a:pt x="11582" y="34184"/>
                    <a:pt x="12743" y="34996"/>
                  </a:cubicBezTo>
                  <a:cubicBezTo>
                    <a:pt x="22513" y="42849"/>
                    <a:pt x="40732" y="56659"/>
                    <a:pt x="52481" y="43751"/>
                  </a:cubicBezTo>
                  <a:cubicBezTo>
                    <a:pt x="63934" y="29851"/>
                    <a:pt x="46058" y="12431"/>
                    <a:pt x="38051" y="8459"/>
                  </a:cubicBezTo>
                  <a:cubicBezTo>
                    <a:pt x="36953" y="7557"/>
                    <a:pt x="36593" y="6023"/>
                    <a:pt x="37151" y="4669"/>
                  </a:cubicBezTo>
                  <a:cubicBezTo>
                    <a:pt x="37817" y="2593"/>
                    <a:pt x="39769" y="1239"/>
                    <a:pt x="41955" y="1239"/>
                  </a:cubicBezTo>
                  <a:cubicBezTo>
                    <a:pt x="58428" y="2503"/>
                    <a:pt x="71645" y="17937"/>
                    <a:pt x="69575" y="34544"/>
                  </a:cubicBezTo>
                  <a:cubicBezTo>
                    <a:pt x="68649" y="50521"/>
                    <a:pt x="54803" y="64602"/>
                    <a:pt x="38563" y="6387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65" name="Freeform: Shape 64">
              <a:extLst>
                <a:ext uri="{FF2B5EF4-FFF2-40B4-BE49-F238E27FC236}">
                  <a16:creationId xmlns:a16="http://schemas.microsoft.com/office/drawing/2014/main" id="{E0A4C9E8-D078-C888-3600-67B4E254DC8C}"/>
                </a:ext>
              </a:extLst>
            </p:cNvPr>
            <p:cNvSpPr/>
            <p:nvPr/>
          </p:nvSpPr>
          <p:spPr>
            <a:xfrm>
              <a:off x="2821914" y="3225496"/>
              <a:ext cx="68524" cy="50331"/>
            </a:xfrm>
            <a:custGeom>
              <a:avLst/>
              <a:gdLst>
                <a:gd name="connsiteX0" fmla="*/ 5910 w 68524"/>
                <a:gd name="connsiteY0" fmla="*/ 51570 h 50331"/>
                <a:gd name="connsiteX1" fmla="*/ 4083 w 68524"/>
                <a:gd name="connsiteY1" fmla="*/ 51391 h 50331"/>
                <a:gd name="connsiteX2" fmla="*/ 1573 w 68524"/>
                <a:gd name="connsiteY2" fmla="*/ 49225 h 50331"/>
                <a:gd name="connsiteX3" fmla="*/ 3112 w 68524"/>
                <a:gd name="connsiteY3" fmla="*/ 26027 h 50331"/>
                <a:gd name="connsiteX4" fmla="*/ 63777 w 68524"/>
                <a:gd name="connsiteY4" fmla="*/ 21785 h 50331"/>
                <a:gd name="connsiteX5" fmla="*/ 66701 w 68524"/>
                <a:gd name="connsiteY5" fmla="*/ 26027 h 50331"/>
                <a:gd name="connsiteX6" fmla="*/ 68123 w 68524"/>
                <a:gd name="connsiteY6" fmla="*/ 33880 h 50331"/>
                <a:gd name="connsiteX7" fmla="*/ 62374 w 68524"/>
                <a:gd name="connsiteY7" fmla="*/ 39837 h 50331"/>
                <a:gd name="connsiteX8" fmla="*/ 48905 w 68524"/>
                <a:gd name="connsiteY8" fmla="*/ 34151 h 50331"/>
                <a:gd name="connsiteX9" fmla="*/ 38514 w 68524"/>
                <a:gd name="connsiteY9" fmla="*/ 20341 h 50331"/>
                <a:gd name="connsiteX10" fmla="*/ 27367 w 68524"/>
                <a:gd name="connsiteY10" fmla="*/ 19438 h 50331"/>
                <a:gd name="connsiteX11" fmla="*/ 14403 w 68524"/>
                <a:gd name="connsiteY11" fmla="*/ 32435 h 50331"/>
                <a:gd name="connsiteX12" fmla="*/ 10147 w 68524"/>
                <a:gd name="connsiteY12" fmla="*/ 47599 h 50331"/>
                <a:gd name="connsiteX13" fmla="*/ 6630 w 68524"/>
                <a:gd name="connsiteY13" fmla="*/ 51570 h 50331"/>
                <a:gd name="connsiteX14" fmla="*/ 5910 w 68524"/>
                <a:gd name="connsiteY14" fmla="*/ 51570 h 5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24" h="50331">
                  <a:moveTo>
                    <a:pt x="5910" y="51570"/>
                  </a:moveTo>
                  <a:cubicBezTo>
                    <a:pt x="5289" y="51570"/>
                    <a:pt x="4677" y="51481"/>
                    <a:pt x="4083" y="51391"/>
                  </a:cubicBezTo>
                  <a:cubicBezTo>
                    <a:pt x="2959" y="51029"/>
                    <a:pt x="2032" y="50308"/>
                    <a:pt x="1573" y="49225"/>
                  </a:cubicBezTo>
                  <a:cubicBezTo>
                    <a:pt x="-1612" y="40649"/>
                    <a:pt x="647" y="31894"/>
                    <a:pt x="3112" y="26027"/>
                  </a:cubicBezTo>
                  <a:cubicBezTo>
                    <a:pt x="16310" y="-6466"/>
                    <a:pt x="48204" y="-6105"/>
                    <a:pt x="63777" y="21785"/>
                  </a:cubicBezTo>
                  <a:cubicBezTo>
                    <a:pt x="64722" y="23230"/>
                    <a:pt x="65702" y="24583"/>
                    <a:pt x="66701" y="26027"/>
                  </a:cubicBezTo>
                  <a:cubicBezTo>
                    <a:pt x="68456" y="28193"/>
                    <a:pt x="68986" y="31173"/>
                    <a:pt x="68123" y="33880"/>
                  </a:cubicBezTo>
                  <a:cubicBezTo>
                    <a:pt x="67133" y="36588"/>
                    <a:pt x="65046" y="38754"/>
                    <a:pt x="62374" y="39837"/>
                  </a:cubicBezTo>
                  <a:cubicBezTo>
                    <a:pt x="57245" y="42184"/>
                    <a:pt x="50759" y="39566"/>
                    <a:pt x="48905" y="34151"/>
                  </a:cubicBezTo>
                  <a:cubicBezTo>
                    <a:pt x="46332" y="27922"/>
                    <a:pt x="42545" y="22959"/>
                    <a:pt x="38514" y="20341"/>
                  </a:cubicBezTo>
                  <a:cubicBezTo>
                    <a:pt x="35221" y="18084"/>
                    <a:pt x="30966" y="17723"/>
                    <a:pt x="27367" y="19438"/>
                  </a:cubicBezTo>
                  <a:cubicBezTo>
                    <a:pt x="23975" y="21062"/>
                    <a:pt x="18280" y="26117"/>
                    <a:pt x="14403" y="32435"/>
                  </a:cubicBezTo>
                  <a:cubicBezTo>
                    <a:pt x="11425" y="36948"/>
                    <a:pt x="9931" y="42184"/>
                    <a:pt x="10147" y="47599"/>
                  </a:cubicBezTo>
                  <a:cubicBezTo>
                    <a:pt x="10399" y="49675"/>
                    <a:pt x="8600" y="51391"/>
                    <a:pt x="6630" y="51570"/>
                  </a:cubicBezTo>
                  <a:cubicBezTo>
                    <a:pt x="6378" y="51570"/>
                    <a:pt x="6144" y="51570"/>
                    <a:pt x="5910" y="51570"/>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66" name="Freeform: Shape 65">
              <a:extLst>
                <a:ext uri="{FF2B5EF4-FFF2-40B4-BE49-F238E27FC236}">
                  <a16:creationId xmlns:a16="http://schemas.microsoft.com/office/drawing/2014/main" id="{0A8D292D-60AB-5810-187B-BAE6CC0B76C8}"/>
                </a:ext>
              </a:extLst>
            </p:cNvPr>
            <p:cNvSpPr/>
            <p:nvPr/>
          </p:nvSpPr>
          <p:spPr>
            <a:xfrm>
              <a:off x="2974402" y="3223698"/>
              <a:ext cx="52795" cy="33536"/>
            </a:xfrm>
            <a:custGeom>
              <a:avLst/>
              <a:gdLst>
                <a:gd name="connsiteX0" fmla="*/ 44693 w 52795"/>
                <a:gd name="connsiteY0" fmla="*/ 34776 h 33536"/>
                <a:gd name="connsiteX1" fmla="*/ 36533 w 52795"/>
                <a:gd name="connsiteY1" fmla="*/ 28368 h 33536"/>
                <a:gd name="connsiteX2" fmla="*/ 22579 w 52795"/>
                <a:gd name="connsiteY2" fmla="*/ 17176 h 33536"/>
                <a:gd name="connsiteX3" fmla="*/ 11414 w 52795"/>
                <a:gd name="connsiteY3" fmla="*/ 25479 h 33536"/>
                <a:gd name="connsiteX4" fmla="*/ 11360 w 52795"/>
                <a:gd name="connsiteY4" fmla="*/ 25569 h 33536"/>
                <a:gd name="connsiteX5" fmla="*/ 7537 w 52795"/>
                <a:gd name="connsiteY5" fmla="*/ 30624 h 33536"/>
                <a:gd name="connsiteX6" fmla="*/ 4109 w 52795"/>
                <a:gd name="connsiteY6" fmla="*/ 31436 h 33536"/>
                <a:gd name="connsiteX7" fmla="*/ 15 w 52795"/>
                <a:gd name="connsiteY7" fmla="*/ 22501 h 33536"/>
                <a:gd name="connsiteX8" fmla="*/ 3011 w 52795"/>
                <a:gd name="connsiteY8" fmla="*/ 14196 h 33536"/>
                <a:gd name="connsiteX9" fmla="*/ 40816 w 52795"/>
                <a:gd name="connsiteY9" fmla="*/ 6163 h 33536"/>
                <a:gd name="connsiteX10" fmla="*/ 48652 w 52795"/>
                <a:gd name="connsiteY10" fmla="*/ 33602 h 33536"/>
                <a:gd name="connsiteX11" fmla="*/ 44693 w 52795"/>
                <a:gd name="connsiteY11" fmla="*/ 34776 h 3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95" h="33536">
                  <a:moveTo>
                    <a:pt x="44693" y="34776"/>
                  </a:moveTo>
                  <a:cubicBezTo>
                    <a:pt x="41014" y="34685"/>
                    <a:pt x="37307" y="32068"/>
                    <a:pt x="36533" y="28368"/>
                  </a:cubicBezTo>
                  <a:cubicBezTo>
                    <a:pt x="35364" y="21958"/>
                    <a:pt x="29453" y="15821"/>
                    <a:pt x="22579" y="17176"/>
                  </a:cubicBezTo>
                  <a:cubicBezTo>
                    <a:pt x="17829" y="18078"/>
                    <a:pt x="13736" y="21237"/>
                    <a:pt x="11414" y="25479"/>
                  </a:cubicBezTo>
                  <a:lnTo>
                    <a:pt x="11360" y="25569"/>
                  </a:lnTo>
                  <a:cubicBezTo>
                    <a:pt x="10353" y="27464"/>
                    <a:pt x="9057" y="29180"/>
                    <a:pt x="7537" y="30624"/>
                  </a:cubicBezTo>
                  <a:cubicBezTo>
                    <a:pt x="6610" y="31436"/>
                    <a:pt x="5279" y="31798"/>
                    <a:pt x="4109" y="31436"/>
                  </a:cubicBezTo>
                  <a:cubicBezTo>
                    <a:pt x="348" y="27555"/>
                    <a:pt x="-75" y="24847"/>
                    <a:pt x="15" y="22501"/>
                  </a:cubicBezTo>
                  <a:cubicBezTo>
                    <a:pt x="240" y="19521"/>
                    <a:pt x="1275" y="16633"/>
                    <a:pt x="3011" y="14196"/>
                  </a:cubicBezTo>
                  <a:cubicBezTo>
                    <a:pt x="12449" y="928"/>
                    <a:pt x="28247" y="-2863"/>
                    <a:pt x="40816" y="6163"/>
                  </a:cubicBezTo>
                  <a:cubicBezTo>
                    <a:pt x="48310" y="11489"/>
                    <a:pt x="58684" y="26381"/>
                    <a:pt x="48652" y="33602"/>
                  </a:cubicBezTo>
                  <a:cubicBezTo>
                    <a:pt x="47456" y="34324"/>
                    <a:pt x="46088" y="34685"/>
                    <a:pt x="44693" y="34776"/>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67" name="Freeform: Shape 66">
              <a:extLst>
                <a:ext uri="{FF2B5EF4-FFF2-40B4-BE49-F238E27FC236}">
                  <a16:creationId xmlns:a16="http://schemas.microsoft.com/office/drawing/2014/main" id="{C1D48228-C777-A199-16AA-B6F0D26324FB}"/>
                </a:ext>
              </a:extLst>
            </p:cNvPr>
            <p:cNvSpPr/>
            <p:nvPr/>
          </p:nvSpPr>
          <p:spPr>
            <a:xfrm>
              <a:off x="2799466" y="3157050"/>
              <a:ext cx="80400" cy="64802"/>
            </a:xfrm>
            <a:custGeom>
              <a:avLst/>
              <a:gdLst>
                <a:gd name="connsiteX0" fmla="*/ 4552 w 80400"/>
                <a:gd name="connsiteY0" fmla="*/ 66042 h 64802"/>
                <a:gd name="connsiteX1" fmla="*/ 4264 w 80400"/>
                <a:gd name="connsiteY1" fmla="*/ 66042 h 64802"/>
                <a:gd name="connsiteX2" fmla="*/ 2870 w 80400"/>
                <a:gd name="connsiteY2" fmla="*/ 65410 h 64802"/>
                <a:gd name="connsiteX3" fmla="*/ 9 w 80400"/>
                <a:gd name="connsiteY3" fmla="*/ 57016 h 64802"/>
                <a:gd name="connsiteX4" fmla="*/ 45173 w 80400"/>
                <a:gd name="connsiteY4" fmla="*/ 5207 h 64802"/>
                <a:gd name="connsiteX5" fmla="*/ 77084 w 80400"/>
                <a:gd name="connsiteY5" fmla="*/ 6199 h 64802"/>
                <a:gd name="connsiteX6" fmla="*/ 80404 w 80400"/>
                <a:gd name="connsiteY6" fmla="*/ 14413 h 64802"/>
                <a:gd name="connsiteX7" fmla="*/ 77066 w 80400"/>
                <a:gd name="connsiteY7" fmla="*/ 22718 h 64802"/>
                <a:gd name="connsiteX8" fmla="*/ 54691 w 80400"/>
                <a:gd name="connsiteY8" fmla="*/ 29397 h 64802"/>
                <a:gd name="connsiteX9" fmla="*/ 10148 w 80400"/>
                <a:gd name="connsiteY9" fmla="*/ 58912 h 64802"/>
                <a:gd name="connsiteX10" fmla="*/ 7332 w 80400"/>
                <a:gd name="connsiteY10" fmla="*/ 63966 h 64802"/>
                <a:gd name="connsiteX11" fmla="*/ 5875 w 80400"/>
                <a:gd name="connsiteY11" fmla="*/ 65772 h 64802"/>
                <a:gd name="connsiteX12" fmla="*/ 4552 w 80400"/>
                <a:gd name="connsiteY12" fmla="*/ 66042 h 64802"/>
                <a:gd name="connsiteX13" fmla="*/ 4552 w 80400"/>
                <a:gd name="connsiteY13" fmla="*/ 66042 h 6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00" h="64802">
                  <a:moveTo>
                    <a:pt x="4552" y="66042"/>
                  </a:moveTo>
                  <a:cubicBezTo>
                    <a:pt x="4453" y="66042"/>
                    <a:pt x="4363" y="66042"/>
                    <a:pt x="4264" y="66042"/>
                  </a:cubicBezTo>
                  <a:cubicBezTo>
                    <a:pt x="3742" y="65951"/>
                    <a:pt x="3257" y="65681"/>
                    <a:pt x="2870" y="65410"/>
                  </a:cubicBezTo>
                  <a:cubicBezTo>
                    <a:pt x="899" y="63695"/>
                    <a:pt x="-63" y="60897"/>
                    <a:pt x="9" y="57016"/>
                  </a:cubicBezTo>
                  <a:cubicBezTo>
                    <a:pt x="2168" y="34000"/>
                    <a:pt x="23167" y="13240"/>
                    <a:pt x="45173" y="5207"/>
                  </a:cubicBezTo>
                  <a:cubicBezTo>
                    <a:pt x="53729" y="1777"/>
                    <a:pt x="68924" y="-2104"/>
                    <a:pt x="77084" y="6199"/>
                  </a:cubicBezTo>
                  <a:cubicBezTo>
                    <a:pt x="79252" y="8365"/>
                    <a:pt x="80458" y="11345"/>
                    <a:pt x="80404" y="14413"/>
                  </a:cubicBezTo>
                  <a:cubicBezTo>
                    <a:pt x="80449" y="17482"/>
                    <a:pt x="79243" y="20461"/>
                    <a:pt x="77066" y="22718"/>
                  </a:cubicBezTo>
                  <a:cubicBezTo>
                    <a:pt x="71182" y="28674"/>
                    <a:pt x="62267" y="27681"/>
                    <a:pt x="54691" y="29397"/>
                  </a:cubicBezTo>
                  <a:cubicBezTo>
                    <a:pt x="36653" y="33097"/>
                    <a:pt x="21088" y="44109"/>
                    <a:pt x="10148" y="58912"/>
                  </a:cubicBezTo>
                  <a:cubicBezTo>
                    <a:pt x="9149" y="60536"/>
                    <a:pt x="8340" y="62521"/>
                    <a:pt x="7332" y="63966"/>
                  </a:cubicBezTo>
                  <a:cubicBezTo>
                    <a:pt x="6576" y="65320"/>
                    <a:pt x="6181" y="65591"/>
                    <a:pt x="5875" y="65772"/>
                  </a:cubicBezTo>
                  <a:cubicBezTo>
                    <a:pt x="5461" y="65951"/>
                    <a:pt x="5011" y="66042"/>
                    <a:pt x="4552" y="66042"/>
                  </a:cubicBezTo>
                  <a:lnTo>
                    <a:pt x="4552" y="66042"/>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68" name="Freeform: Shape 67">
              <a:extLst>
                <a:ext uri="{FF2B5EF4-FFF2-40B4-BE49-F238E27FC236}">
                  <a16:creationId xmlns:a16="http://schemas.microsoft.com/office/drawing/2014/main" id="{42E3A9AE-B169-ABFB-F3E7-76063EFB19E3}"/>
                </a:ext>
              </a:extLst>
            </p:cNvPr>
            <p:cNvSpPr/>
            <p:nvPr/>
          </p:nvSpPr>
          <p:spPr>
            <a:xfrm>
              <a:off x="2961965" y="3153214"/>
              <a:ext cx="73522" cy="65750"/>
            </a:xfrm>
            <a:custGeom>
              <a:avLst/>
              <a:gdLst>
                <a:gd name="connsiteX0" fmla="*/ 67917 w 73522"/>
                <a:gd name="connsiteY0" fmla="*/ 66989 h 65750"/>
                <a:gd name="connsiteX1" fmla="*/ 65461 w 73522"/>
                <a:gd name="connsiteY1" fmla="*/ 65094 h 65750"/>
                <a:gd name="connsiteX2" fmla="*/ 44822 w 73522"/>
                <a:gd name="connsiteY2" fmla="*/ 36481 h 65750"/>
                <a:gd name="connsiteX3" fmla="*/ 25587 w 73522"/>
                <a:gd name="connsiteY3" fmla="*/ 30073 h 65750"/>
                <a:gd name="connsiteX4" fmla="*/ 153 w 73522"/>
                <a:gd name="connsiteY4" fmla="*/ 11389 h 65750"/>
                <a:gd name="connsiteX5" fmla="*/ 35574 w 73522"/>
                <a:gd name="connsiteY5" fmla="*/ 7056 h 65750"/>
                <a:gd name="connsiteX6" fmla="*/ 35592 w 73522"/>
                <a:gd name="connsiteY6" fmla="*/ 7056 h 65750"/>
                <a:gd name="connsiteX7" fmla="*/ 37085 w 73522"/>
                <a:gd name="connsiteY7" fmla="*/ 7688 h 65750"/>
                <a:gd name="connsiteX8" fmla="*/ 60441 w 73522"/>
                <a:gd name="connsiteY8" fmla="*/ 23304 h 65750"/>
                <a:gd name="connsiteX9" fmla="*/ 67917 w 73522"/>
                <a:gd name="connsiteY9" fmla="*/ 66989 h 65750"/>
                <a:gd name="connsiteX10" fmla="*/ 67917 w 73522"/>
                <a:gd name="connsiteY10" fmla="*/ 66989 h 6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22" h="65750">
                  <a:moveTo>
                    <a:pt x="67917" y="66989"/>
                  </a:moveTo>
                  <a:cubicBezTo>
                    <a:pt x="66784" y="66989"/>
                    <a:pt x="65695" y="66177"/>
                    <a:pt x="65461" y="65094"/>
                  </a:cubicBezTo>
                  <a:cubicBezTo>
                    <a:pt x="62258" y="50923"/>
                    <a:pt x="55897" y="42168"/>
                    <a:pt x="44822" y="36481"/>
                  </a:cubicBezTo>
                  <a:cubicBezTo>
                    <a:pt x="38678" y="33592"/>
                    <a:pt x="32227" y="31426"/>
                    <a:pt x="25587" y="30073"/>
                  </a:cubicBezTo>
                  <a:cubicBezTo>
                    <a:pt x="14854" y="28538"/>
                    <a:pt x="-1736" y="26282"/>
                    <a:pt x="153" y="11389"/>
                  </a:cubicBezTo>
                  <a:cubicBezTo>
                    <a:pt x="3959" y="-4857"/>
                    <a:pt x="25677" y="2092"/>
                    <a:pt x="35574" y="7056"/>
                  </a:cubicBezTo>
                  <a:lnTo>
                    <a:pt x="35592" y="7056"/>
                  </a:lnTo>
                  <a:cubicBezTo>
                    <a:pt x="36096" y="7237"/>
                    <a:pt x="36590" y="7508"/>
                    <a:pt x="37085" y="7688"/>
                  </a:cubicBezTo>
                  <a:cubicBezTo>
                    <a:pt x="45884" y="11208"/>
                    <a:pt x="53846" y="16534"/>
                    <a:pt x="60441" y="23304"/>
                  </a:cubicBezTo>
                  <a:cubicBezTo>
                    <a:pt x="69842" y="32509"/>
                    <a:pt x="80198" y="58054"/>
                    <a:pt x="67917" y="66989"/>
                  </a:cubicBezTo>
                  <a:lnTo>
                    <a:pt x="67917" y="66989"/>
                  </a:ln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107" name="Rounded Rectangle 16">
              <a:extLst>
                <a:ext uri="{FF2B5EF4-FFF2-40B4-BE49-F238E27FC236}">
                  <a16:creationId xmlns:a16="http://schemas.microsoft.com/office/drawing/2014/main" id="{DF1368F0-C8E9-A8C9-68D1-18598C420CF5}"/>
                </a:ext>
              </a:extLst>
            </p:cNvPr>
            <p:cNvSpPr/>
            <p:nvPr/>
          </p:nvSpPr>
          <p:spPr>
            <a:xfrm>
              <a:off x="8712563" y="3229987"/>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109" name="TextBox 108">
              <a:extLst>
                <a:ext uri="{FF2B5EF4-FFF2-40B4-BE49-F238E27FC236}">
                  <a16:creationId xmlns:a16="http://schemas.microsoft.com/office/drawing/2014/main" id="{0A4F91A5-E3F8-F325-A94A-41D1E60F00DE}"/>
                </a:ext>
              </a:extLst>
            </p:cNvPr>
            <p:cNvSpPr txBox="1"/>
            <p:nvPr/>
          </p:nvSpPr>
          <p:spPr>
            <a:xfrm>
              <a:off x="9017446" y="4671889"/>
              <a:ext cx="756938" cy="275717"/>
            </a:xfrm>
            <a:prstGeom prst="rect">
              <a:avLst/>
            </a:prstGeom>
            <a:noFill/>
          </p:spPr>
          <p:txBody>
            <a:bodyPr wrap="none" rtlCol="0">
              <a:spAutoFit/>
            </a:bodyPr>
            <a:lstStyle/>
            <a:p>
              <a:pPr algn="ctr">
                <a:lnSpc>
                  <a:spcPct val="70000"/>
                </a:lnSpc>
              </a:pPr>
              <a:r>
                <a:rPr lang="en-US" sz="1600">
                  <a:solidFill>
                    <a:srgbClr val="27333D"/>
                  </a:solidFill>
                  <a:latin typeface="+mj-lt"/>
                </a:rPr>
                <a:t>Wilson</a:t>
              </a:r>
              <a:endParaRPr lang="en-GB" sz="1600">
                <a:solidFill>
                  <a:srgbClr val="27333D"/>
                </a:solidFill>
                <a:latin typeface="+mj-lt"/>
              </a:endParaRPr>
            </a:p>
          </p:txBody>
        </p:sp>
        <p:sp>
          <p:nvSpPr>
            <p:cNvPr id="110" name="Freeform: Shape 109">
              <a:extLst>
                <a:ext uri="{FF2B5EF4-FFF2-40B4-BE49-F238E27FC236}">
                  <a16:creationId xmlns:a16="http://schemas.microsoft.com/office/drawing/2014/main" id="{F224837E-4895-FAB0-5DCD-07FD0A0208C9}"/>
                </a:ext>
              </a:extLst>
            </p:cNvPr>
            <p:cNvSpPr/>
            <p:nvPr/>
          </p:nvSpPr>
          <p:spPr>
            <a:xfrm>
              <a:off x="8834881" y="3391403"/>
              <a:ext cx="1087969" cy="1058488"/>
            </a:xfrm>
            <a:custGeom>
              <a:avLst/>
              <a:gdLst>
                <a:gd name="connsiteX0" fmla="*/ 1071140 w 1087969"/>
                <a:gd name="connsiteY0" fmla="*/ 1036331 h 1058488"/>
                <a:gd name="connsiteX1" fmla="*/ 1085169 w 1087969"/>
                <a:gd name="connsiteY1" fmla="*/ 971399 h 1058488"/>
                <a:gd name="connsiteX2" fmla="*/ 1052101 w 1087969"/>
                <a:gd name="connsiteY2" fmla="*/ 767232 h 1058488"/>
                <a:gd name="connsiteX3" fmla="*/ 1043305 w 1087969"/>
                <a:gd name="connsiteY3" fmla="*/ 592055 h 1058488"/>
                <a:gd name="connsiteX4" fmla="*/ 972176 w 1087969"/>
                <a:gd name="connsiteY4" fmla="*/ 299853 h 1058488"/>
                <a:gd name="connsiteX5" fmla="*/ 852959 w 1087969"/>
                <a:gd name="connsiteY5" fmla="*/ 171679 h 1058488"/>
                <a:gd name="connsiteX6" fmla="*/ 748699 w 1087969"/>
                <a:gd name="connsiteY6" fmla="*/ 80880 h 1058488"/>
                <a:gd name="connsiteX7" fmla="*/ 744439 w 1087969"/>
                <a:gd name="connsiteY7" fmla="*/ 76956 h 1058488"/>
                <a:gd name="connsiteX8" fmla="*/ 594725 w 1087969"/>
                <a:gd name="connsiteY8" fmla="*/ 4350 h 1058488"/>
                <a:gd name="connsiteX9" fmla="*/ 519266 w 1087969"/>
                <a:gd name="connsiteY9" fmla="*/ 38066 h 1058488"/>
                <a:gd name="connsiteX10" fmla="*/ 360309 w 1087969"/>
                <a:gd name="connsiteY10" fmla="*/ 49840 h 1058488"/>
                <a:gd name="connsiteX11" fmla="*/ 328759 w 1087969"/>
                <a:gd name="connsiteY11" fmla="*/ 104784 h 1058488"/>
                <a:gd name="connsiteX12" fmla="*/ 260595 w 1087969"/>
                <a:gd name="connsiteY12" fmla="*/ 122087 h 1058488"/>
                <a:gd name="connsiteX13" fmla="*/ 213863 w 1087969"/>
                <a:gd name="connsiteY13" fmla="*/ 256771 h 1058488"/>
                <a:gd name="connsiteX14" fmla="*/ 227857 w 1087969"/>
                <a:gd name="connsiteY14" fmla="*/ 268635 h 1058488"/>
                <a:gd name="connsiteX15" fmla="*/ 67114 w 1087969"/>
                <a:gd name="connsiteY15" fmla="*/ 540678 h 1058488"/>
                <a:gd name="connsiteX16" fmla="*/ 34966 w 1087969"/>
                <a:gd name="connsiteY16" fmla="*/ 787747 h 1058488"/>
                <a:gd name="connsiteX17" fmla="*/ 7282 w 1087969"/>
                <a:gd name="connsiteY17" fmla="*/ 888537 h 1058488"/>
                <a:gd name="connsiteX18" fmla="*/ 1031 w 1087969"/>
                <a:gd name="connsiteY18" fmla="*/ 1009840 h 1058488"/>
                <a:gd name="connsiteX19" fmla="*/ 15560 w 1087969"/>
                <a:gd name="connsiteY19" fmla="*/ 1041684 h 1058488"/>
                <a:gd name="connsiteX20" fmla="*/ 839313 w 1087969"/>
                <a:gd name="connsiteY20" fmla="*/ 1036510 h 1058488"/>
                <a:gd name="connsiteX21" fmla="*/ 1071140 w 1087969"/>
                <a:gd name="connsiteY21" fmla="*/ 1036331 h 105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969" h="1058488">
                  <a:moveTo>
                    <a:pt x="1071140" y="1036331"/>
                  </a:moveTo>
                  <a:cubicBezTo>
                    <a:pt x="1097805" y="1035083"/>
                    <a:pt x="1087080" y="988524"/>
                    <a:pt x="1085169" y="971399"/>
                  </a:cubicBezTo>
                  <a:cubicBezTo>
                    <a:pt x="1076212" y="898347"/>
                    <a:pt x="1060415" y="832701"/>
                    <a:pt x="1052101" y="767232"/>
                  </a:cubicBezTo>
                  <a:cubicBezTo>
                    <a:pt x="1046930" y="706133"/>
                    <a:pt x="1048895" y="653152"/>
                    <a:pt x="1043305" y="592055"/>
                  </a:cubicBezTo>
                  <a:cubicBezTo>
                    <a:pt x="1036937" y="520163"/>
                    <a:pt x="1021845" y="389760"/>
                    <a:pt x="972176" y="299853"/>
                  </a:cubicBezTo>
                  <a:cubicBezTo>
                    <a:pt x="944716" y="250171"/>
                    <a:pt x="890768" y="188717"/>
                    <a:pt x="852959" y="171679"/>
                  </a:cubicBezTo>
                  <a:cubicBezTo>
                    <a:pt x="841787" y="122712"/>
                    <a:pt x="806700" y="82217"/>
                    <a:pt x="748699" y="80880"/>
                  </a:cubicBezTo>
                  <a:cubicBezTo>
                    <a:pt x="747056" y="80880"/>
                    <a:pt x="745511" y="78204"/>
                    <a:pt x="744439" y="76956"/>
                  </a:cubicBezTo>
                  <a:cubicBezTo>
                    <a:pt x="704370" y="30218"/>
                    <a:pt x="656236" y="-2339"/>
                    <a:pt x="594725" y="4350"/>
                  </a:cubicBezTo>
                  <a:cubicBezTo>
                    <a:pt x="568953" y="5511"/>
                    <a:pt x="543948" y="32803"/>
                    <a:pt x="519266" y="38066"/>
                  </a:cubicBezTo>
                  <a:cubicBezTo>
                    <a:pt x="505442" y="39939"/>
                    <a:pt x="449610" y="9346"/>
                    <a:pt x="360309" y="49840"/>
                  </a:cubicBezTo>
                  <a:cubicBezTo>
                    <a:pt x="343190" y="58581"/>
                    <a:pt x="341913" y="88817"/>
                    <a:pt x="328759" y="104784"/>
                  </a:cubicBezTo>
                  <a:cubicBezTo>
                    <a:pt x="315604" y="120839"/>
                    <a:pt x="280241" y="109868"/>
                    <a:pt x="260595" y="122087"/>
                  </a:cubicBezTo>
                  <a:cubicBezTo>
                    <a:pt x="187546" y="165436"/>
                    <a:pt x="198262" y="228855"/>
                    <a:pt x="213863" y="256771"/>
                  </a:cubicBezTo>
                  <a:cubicBezTo>
                    <a:pt x="219445" y="266673"/>
                    <a:pt x="227116" y="267921"/>
                    <a:pt x="227857" y="268635"/>
                  </a:cubicBezTo>
                  <a:cubicBezTo>
                    <a:pt x="161595" y="360682"/>
                    <a:pt x="93913" y="428114"/>
                    <a:pt x="67114" y="540678"/>
                  </a:cubicBezTo>
                  <a:cubicBezTo>
                    <a:pt x="49745" y="624253"/>
                    <a:pt x="49513" y="703726"/>
                    <a:pt x="34966" y="787747"/>
                  </a:cubicBezTo>
                  <a:cubicBezTo>
                    <a:pt x="29831" y="816824"/>
                    <a:pt x="15801" y="860261"/>
                    <a:pt x="7282" y="888537"/>
                  </a:cubicBezTo>
                  <a:cubicBezTo>
                    <a:pt x="-1960" y="925552"/>
                    <a:pt x="2817" y="990218"/>
                    <a:pt x="1031" y="1009840"/>
                  </a:cubicBezTo>
                  <a:cubicBezTo>
                    <a:pt x="138" y="1023220"/>
                    <a:pt x="5728" y="1041684"/>
                    <a:pt x="15560" y="1041684"/>
                  </a:cubicBezTo>
                  <a:cubicBezTo>
                    <a:pt x="288225" y="1086817"/>
                    <a:pt x="565184" y="1043556"/>
                    <a:pt x="839313" y="1036510"/>
                  </a:cubicBezTo>
                  <a:cubicBezTo>
                    <a:pt x="916550" y="1033746"/>
                    <a:pt x="993885" y="1033211"/>
                    <a:pt x="1071140" y="1036331"/>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111" name="Freeform: Shape 110">
              <a:extLst>
                <a:ext uri="{FF2B5EF4-FFF2-40B4-BE49-F238E27FC236}">
                  <a16:creationId xmlns:a16="http://schemas.microsoft.com/office/drawing/2014/main" id="{1F58F393-359A-3766-12E2-0547647613E1}"/>
                </a:ext>
              </a:extLst>
            </p:cNvPr>
            <p:cNvSpPr/>
            <p:nvPr/>
          </p:nvSpPr>
          <p:spPr>
            <a:xfrm>
              <a:off x="8827170" y="3417047"/>
              <a:ext cx="1099134" cy="1033597"/>
            </a:xfrm>
            <a:custGeom>
              <a:avLst/>
              <a:gdLst>
                <a:gd name="connsiteX0" fmla="*/ 520877 w 1099134"/>
                <a:gd name="connsiteY0" fmla="*/ 94749 h 1033597"/>
                <a:gd name="connsiteX1" fmla="*/ 542131 w 1099134"/>
                <a:gd name="connsiteY1" fmla="*/ 125166 h 1033597"/>
                <a:gd name="connsiteX2" fmla="*/ 665394 w 1099134"/>
                <a:gd name="connsiteY2" fmla="*/ 222030 h 1033597"/>
                <a:gd name="connsiteX3" fmla="*/ 761991 w 1099134"/>
                <a:gd name="connsiteY3" fmla="*/ 126771 h 1033597"/>
                <a:gd name="connsiteX4" fmla="*/ 766010 w 1099134"/>
                <a:gd name="connsiteY4" fmla="*/ 94481 h 1033597"/>
                <a:gd name="connsiteX5" fmla="*/ 754883 w 1099134"/>
                <a:gd name="connsiteY5" fmla="*/ 55862 h 1033597"/>
                <a:gd name="connsiteX6" fmla="*/ 756794 w 1099134"/>
                <a:gd name="connsiteY6" fmla="*/ 53364 h 1033597"/>
                <a:gd name="connsiteX7" fmla="*/ 842095 w 1099134"/>
                <a:gd name="connsiteY7" fmla="*/ 95821 h 1033597"/>
                <a:gd name="connsiteX8" fmla="*/ 867367 w 1099134"/>
                <a:gd name="connsiteY8" fmla="*/ 150049 h 1033597"/>
                <a:gd name="connsiteX9" fmla="*/ 989934 w 1099134"/>
                <a:gd name="connsiteY9" fmla="*/ 295169 h 1033597"/>
                <a:gd name="connsiteX10" fmla="*/ 1048649 w 1099134"/>
                <a:gd name="connsiteY10" fmla="*/ 563199 h 1033597"/>
                <a:gd name="connsiteX11" fmla="*/ 1061151 w 1099134"/>
                <a:gd name="connsiteY11" fmla="*/ 752291 h 1033597"/>
                <a:gd name="connsiteX12" fmla="*/ 1098212 w 1099134"/>
                <a:gd name="connsiteY12" fmla="*/ 948519 h 1033597"/>
                <a:gd name="connsiteX13" fmla="*/ 1079190 w 1099134"/>
                <a:gd name="connsiteY13" fmla="*/ 1011491 h 1033597"/>
                <a:gd name="connsiteX14" fmla="*/ 847346 w 1099134"/>
                <a:gd name="connsiteY14" fmla="*/ 1011581 h 1033597"/>
                <a:gd name="connsiteX15" fmla="*/ 23593 w 1099134"/>
                <a:gd name="connsiteY15" fmla="*/ 1016755 h 1033597"/>
                <a:gd name="connsiteX16" fmla="*/ 40882 w 1099134"/>
                <a:gd name="connsiteY16" fmla="*/ 777266 h 1033597"/>
                <a:gd name="connsiteX17" fmla="*/ 73629 w 1099134"/>
                <a:gd name="connsiteY17" fmla="*/ 512091 h 1033597"/>
                <a:gd name="connsiteX18" fmla="*/ 230201 w 1099134"/>
                <a:gd name="connsiteY18" fmla="*/ 251643 h 1033597"/>
                <a:gd name="connsiteX19" fmla="*/ 226031 w 1099134"/>
                <a:gd name="connsiteY19" fmla="*/ 237907 h 1033597"/>
                <a:gd name="connsiteX20" fmla="*/ 269655 w 1099134"/>
                <a:gd name="connsiteY20" fmla="*/ 95106 h 1033597"/>
                <a:gd name="connsiteX21" fmla="*/ 335577 w 1099134"/>
                <a:gd name="connsiteY21" fmla="*/ 79765 h 1033597"/>
                <a:gd name="connsiteX22" fmla="*/ 371896 w 1099134"/>
                <a:gd name="connsiteY22" fmla="*/ 20896 h 1033597"/>
                <a:gd name="connsiteX23" fmla="*/ 527352 w 1099134"/>
                <a:gd name="connsiteY23" fmla="*/ 10372 h 1033597"/>
                <a:gd name="connsiteX24" fmla="*/ 546775 w 1099134"/>
                <a:gd name="connsiteY24" fmla="*/ 3503 h 1033597"/>
                <a:gd name="connsiteX25" fmla="*/ 545534 w 1099134"/>
                <a:gd name="connsiteY25" fmla="*/ 9213 h 1033597"/>
                <a:gd name="connsiteX26" fmla="*/ 529852 w 1099134"/>
                <a:gd name="connsiteY26" fmla="*/ 72361 h 1033597"/>
                <a:gd name="connsiteX27" fmla="*/ 520877 w 1099134"/>
                <a:gd name="connsiteY27" fmla="*/ 94749 h 103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9134" h="1033597">
                  <a:moveTo>
                    <a:pt x="520877" y="94749"/>
                  </a:moveTo>
                  <a:cubicBezTo>
                    <a:pt x="520877" y="101528"/>
                    <a:pt x="533201" y="112231"/>
                    <a:pt x="542131" y="125166"/>
                  </a:cubicBezTo>
                  <a:cubicBezTo>
                    <a:pt x="571288" y="167444"/>
                    <a:pt x="638773" y="227472"/>
                    <a:pt x="665394" y="222030"/>
                  </a:cubicBezTo>
                  <a:cubicBezTo>
                    <a:pt x="688577" y="217303"/>
                    <a:pt x="715117" y="183855"/>
                    <a:pt x="761991" y="126771"/>
                  </a:cubicBezTo>
                  <a:cubicBezTo>
                    <a:pt x="761991" y="126771"/>
                    <a:pt x="768269" y="110358"/>
                    <a:pt x="766010" y="94481"/>
                  </a:cubicBezTo>
                  <a:cubicBezTo>
                    <a:pt x="763751" y="78605"/>
                    <a:pt x="754883" y="55862"/>
                    <a:pt x="754883" y="55862"/>
                  </a:cubicBezTo>
                  <a:cubicBezTo>
                    <a:pt x="754446" y="54612"/>
                    <a:pt x="755454" y="53275"/>
                    <a:pt x="756794" y="53364"/>
                  </a:cubicBezTo>
                  <a:cubicBezTo>
                    <a:pt x="790193" y="55415"/>
                    <a:pt x="820627" y="72361"/>
                    <a:pt x="842095" y="95821"/>
                  </a:cubicBezTo>
                  <a:cubicBezTo>
                    <a:pt x="856696" y="111787"/>
                    <a:pt x="862956" y="130695"/>
                    <a:pt x="867367" y="150049"/>
                  </a:cubicBezTo>
                  <a:cubicBezTo>
                    <a:pt x="907142" y="167978"/>
                    <a:pt x="958482" y="223814"/>
                    <a:pt x="989934" y="295169"/>
                  </a:cubicBezTo>
                  <a:cubicBezTo>
                    <a:pt x="1028914" y="383652"/>
                    <a:pt x="1041889" y="493895"/>
                    <a:pt x="1048649" y="563199"/>
                  </a:cubicBezTo>
                  <a:cubicBezTo>
                    <a:pt x="1048649" y="563199"/>
                    <a:pt x="1055981" y="691105"/>
                    <a:pt x="1061151" y="752291"/>
                  </a:cubicBezTo>
                  <a:cubicBezTo>
                    <a:pt x="1069456" y="817761"/>
                    <a:pt x="1098212" y="948519"/>
                    <a:pt x="1098212" y="948519"/>
                  </a:cubicBezTo>
                  <a:cubicBezTo>
                    <a:pt x="1100417" y="966448"/>
                    <a:pt x="1105320" y="1010244"/>
                    <a:pt x="1079190" y="1011491"/>
                  </a:cubicBezTo>
                  <a:cubicBezTo>
                    <a:pt x="1001944" y="1008279"/>
                    <a:pt x="924601" y="1008904"/>
                    <a:pt x="847346" y="1011581"/>
                  </a:cubicBezTo>
                  <a:cubicBezTo>
                    <a:pt x="573217" y="1018627"/>
                    <a:pt x="296258" y="1061975"/>
                    <a:pt x="23593" y="1016755"/>
                  </a:cubicBezTo>
                  <a:cubicBezTo>
                    <a:pt x="-34131" y="1006228"/>
                    <a:pt x="36096" y="804382"/>
                    <a:pt x="40882" y="777266"/>
                  </a:cubicBezTo>
                  <a:cubicBezTo>
                    <a:pt x="55438" y="693246"/>
                    <a:pt x="56260" y="595578"/>
                    <a:pt x="73629" y="512091"/>
                  </a:cubicBezTo>
                  <a:cubicBezTo>
                    <a:pt x="99392" y="403810"/>
                    <a:pt x="166145" y="338251"/>
                    <a:pt x="230201" y="251643"/>
                  </a:cubicBezTo>
                  <a:cubicBezTo>
                    <a:pt x="234497" y="245844"/>
                    <a:pt x="229701" y="244150"/>
                    <a:pt x="226031" y="237907"/>
                  </a:cubicBezTo>
                  <a:cubicBezTo>
                    <a:pt x="212385" y="214805"/>
                    <a:pt x="188283" y="147018"/>
                    <a:pt x="269655" y="95106"/>
                  </a:cubicBezTo>
                  <a:cubicBezTo>
                    <a:pt x="287354" y="80390"/>
                    <a:pt x="322967" y="108128"/>
                    <a:pt x="335577" y="79765"/>
                  </a:cubicBezTo>
                  <a:cubicBezTo>
                    <a:pt x="347374" y="56395"/>
                    <a:pt x="354768" y="29726"/>
                    <a:pt x="371896" y="20896"/>
                  </a:cubicBezTo>
                  <a:cubicBezTo>
                    <a:pt x="442149" y="-11838"/>
                    <a:pt x="513528" y="12334"/>
                    <a:pt x="527352" y="10372"/>
                  </a:cubicBezTo>
                  <a:cubicBezTo>
                    <a:pt x="535362" y="8856"/>
                    <a:pt x="546087" y="3057"/>
                    <a:pt x="546775" y="3503"/>
                  </a:cubicBezTo>
                  <a:cubicBezTo>
                    <a:pt x="547463" y="3950"/>
                    <a:pt x="545534" y="9213"/>
                    <a:pt x="545534" y="9213"/>
                  </a:cubicBezTo>
                  <a:cubicBezTo>
                    <a:pt x="537791" y="35079"/>
                    <a:pt x="532558" y="56127"/>
                    <a:pt x="529852" y="72361"/>
                  </a:cubicBezTo>
                  <a:cubicBezTo>
                    <a:pt x="528388" y="81102"/>
                    <a:pt x="520877" y="88774"/>
                    <a:pt x="520877" y="94749"/>
                  </a:cubicBezTo>
                  <a:close/>
                </a:path>
              </a:pathLst>
            </a:custGeom>
            <a:solidFill>
              <a:srgbClr val="F3F3F3"/>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12" name="Freeform: Shape 111">
              <a:extLst>
                <a:ext uri="{FF2B5EF4-FFF2-40B4-BE49-F238E27FC236}">
                  <a16:creationId xmlns:a16="http://schemas.microsoft.com/office/drawing/2014/main" id="{6BF97574-2459-E60B-0323-2CE940798C04}"/>
                </a:ext>
              </a:extLst>
            </p:cNvPr>
            <p:cNvSpPr/>
            <p:nvPr/>
          </p:nvSpPr>
          <p:spPr>
            <a:xfrm>
              <a:off x="8816610" y="3408873"/>
              <a:ext cx="1122575" cy="1042858"/>
            </a:xfrm>
            <a:custGeom>
              <a:avLst/>
              <a:gdLst>
                <a:gd name="connsiteX0" fmla="*/ 677116 w 1122575"/>
                <a:gd name="connsiteY0" fmla="*/ 1046334 h 1042858"/>
                <a:gd name="connsiteX1" fmla="*/ 673883 w 1122575"/>
                <a:gd name="connsiteY1" fmla="*/ 1043211 h 1042858"/>
                <a:gd name="connsiteX2" fmla="*/ 661264 w 1122575"/>
                <a:gd name="connsiteY2" fmla="*/ 746728 h 1042858"/>
                <a:gd name="connsiteX3" fmla="*/ 494048 w 1122575"/>
                <a:gd name="connsiteY3" fmla="*/ 746728 h 1042858"/>
                <a:gd name="connsiteX4" fmla="*/ 433331 w 1122575"/>
                <a:gd name="connsiteY4" fmla="*/ 915129 h 1042858"/>
                <a:gd name="connsiteX5" fmla="*/ 408264 w 1122575"/>
                <a:gd name="connsiteY5" fmla="*/ 961331 h 1042858"/>
                <a:gd name="connsiteX6" fmla="*/ 399013 w 1122575"/>
                <a:gd name="connsiteY6" fmla="*/ 1004591 h 1042858"/>
                <a:gd name="connsiteX7" fmla="*/ 386716 w 1122575"/>
                <a:gd name="connsiteY7" fmla="*/ 1041070 h 1042858"/>
                <a:gd name="connsiteX8" fmla="*/ 363926 w 1122575"/>
                <a:gd name="connsiteY8" fmla="*/ 1014312 h 1042858"/>
                <a:gd name="connsiteX9" fmla="*/ 363926 w 1122575"/>
                <a:gd name="connsiteY9" fmla="*/ 1014312 h 1042858"/>
                <a:gd name="connsiteX10" fmla="*/ 389395 w 1122575"/>
                <a:gd name="connsiteY10" fmla="*/ 921193 h 1042858"/>
                <a:gd name="connsiteX11" fmla="*/ 450352 w 1122575"/>
                <a:gd name="connsiteY11" fmla="*/ 855369 h 1042858"/>
                <a:gd name="connsiteX12" fmla="*/ 492101 w 1122575"/>
                <a:gd name="connsiteY12" fmla="*/ 746284 h 1042858"/>
                <a:gd name="connsiteX13" fmla="*/ 661086 w 1122575"/>
                <a:gd name="connsiteY13" fmla="*/ 733885 h 1042858"/>
                <a:gd name="connsiteX14" fmla="*/ 662792 w 1122575"/>
                <a:gd name="connsiteY14" fmla="*/ 510097 h 1042858"/>
                <a:gd name="connsiteX15" fmla="*/ 676454 w 1122575"/>
                <a:gd name="connsiteY15" fmla="*/ 270520 h 1042858"/>
                <a:gd name="connsiteX16" fmla="*/ 679035 w 1122575"/>
                <a:gd name="connsiteY16" fmla="*/ 270609 h 1042858"/>
                <a:gd name="connsiteX17" fmla="*/ 693216 w 1122575"/>
                <a:gd name="connsiteY17" fmla="*/ 731566 h 1042858"/>
                <a:gd name="connsiteX18" fmla="*/ 784089 w 1122575"/>
                <a:gd name="connsiteY18" fmla="*/ 725769 h 1042858"/>
                <a:gd name="connsiteX19" fmla="*/ 811996 w 1122575"/>
                <a:gd name="connsiteY19" fmla="*/ 728889 h 1042858"/>
                <a:gd name="connsiteX20" fmla="*/ 796404 w 1122575"/>
                <a:gd name="connsiteY20" fmla="*/ 743161 h 1042858"/>
                <a:gd name="connsiteX21" fmla="*/ 693198 w 1122575"/>
                <a:gd name="connsiteY21" fmla="*/ 746284 h 1042858"/>
                <a:gd name="connsiteX22" fmla="*/ 688591 w 1122575"/>
                <a:gd name="connsiteY22" fmla="*/ 890600 h 1042858"/>
                <a:gd name="connsiteX23" fmla="*/ 680321 w 1122575"/>
                <a:gd name="connsiteY23" fmla="*/ 1043211 h 1042858"/>
                <a:gd name="connsiteX24" fmla="*/ 677116 w 1122575"/>
                <a:gd name="connsiteY24" fmla="*/ 1046334 h 1042858"/>
                <a:gd name="connsiteX25" fmla="*/ 264310 w 1122575"/>
                <a:gd name="connsiteY25" fmla="*/ 1040894 h 1042858"/>
                <a:gd name="connsiteX26" fmla="*/ 256684 w 1122575"/>
                <a:gd name="connsiteY26" fmla="*/ 1036611 h 1042858"/>
                <a:gd name="connsiteX27" fmla="*/ 257943 w 1122575"/>
                <a:gd name="connsiteY27" fmla="*/ 1037414 h 1042858"/>
                <a:gd name="connsiteX28" fmla="*/ 254808 w 1122575"/>
                <a:gd name="connsiteY28" fmla="*/ 1035095 h 1042858"/>
                <a:gd name="connsiteX29" fmla="*/ 249799 w 1122575"/>
                <a:gd name="connsiteY29" fmla="*/ 1009497 h 1042858"/>
                <a:gd name="connsiteX30" fmla="*/ 263266 w 1122575"/>
                <a:gd name="connsiteY30" fmla="*/ 554871 h 1042858"/>
                <a:gd name="connsiteX31" fmla="*/ 267382 w 1122575"/>
                <a:gd name="connsiteY31" fmla="*/ 555228 h 1042858"/>
                <a:gd name="connsiteX32" fmla="*/ 298986 w 1122575"/>
                <a:gd name="connsiteY32" fmla="*/ 651380 h 1042858"/>
                <a:gd name="connsiteX33" fmla="*/ 290458 w 1122575"/>
                <a:gd name="connsiteY33" fmla="*/ 891047 h 1042858"/>
                <a:gd name="connsiteX34" fmla="*/ 282314 w 1122575"/>
                <a:gd name="connsiteY34" fmla="*/ 1016366 h 1042858"/>
                <a:gd name="connsiteX35" fmla="*/ 271972 w 1122575"/>
                <a:gd name="connsiteY35" fmla="*/ 1037593 h 1042858"/>
                <a:gd name="connsiteX36" fmla="*/ 264310 w 1122575"/>
                <a:gd name="connsiteY36" fmla="*/ 1040894 h 1042858"/>
                <a:gd name="connsiteX37" fmla="*/ 22241 w 1122575"/>
                <a:gd name="connsiteY37" fmla="*/ 1038930 h 1042858"/>
                <a:gd name="connsiteX38" fmla="*/ 9033 w 1122575"/>
                <a:gd name="connsiteY38" fmla="*/ 1028763 h 1042858"/>
                <a:gd name="connsiteX39" fmla="*/ 27679 w 1122575"/>
                <a:gd name="connsiteY39" fmla="*/ 814964 h 1042858"/>
                <a:gd name="connsiteX40" fmla="*/ 27679 w 1122575"/>
                <a:gd name="connsiteY40" fmla="*/ 814964 h 1042858"/>
                <a:gd name="connsiteX41" fmla="*/ 66365 w 1122575"/>
                <a:gd name="connsiteY41" fmla="*/ 549253 h 1042858"/>
                <a:gd name="connsiteX42" fmla="*/ 234618 w 1122575"/>
                <a:gd name="connsiteY42" fmla="*/ 251788 h 1042858"/>
                <a:gd name="connsiteX43" fmla="*/ 217525 w 1122575"/>
                <a:gd name="connsiteY43" fmla="*/ 165984 h 1042858"/>
                <a:gd name="connsiteX44" fmla="*/ 303853 w 1122575"/>
                <a:gd name="connsiteY44" fmla="*/ 90793 h 1042858"/>
                <a:gd name="connsiteX45" fmla="*/ 328598 w 1122575"/>
                <a:gd name="connsiteY45" fmla="*/ 89097 h 1042858"/>
                <a:gd name="connsiteX46" fmla="*/ 361703 w 1122575"/>
                <a:gd name="connsiteY46" fmla="*/ 39239 h 1042858"/>
                <a:gd name="connsiteX47" fmla="*/ 532260 w 1122575"/>
                <a:gd name="connsiteY47" fmla="*/ 17297 h 1042858"/>
                <a:gd name="connsiteX48" fmla="*/ 531590 w 1122575"/>
                <a:gd name="connsiteY48" fmla="*/ 20150 h 1042858"/>
                <a:gd name="connsiteX49" fmla="*/ 457041 w 1122575"/>
                <a:gd name="connsiteY49" fmla="*/ 20685 h 1042858"/>
                <a:gd name="connsiteX50" fmla="*/ 373866 w 1122575"/>
                <a:gd name="connsiteY50" fmla="*/ 55381 h 1042858"/>
                <a:gd name="connsiteX51" fmla="*/ 345092 w 1122575"/>
                <a:gd name="connsiteY51" fmla="*/ 101853 h 1042858"/>
                <a:gd name="connsiteX52" fmla="*/ 301540 w 1122575"/>
                <a:gd name="connsiteY52" fmla="*/ 110773 h 1042858"/>
                <a:gd name="connsiteX53" fmla="*/ 243146 w 1122575"/>
                <a:gd name="connsiteY53" fmla="*/ 155102 h 1042858"/>
                <a:gd name="connsiteX54" fmla="*/ 239029 w 1122575"/>
                <a:gd name="connsiteY54" fmla="*/ 235467 h 1042858"/>
                <a:gd name="connsiteX55" fmla="*/ 246861 w 1122575"/>
                <a:gd name="connsiteY55" fmla="*/ 239569 h 1042858"/>
                <a:gd name="connsiteX56" fmla="*/ 397485 w 1122575"/>
                <a:gd name="connsiteY56" fmla="*/ 136728 h 1042858"/>
                <a:gd name="connsiteX57" fmla="*/ 403013 w 1122575"/>
                <a:gd name="connsiteY57" fmla="*/ 132447 h 1042858"/>
                <a:gd name="connsiteX58" fmla="*/ 426312 w 1122575"/>
                <a:gd name="connsiteY58" fmla="*/ 125400 h 1042858"/>
                <a:gd name="connsiteX59" fmla="*/ 430563 w 1122575"/>
                <a:gd name="connsiteY59" fmla="*/ 126650 h 1042858"/>
                <a:gd name="connsiteX60" fmla="*/ 563256 w 1122575"/>
                <a:gd name="connsiteY60" fmla="*/ 227527 h 1042858"/>
                <a:gd name="connsiteX61" fmla="*/ 599378 w 1122575"/>
                <a:gd name="connsiteY61" fmla="*/ 245098 h 1042858"/>
                <a:gd name="connsiteX62" fmla="*/ 620043 w 1122575"/>
                <a:gd name="connsiteY62" fmla="*/ 257855 h 1042858"/>
                <a:gd name="connsiteX63" fmla="*/ 617881 w 1122575"/>
                <a:gd name="connsiteY63" fmla="*/ 270966 h 1042858"/>
                <a:gd name="connsiteX64" fmla="*/ 587448 w 1122575"/>
                <a:gd name="connsiteY64" fmla="*/ 270520 h 1042858"/>
                <a:gd name="connsiteX65" fmla="*/ 419150 w 1122575"/>
                <a:gd name="connsiteY65" fmla="*/ 135746 h 1042858"/>
                <a:gd name="connsiteX66" fmla="*/ 415462 w 1122575"/>
                <a:gd name="connsiteY66" fmla="*/ 135391 h 1042858"/>
                <a:gd name="connsiteX67" fmla="*/ 156613 w 1122575"/>
                <a:gd name="connsiteY67" fmla="*/ 386562 h 1042858"/>
                <a:gd name="connsiteX68" fmla="*/ 82394 w 1122575"/>
                <a:gd name="connsiteY68" fmla="*/ 636485 h 1042858"/>
                <a:gd name="connsiteX69" fmla="*/ 56836 w 1122575"/>
                <a:gd name="connsiteY69" fmla="*/ 807738 h 1042858"/>
                <a:gd name="connsiteX70" fmla="*/ 35020 w 1122575"/>
                <a:gd name="connsiteY70" fmla="*/ 1015205 h 1042858"/>
                <a:gd name="connsiteX71" fmla="*/ 35020 w 1122575"/>
                <a:gd name="connsiteY71" fmla="*/ 1015205 h 1042858"/>
                <a:gd name="connsiteX72" fmla="*/ 22241 w 1122575"/>
                <a:gd name="connsiteY72" fmla="*/ 1038930 h 1042858"/>
                <a:gd name="connsiteX73" fmla="*/ 1107807 w 1122575"/>
                <a:gd name="connsiteY73" fmla="*/ 1020468 h 1042858"/>
                <a:gd name="connsiteX74" fmla="*/ 1092519 w 1122575"/>
                <a:gd name="connsiteY74" fmla="*/ 1005839 h 1042858"/>
                <a:gd name="connsiteX75" fmla="*/ 1071569 w 1122575"/>
                <a:gd name="connsiteY75" fmla="*/ 851978 h 1042858"/>
                <a:gd name="connsiteX76" fmla="*/ 879330 w 1122575"/>
                <a:gd name="connsiteY76" fmla="*/ 161613 h 1042858"/>
                <a:gd name="connsiteX77" fmla="*/ 860621 w 1122575"/>
                <a:gd name="connsiteY77" fmla="*/ 156439 h 1042858"/>
                <a:gd name="connsiteX78" fmla="*/ 858049 w 1122575"/>
                <a:gd name="connsiteY78" fmla="*/ 139315 h 1042858"/>
                <a:gd name="connsiteX79" fmla="*/ 790582 w 1122575"/>
                <a:gd name="connsiteY79" fmla="*/ 67959 h 1042858"/>
                <a:gd name="connsiteX80" fmla="*/ 789859 w 1122575"/>
                <a:gd name="connsiteY80" fmla="*/ 61448 h 1042858"/>
                <a:gd name="connsiteX81" fmla="*/ 881758 w 1122575"/>
                <a:gd name="connsiteY81" fmla="*/ 157511 h 1042858"/>
                <a:gd name="connsiteX82" fmla="*/ 1102816 w 1122575"/>
                <a:gd name="connsiteY82" fmla="*/ 853139 h 1042858"/>
                <a:gd name="connsiteX83" fmla="*/ 1102816 w 1122575"/>
                <a:gd name="connsiteY83" fmla="*/ 853139 h 1042858"/>
                <a:gd name="connsiteX84" fmla="*/ 1107807 w 1122575"/>
                <a:gd name="connsiteY84" fmla="*/ 1020468 h 1042858"/>
                <a:gd name="connsiteX85" fmla="*/ 1107807 w 1122575"/>
                <a:gd name="connsiteY85" fmla="*/ 1020468 h 1042858"/>
                <a:gd name="connsiteX86" fmla="*/ 937322 w 1122575"/>
                <a:gd name="connsiteY86" fmla="*/ 1008962 h 1042858"/>
                <a:gd name="connsiteX87" fmla="*/ 919515 w 1122575"/>
                <a:gd name="connsiteY87" fmla="*/ 961777 h 1042858"/>
                <a:gd name="connsiteX88" fmla="*/ 914434 w 1122575"/>
                <a:gd name="connsiteY88" fmla="*/ 915754 h 1042858"/>
                <a:gd name="connsiteX89" fmla="*/ 893573 w 1122575"/>
                <a:gd name="connsiteY89" fmla="*/ 855369 h 1042858"/>
                <a:gd name="connsiteX90" fmla="*/ 832464 w 1122575"/>
                <a:gd name="connsiteY90" fmla="*/ 770991 h 1042858"/>
                <a:gd name="connsiteX91" fmla="*/ 830098 w 1122575"/>
                <a:gd name="connsiteY91" fmla="*/ 747800 h 1042858"/>
                <a:gd name="connsiteX92" fmla="*/ 918845 w 1122575"/>
                <a:gd name="connsiteY92" fmla="*/ 843327 h 1042858"/>
                <a:gd name="connsiteX93" fmla="*/ 942743 w 1122575"/>
                <a:gd name="connsiteY93" fmla="*/ 912810 h 1042858"/>
                <a:gd name="connsiteX94" fmla="*/ 951682 w 1122575"/>
                <a:gd name="connsiteY94" fmla="*/ 980420 h 1042858"/>
                <a:gd name="connsiteX95" fmla="*/ 937322 w 1122575"/>
                <a:gd name="connsiteY95" fmla="*/ 1008962 h 1042858"/>
                <a:gd name="connsiteX96" fmla="*/ 937322 w 1122575"/>
                <a:gd name="connsiteY96" fmla="*/ 1008962 h 1042858"/>
                <a:gd name="connsiteX97" fmla="*/ 1021739 w 1122575"/>
                <a:gd name="connsiteY97" fmla="*/ 1004056 h 1042858"/>
                <a:gd name="connsiteX98" fmla="*/ 1003950 w 1122575"/>
                <a:gd name="connsiteY98" fmla="*/ 962224 h 1042858"/>
                <a:gd name="connsiteX99" fmla="*/ 990796 w 1122575"/>
                <a:gd name="connsiteY99" fmla="*/ 867766 h 1042858"/>
                <a:gd name="connsiteX100" fmla="*/ 950655 w 1122575"/>
                <a:gd name="connsiteY100" fmla="*/ 605535 h 1042858"/>
                <a:gd name="connsiteX101" fmla="*/ 965890 w 1122575"/>
                <a:gd name="connsiteY101" fmla="*/ 332241 h 1042858"/>
                <a:gd name="connsiteX102" fmla="*/ 967961 w 1122575"/>
                <a:gd name="connsiteY102" fmla="*/ 332152 h 1042858"/>
                <a:gd name="connsiteX103" fmla="*/ 968685 w 1122575"/>
                <a:gd name="connsiteY103" fmla="*/ 366314 h 1042858"/>
                <a:gd name="connsiteX104" fmla="*/ 1000164 w 1122575"/>
                <a:gd name="connsiteY104" fmla="*/ 768226 h 1042858"/>
                <a:gd name="connsiteX105" fmla="*/ 1021739 w 1122575"/>
                <a:gd name="connsiteY105" fmla="*/ 1004056 h 1042858"/>
                <a:gd name="connsiteX106" fmla="*/ 1021739 w 1122575"/>
                <a:gd name="connsiteY106" fmla="*/ 1004056 h 1042858"/>
                <a:gd name="connsiteX107" fmla="*/ 672588 w 1122575"/>
                <a:gd name="connsiteY107" fmla="*/ 241263 h 1042858"/>
                <a:gd name="connsiteX108" fmla="*/ 640520 w 1122575"/>
                <a:gd name="connsiteY108" fmla="*/ 227259 h 1042858"/>
                <a:gd name="connsiteX109" fmla="*/ 555987 w 1122575"/>
                <a:gd name="connsiteY109" fmla="*/ 148323 h 1042858"/>
                <a:gd name="connsiteX110" fmla="*/ 530384 w 1122575"/>
                <a:gd name="connsiteY110" fmla="*/ 96679 h 1042858"/>
                <a:gd name="connsiteX111" fmla="*/ 533108 w 1122575"/>
                <a:gd name="connsiteY111" fmla="*/ 47622 h 1042858"/>
                <a:gd name="connsiteX112" fmla="*/ 562943 w 1122575"/>
                <a:gd name="connsiteY112" fmla="*/ 45125 h 1042858"/>
                <a:gd name="connsiteX113" fmla="*/ 553968 w 1122575"/>
                <a:gd name="connsiteY113" fmla="*/ 73934 h 1042858"/>
                <a:gd name="connsiteX114" fmla="*/ 553968 w 1122575"/>
                <a:gd name="connsiteY114" fmla="*/ 73934 h 1042858"/>
                <a:gd name="connsiteX115" fmla="*/ 534215 w 1122575"/>
                <a:gd name="connsiteY115" fmla="*/ 100782 h 1042858"/>
                <a:gd name="connsiteX116" fmla="*/ 660460 w 1122575"/>
                <a:gd name="connsiteY116" fmla="*/ 214059 h 1042858"/>
                <a:gd name="connsiteX117" fmla="*/ 701861 w 1122575"/>
                <a:gd name="connsiteY117" fmla="*/ 198450 h 1042858"/>
                <a:gd name="connsiteX118" fmla="*/ 763970 w 1122575"/>
                <a:gd name="connsiteY118" fmla="*/ 124864 h 1042858"/>
                <a:gd name="connsiteX119" fmla="*/ 757567 w 1122575"/>
                <a:gd name="connsiteY119" fmla="*/ 66798 h 1042858"/>
                <a:gd name="connsiteX120" fmla="*/ 780696 w 1122575"/>
                <a:gd name="connsiteY120" fmla="*/ 91416 h 1042858"/>
                <a:gd name="connsiteX121" fmla="*/ 780696 w 1122575"/>
                <a:gd name="connsiteY121" fmla="*/ 91416 h 1042858"/>
                <a:gd name="connsiteX122" fmla="*/ 786036 w 1122575"/>
                <a:gd name="connsiteY122" fmla="*/ 105777 h 1042858"/>
                <a:gd name="connsiteX123" fmla="*/ 788162 w 1122575"/>
                <a:gd name="connsiteY123" fmla="*/ 108007 h 1042858"/>
                <a:gd name="connsiteX124" fmla="*/ 787688 w 1122575"/>
                <a:gd name="connsiteY124" fmla="*/ 132536 h 1042858"/>
                <a:gd name="connsiteX125" fmla="*/ 672588 w 1122575"/>
                <a:gd name="connsiteY125" fmla="*/ 241263 h 104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22575" h="1042858">
                  <a:moveTo>
                    <a:pt x="677116" y="1046334"/>
                  </a:moveTo>
                  <a:cubicBezTo>
                    <a:pt x="675365" y="1046423"/>
                    <a:pt x="673918" y="1044997"/>
                    <a:pt x="673883" y="1043211"/>
                  </a:cubicBezTo>
                  <a:cubicBezTo>
                    <a:pt x="667417" y="940727"/>
                    <a:pt x="662720" y="849838"/>
                    <a:pt x="661264" y="746728"/>
                  </a:cubicBezTo>
                  <a:cubicBezTo>
                    <a:pt x="607773" y="746996"/>
                    <a:pt x="546030" y="747175"/>
                    <a:pt x="494048" y="746728"/>
                  </a:cubicBezTo>
                  <a:cubicBezTo>
                    <a:pt x="509782" y="810236"/>
                    <a:pt x="480036" y="863038"/>
                    <a:pt x="433331" y="915129"/>
                  </a:cubicBezTo>
                  <a:cubicBezTo>
                    <a:pt x="419507" y="927437"/>
                    <a:pt x="410229" y="942691"/>
                    <a:pt x="408264" y="961331"/>
                  </a:cubicBezTo>
                  <a:cubicBezTo>
                    <a:pt x="407434" y="966148"/>
                    <a:pt x="400138" y="999149"/>
                    <a:pt x="399013" y="1004591"/>
                  </a:cubicBezTo>
                  <a:cubicBezTo>
                    <a:pt x="396432" y="1016631"/>
                    <a:pt x="395762" y="1032776"/>
                    <a:pt x="386716" y="1041070"/>
                  </a:cubicBezTo>
                  <a:cubicBezTo>
                    <a:pt x="368427" y="1054896"/>
                    <a:pt x="356443" y="1030814"/>
                    <a:pt x="363926" y="1014312"/>
                  </a:cubicBezTo>
                  <a:lnTo>
                    <a:pt x="363926" y="1014312"/>
                  </a:lnTo>
                  <a:cubicBezTo>
                    <a:pt x="370624" y="991658"/>
                    <a:pt x="378268" y="941441"/>
                    <a:pt x="389395" y="921193"/>
                  </a:cubicBezTo>
                  <a:cubicBezTo>
                    <a:pt x="406809" y="897022"/>
                    <a:pt x="434117" y="881056"/>
                    <a:pt x="450352" y="855369"/>
                  </a:cubicBezTo>
                  <a:cubicBezTo>
                    <a:pt x="475607" y="823972"/>
                    <a:pt x="485876" y="784192"/>
                    <a:pt x="492101" y="746284"/>
                  </a:cubicBezTo>
                  <a:cubicBezTo>
                    <a:pt x="545583" y="740039"/>
                    <a:pt x="605005" y="739059"/>
                    <a:pt x="661086" y="733885"/>
                  </a:cubicBezTo>
                  <a:cubicBezTo>
                    <a:pt x="660193" y="668328"/>
                    <a:pt x="661827" y="583593"/>
                    <a:pt x="662792" y="510097"/>
                  </a:cubicBezTo>
                  <a:cubicBezTo>
                    <a:pt x="664685" y="432764"/>
                    <a:pt x="663283" y="342679"/>
                    <a:pt x="676454" y="270520"/>
                  </a:cubicBezTo>
                  <a:cubicBezTo>
                    <a:pt x="676713" y="269093"/>
                    <a:pt x="678874" y="269183"/>
                    <a:pt x="679035" y="270609"/>
                  </a:cubicBezTo>
                  <a:cubicBezTo>
                    <a:pt x="695860" y="419295"/>
                    <a:pt x="691805" y="590816"/>
                    <a:pt x="693216" y="731566"/>
                  </a:cubicBezTo>
                  <a:cubicBezTo>
                    <a:pt x="722498" y="729514"/>
                    <a:pt x="753664" y="727552"/>
                    <a:pt x="784089" y="725769"/>
                  </a:cubicBezTo>
                  <a:cubicBezTo>
                    <a:pt x="793332" y="726394"/>
                    <a:pt x="804468" y="720863"/>
                    <a:pt x="811996" y="728889"/>
                  </a:cubicBezTo>
                  <a:cubicBezTo>
                    <a:pt x="818971" y="739148"/>
                    <a:pt x="804530" y="744054"/>
                    <a:pt x="796404" y="743161"/>
                  </a:cubicBezTo>
                  <a:cubicBezTo>
                    <a:pt x="763309" y="744588"/>
                    <a:pt x="727214" y="745748"/>
                    <a:pt x="693198" y="746284"/>
                  </a:cubicBezTo>
                  <a:cubicBezTo>
                    <a:pt x="693038" y="794091"/>
                    <a:pt x="690770" y="842347"/>
                    <a:pt x="688591" y="890600"/>
                  </a:cubicBezTo>
                  <a:cubicBezTo>
                    <a:pt x="686028" y="947416"/>
                    <a:pt x="683643" y="995136"/>
                    <a:pt x="680321" y="1043211"/>
                  </a:cubicBezTo>
                  <a:cubicBezTo>
                    <a:pt x="680304" y="1044997"/>
                    <a:pt x="678866" y="1046423"/>
                    <a:pt x="677116" y="1046334"/>
                  </a:cubicBezTo>
                  <a:close/>
                  <a:moveTo>
                    <a:pt x="264310" y="1040894"/>
                  </a:moveTo>
                  <a:cubicBezTo>
                    <a:pt x="261176" y="1040981"/>
                    <a:pt x="258247" y="1039376"/>
                    <a:pt x="256684" y="1036611"/>
                  </a:cubicBezTo>
                  <a:cubicBezTo>
                    <a:pt x="256907" y="1036789"/>
                    <a:pt x="257711" y="1037325"/>
                    <a:pt x="257943" y="1037414"/>
                  </a:cubicBezTo>
                  <a:cubicBezTo>
                    <a:pt x="257961" y="1037414"/>
                    <a:pt x="256961" y="1036611"/>
                    <a:pt x="254808" y="1035095"/>
                  </a:cubicBezTo>
                  <a:cubicBezTo>
                    <a:pt x="247915" y="1028138"/>
                    <a:pt x="248701" y="1018417"/>
                    <a:pt x="249799" y="1009497"/>
                  </a:cubicBezTo>
                  <a:cubicBezTo>
                    <a:pt x="256336" y="859561"/>
                    <a:pt x="280867" y="704629"/>
                    <a:pt x="263266" y="554871"/>
                  </a:cubicBezTo>
                  <a:cubicBezTo>
                    <a:pt x="264310" y="553623"/>
                    <a:pt x="266570" y="553623"/>
                    <a:pt x="267382" y="555228"/>
                  </a:cubicBezTo>
                  <a:cubicBezTo>
                    <a:pt x="285796" y="583948"/>
                    <a:pt x="295450" y="617575"/>
                    <a:pt x="298986" y="651380"/>
                  </a:cubicBezTo>
                  <a:cubicBezTo>
                    <a:pt x="305576" y="731387"/>
                    <a:pt x="293941" y="811218"/>
                    <a:pt x="290458" y="891047"/>
                  </a:cubicBezTo>
                  <a:cubicBezTo>
                    <a:pt x="290458" y="891047"/>
                    <a:pt x="282314" y="1016366"/>
                    <a:pt x="282314" y="1016366"/>
                  </a:cubicBezTo>
                  <a:cubicBezTo>
                    <a:pt x="281965" y="1024392"/>
                    <a:pt x="279706" y="1033669"/>
                    <a:pt x="271972" y="1037593"/>
                  </a:cubicBezTo>
                  <a:cubicBezTo>
                    <a:pt x="269820" y="1039466"/>
                    <a:pt x="267213" y="1040981"/>
                    <a:pt x="264310" y="1040894"/>
                  </a:cubicBezTo>
                  <a:close/>
                  <a:moveTo>
                    <a:pt x="22241" y="1038930"/>
                  </a:moveTo>
                  <a:cubicBezTo>
                    <a:pt x="16168" y="1039019"/>
                    <a:pt x="10810" y="1034470"/>
                    <a:pt x="9033" y="1028763"/>
                  </a:cubicBezTo>
                  <a:cubicBezTo>
                    <a:pt x="-11140" y="956871"/>
                    <a:pt x="10703" y="885783"/>
                    <a:pt x="27679" y="814964"/>
                  </a:cubicBezTo>
                  <a:lnTo>
                    <a:pt x="27679" y="814964"/>
                  </a:lnTo>
                  <a:cubicBezTo>
                    <a:pt x="54220" y="728445"/>
                    <a:pt x="55095" y="638447"/>
                    <a:pt x="66365" y="549253"/>
                  </a:cubicBezTo>
                  <a:cubicBezTo>
                    <a:pt x="84341" y="432853"/>
                    <a:pt x="158863" y="333759"/>
                    <a:pt x="234618" y="251788"/>
                  </a:cubicBezTo>
                  <a:cubicBezTo>
                    <a:pt x="202853" y="244920"/>
                    <a:pt x="213096" y="189530"/>
                    <a:pt x="217525" y="165984"/>
                  </a:cubicBezTo>
                  <a:cubicBezTo>
                    <a:pt x="227339" y="126826"/>
                    <a:pt x="261444" y="90526"/>
                    <a:pt x="303853" y="90793"/>
                  </a:cubicBezTo>
                  <a:cubicBezTo>
                    <a:pt x="312096" y="90615"/>
                    <a:pt x="320588" y="91595"/>
                    <a:pt x="328598" y="89097"/>
                  </a:cubicBezTo>
                  <a:cubicBezTo>
                    <a:pt x="348548" y="81070"/>
                    <a:pt x="349308" y="54580"/>
                    <a:pt x="361703" y="39239"/>
                  </a:cubicBezTo>
                  <a:cubicBezTo>
                    <a:pt x="394923" y="-3932"/>
                    <a:pt x="486019" y="-3754"/>
                    <a:pt x="532260" y="17297"/>
                  </a:cubicBezTo>
                  <a:cubicBezTo>
                    <a:pt x="534153" y="18188"/>
                    <a:pt x="533653" y="20061"/>
                    <a:pt x="531590" y="20150"/>
                  </a:cubicBezTo>
                  <a:cubicBezTo>
                    <a:pt x="507532" y="20328"/>
                    <a:pt x="479911" y="17920"/>
                    <a:pt x="457041" y="20685"/>
                  </a:cubicBezTo>
                  <a:cubicBezTo>
                    <a:pt x="428036" y="25056"/>
                    <a:pt x="389842" y="26839"/>
                    <a:pt x="373866" y="55381"/>
                  </a:cubicBezTo>
                  <a:cubicBezTo>
                    <a:pt x="365301" y="71347"/>
                    <a:pt x="361247" y="91238"/>
                    <a:pt x="345092" y="101853"/>
                  </a:cubicBezTo>
                  <a:cubicBezTo>
                    <a:pt x="332322" y="110505"/>
                    <a:pt x="316301" y="109612"/>
                    <a:pt x="301540" y="110773"/>
                  </a:cubicBezTo>
                  <a:cubicBezTo>
                    <a:pt x="277188" y="112646"/>
                    <a:pt x="254818" y="129681"/>
                    <a:pt x="243146" y="155102"/>
                  </a:cubicBezTo>
                  <a:cubicBezTo>
                    <a:pt x="234618" y="176062"/>
                    <a:pt x="226607" y="213436"/>
                    <a:pt x="239029" y="235467"/>
                  </a:cubicBezTo>
                  <a:cubicBezTo>
                    <a:pt x="242262" y="234931"/>
                    <a:pt x="245557" y="236536"/>
                    <a:pt x="246861" y="239569"/>
                  </a:cubicBezTo>
                  <a:cubicBezTo>
                    <a:pt x="292003" y="196309"/>
                    <a:pt x="340270" y="162772"/>
                    <a:pt x="397485" y="136728"/>
                  </a:cubicBezTo>
                  <a:cubicBezTo>
                    <a:pt x="401299" y="135034"/>
                    <a:pt x="401852" y="134319"/>
                    <a:pt x="403013" y="132447"/>
                  </a:cubicBezTo>
                  <a:cubicBezTo>
                    <a:pt x="407478" y="125132"/>
                    <a:pt x="418337" y="123349"/>
                    <a:pt x="426312" y="125400"/>
                  </a:cubicBezTo>
                  <a:cubicBezTo>
                    <a:pt x="427625" y="125757"/>
                    <a:pt x="430429" y="126650"/>
                    <a:pt x="430563" y="126650"/>
                  </a:cubicBezTo>
                  <a:cubicBezTo>
                    <a:pt x="482769" y="150107"/>
                    <a:pt x="514738" y="197738"/>
                    <a:pt x="563256" y="227527"/>
                  </a:cubicBezTo>
                  <a:cubicBezTo>
                    <a:pt x="574651" y="234752"/>
                    <a:pt x="586394" y="241085"/>
                    <a:pt x="599378" y="245098"/>
                  </a:cubicBezTo>
                  <a:cubicBezTo>
                    <a:pt x="607567" y="247685"/>
                    <a:pt x="616846" y="250629"/>
                    <a:pt x="620043" y="257855"/>
                  </a:cubicBezTo>
                  <a:cubicBezTo>
                    <a:pt x="623624" y="261779"/>
                    <a:pt x="622213" y="268290"/>
                    <a:pt x="617881" y="270966"/>
                  </a:cubicBezTo>
                  <a:cubicBezTo>
                    <a:pt x="610139" y="278903"/>
                    <a:pt x="597057" y="274086"/>
                    <a:pt x="587448" y="270520"/>
                  </a:cubicBezTo>
                  <a:cubicBezTo>
                    <a:pt x="520230" y="245634"/>
                    <a:pt x="473821" y="180879"/>
                    <a:pt x="419150" y="135746"/>
                  </a:cubicBezTo>
                  <a:cubicBezTo>
                    <a:pt x="418114" y="134944"/>
                    <a:pt x="416641" y="134766"/>
                    <a:pt x="415462" y="135391"/>
                  </a:cubicBezTo>
                  <a:cubicBezTo>
                    <a:pt x="309273" y="193633"/>
                    <a:pt x="219481" y="282740"/>
                    <a:pt x="156613" y="386562"/>
                  </a:cubicBezTo>
                  <a:cubicBezTo>
                    <a:pt x="107345" y="456402"/>
                    <a:pt x="84029" y="545329"/>
                    <a:pt x="82394" y="636485"/>
                  </a:cubicBezTo>
                  <a:cubicBezTo>
                    <a:pt x="79420" y="695709"/>
                    <a:pt x="72089" y="747710"/>
                    <a:pt x="56836" y="807738"/>
                  </a:cubicBezTo>
                  <a:cubicBezTo>
                    <a:pt x="39798" y="874813"/>
                    <a:pt x="22785" y="945722"/>
                    <a:pt x="35020" y="1015205"/>
                  </a:cubicBezTo>
                  <a:lnTo>
                    <a:pt x="35020" y="1015205"/>
                  </a:lnTo>
                  <a:cubicBezTo>
                    <a:pt x="38101" y="1026086"/>
                    <a:pt x="35708" y="1038486"/>
                    <a:pt x="22241" y="1038930"/>
                  </a:cubicBezTo>
                  <a:close/>
                  <a:moveTo>
                    <a:pt x="1107807" y="1020468"/>
                  </a:moveTo>
                  <a:cubicBezTo>
                    <a:pt x="1100753" y="1020468"/>
                    <a:pt x="1092957" y="1015830"/>
                    <a:pt x="1092519" y="1005839"/>
                  </a:cubicBezTo>
                  <a:cubicBezTo>
                    <a:pt x="1090295" y="954195"/>
                    <a:pt x="1080901" y="902464"/>
                    <a:pt x="1071569" y="851978"/>
                  </a:cubicBezTo>
                  <a:cubicBezTo>
                    <a:pt x="1021462" y="620697"/>
                    <a:pt x="1084884" y="330726"/>
                    <a:pt x="879330" y="161613"/>
                  </a:cubicBezTo>
                  <a:cubicBezTo>
                    <a:pt x="873614" y="167232"/>
                    <a:pt x="863077" y="163754"/>
                    <a:pt x="860621" y="156439"/>
                  </a:cubicBezTo>
                  <a:cubicBezTo>
                    <a:pt x="858746" y="150910"/>
                    <a:pt x="859228" y="145022"/>
                    <a:pt x="858049" y="139315"/>
                  </a:cubicBezTo>
                  <a:cubicBezTo>
                    <a:pt x="850602" y="106135"/>
                    <a:pt x="823248" y="77236"/>
                    <a:pt x="790582" y="67959"/>
                  </a:cubicBezTo>
                  <a:cubicBezTo>
                    <a:pt x="779116" y="64479"/>
                    <a:pt x="772114" y="62517"/>
                    <a:pt x="789859" y="61448"/>
                  </a:cubicBezTo>
                  <a:cubicBezTo>
                    <a:pt x="837769" y="62964"/>
                    <a:pt x="885706" y="109166"/>
                    <a:pt x="881758" y="157511"/>
                  </a:cubicBezTo>
                  <a:cubicBezTo>
                    <a:pt x="1124891" y="295673"/>
                    <a:pt x="1042394" y="623731"/>
                    <a:pt x="1102816" y="853139"/>
                  </a:cubicBezTo>
                  <a:lnTo>
                    <a:pt x="1102816" y="853139"/>
                  </a:lnTo>
                  <a:cubicBezTo>
                    <a:pt x="1106048" y="876418"/>
                    <a:pt x="1144385" y="1024303"/>
                    <a:pt x="1107807" y="1020468"/>
                  </a:cubicBezTo>
                  <a:lnTo>
                    <a:pt x="1107807" y="1020468"/>
                  </a:lnTo>
                  <a:close/>
                  <a:moveTo>
                    <a:pt x="937322" y="1008962"/>
                  </a:moveTo>
                  <a:cubicBezTo>
                    <a:pt x="917434" y="1005660"/>
                    <a:pt x="921435" y="977386"/>
                    <a:pt x="919515" y="961777"/>
                  </a:cubicBezTo>
                  <a:cubicBezTo>
                    <a:pt x="918104" y="946436"/>
                    <a:pt x="916318" y="931006"/>
                    <a:pt x="914434" y="915754"/>
                  </a:cubicBezTo>
                  <a:cubicBezTo>
                    <a:pt x="911728" y="894614"/>
                    <a:pt x="910469" y="870621"/>
                    <a:pt x="893573" y="855369"/>
                  </a:cubicBezTo>
                  <a:cubicBezTo>
                    <a:pt x="867729" y="831820"/>
                    <a:pt x="845118" y="803903"/>
                    <a:pt x="832464" y="770991"/>
                  </a:cubicBezTo>
                  <a:cubicBezTo>
                    <a:pt x="827597" y="763052"/>
                    <a:pt x="813479" y="720684"/>
                    <a:pt x="830098" y="747800"/>
                  </a:cubicBezTo>
                  <a:cubicBezTo>
                    <a:pt x="852878" y="785797"/>
                    <a:pt x="886482" y="814160"/>
                    <a:pt x="918845" y="843327"/>
                  </a:cubicBezTo>
                  <a:cubicBezTo>
                    <a:pt x="936268" y="862326"/>
                    <a:pt x="939054" y="888192"/>
                    <a:pt x="942743" y="912810"/>
                  </a:cubicBezTo>
                  <a:cubicBezTo>
                    <a:pt x="946136" y="934840"/>
                    <a:pt x="949226" y="957407"/>
                    <a:pt x="951682" y="980420"/>
                  </a:cubicBezTo>
                  <a:cubicBezTo>
                    <a:pt x="953629" y="991569"/>
                    <a:pt x="951673" y="1008605"/>
                    <a:pt x="937322" y="1008962"/>
                  </a:cubicBezTo>
                  <a:lnTo>
                    <a:pt x="937322" y="1008962"/>
                  </a:lnTo>
                  <a:close/>
                  <a:moveTo>
                    <a:pt x="1021739" y="1004056"/>
                  </a:moveTo>
                  <a:cubicBezTo>
                    <a:pt x="1002057" y="1002183"/>
                    <a:pt x="1005397" y="977119"/>
                    <a:pt x="1003950" y="962224"/>
                  </a:cubicBezTo>
                  <a:cubicBezTo>
                    <a:pt x="1000645" y="928687"/>
                    <a:pt x="996296" y="899163"/>
                    <a:pt x="990796" y="867766"/>
                  </a:cubicBezTo>
                  <a:cubicBezTo>
                    <a:pt x="975248" y="784993"/>
                    <a:pt x="949351" y="684292"/>
                    <a:pt x="950655" y="605535"/>
                  </a:cubicBezTo>
                  <a:cubicBezTo>
                    <a:pt x="952959" y="510809"/>
                    <a:pt x="960665" y="430713"/>
                    <a:pt x="965890" y="332241"/>
                  </a:cubicBezTo>
                  <a:cubicBezTo>
                    <a:pt x="965881" y="330994"/>
                    <a:pt x="967943" y="330815"/>
                    <a:pt x="967961" y="332152"/>
                  </a:cubicBezTo>
                  <a:cubicBezTo>
                    <a:pt x="968193" y="342768"/>
                    <a:pt x="968417" y="353471"/>
                    <a:pt x="968685" y="366314"/>
                  </a:cubicBezTo>
                  <a:cubicBezTo>
                    <a:pt x="971560" y="507153"/>
                    <a:pt x="967301" y="628101"/>
                    <a:pt x="1000164" y="768226"/>
                  </a:cubicBezTo>
                  <a:cubicBezTo>
                    <a:pt x="1004012" y="797926"/>
                    <a:pt x="1064568" y="1007890"/>
                    <a:pt x="1021739" y="1004056"/>
                  </a:cubicBezTo>
                  <a:lnTo>
                    <a:pt x="1021739" y="1004056"/>
                  </a:lnTo>
                  <a:close/>
                  <a:moveTo>
                    <a:pt x="672588" y="241263"/>
                  </a:moveTo>
                  <a:cubicBezTo>
                    <a:pt x="660443" y="241263"/>
                    <a:pt x="649843" y="234395"/>
                    <a:pt x="640520" y="227259"/>
                  </a:cubicBezTo>
                  <a:cubicBezTo>
                    <a:pt x="608898" y="203356"/>
                    <a:pt x="581259" y="178381"/>
                    <a:pt x="555987" y="148323"/>
                  </a:cubicBezTo>
                  <a:cubicBezTo>
                    <a:pt x="545012" y="139136"/>
                    <a:pt x="486966" y="49138"/>
                    <a:pt x="530384" y="96679"/>
                  </a:cubicBezTo>
                  <a:cubicBezTo>
                    <a:pt x="529652" y="80445"/>
                    <a:pt x="529321" y="63410"/>
                    <a:pt x="533108" y="47622"/>
                  </a:cubicBezTo>
                  <a:cubicBezTo>
                    <a:pt x="536751" y="33708"/>
                    <a:pt x="557067" y="31924"/>
                    <a:pt x="562943" y="45125"/>
                  </a:cubicBezTo>
                  <a:cubicBezTo>
                    <a:pt x="568284" y="55294"/>
                    <a:pt x="558773" y="65461"/>
                    <a:pt x="553968" y="73934"/>
                  </a:cubicBezTo>
                  <a:lnTo>
                    <a:pt x="553968" y="73934"/>
                  </a:lnTo>
                  <a:cubicBezTo>
                    <a:pt x="548513" y="83657"/>
                    <a:pt x="540591" y="91595"/>
                    <a:pt x="534215" y="100782"/>
                  </a:cubicBezTo>
                  <a:cubicBezTo>
                    <a:pt x="572981" y="142170"/>
                    <a:pt x="614328" y="183466"/>
                    <a:pt x="660460" y="214059"/>
                  </a:cubicBezTo>
                  <a:cubicBezTo>
                    <a:pt x="675552" y="226637"/>
                    <a:pt x="691073" y="209331"/>
                    <a:pt x="701861" y="198450"/>
                  </a:cubicBezTo>
                  <a:cubicBezTo>
                    <a:pt x="725329" y="176240"/>
                    <a:pt x="746074" y="151890"/>
                    <a:pt x="763970" y="124864"/>
                  </a:cubicBezTo>
                  <a:cubicBezTo>
                    <a:pt x="753736" y="109255"/>
                    <a:pt x="759317" y="85084"/>
                    <a:pt x="757567" y="66798"/>
                  </a:cubicBezTo>
                  <a:cubicBezTo>
                    <a:pt x="757773" y="26572"/>
                    <a:pt x="776463" y="81338"/>
                    <a:pt x="780696" y="91416"/>
                  </a:cubicBezTo>
                  <a:lnTo>
                    <a:pt x="780696" y="91416"/>
                  </a:lnTo>
                  <a:cubicBezTo>
                    <a:pt x="782509" y="95965"/>
                    <a:pt x="784259" y="100871"/>
                    <a:pt x="786036" y="105777"/>
                  </a:cubicBezTo>
                  <a:cubicBezTo>
                    <a:pt x="786813" y="106492"/>
                    <a:pt x="787537" y="107204"/>
                    <a:pt x="788162" y="108007"/>
                  </a:cubicBezTo>
                  <a:cubicBezTo>
                    <a:pt x="797851" y="113536"/>
                    <a:pt x="793055" y="125668"/>
                    <a:pt x="787688" y="132536"/>
                  </a:cubicBezTo>
                  <a:cubicBezTo>
                    <a:pt x="764434" y="165805"/>
                    <a:pt x="714256" y="236714"/>
                    <a:pt x="672588" y="241263"/>
                  </a:cubicBezTo>
                  <a:close/>
                </a:path>
              </a:pathLst>
            </a:custGeom>
            <a:solidFill>
              <a:schemeClr val="bg1"/>
            </a:solidFill>
            <a:ln w="8890" cap="flat">
              <a:noFill/>
              <a:prstDash val="solid"/>
              <a:miter/>
            </a:ln>
          </p:spPr>
          <p:txBody>
            <a:bodyPr rtlCol="0" anchor="ctr"/>
            <a:lstStyle/>
            <a:p>
              <a:endParaRPr lang="en-GB">
                <a:solidFill>
                  <a:schemeClr val="bg1"/>
                </a:solidFill>
              </a:endParaRPr>
            </a:p>
          </p:txBody>
        </p:sp>
        <p:sp>
          <p:nvSpPr>
            <p:cNvPr id="113" name="Freeform: Shape 112">
              <a:extLst>
                <a:ext uri="{FF2B5EF4-FFF2-40B4-BE49-F238E27FC236}">
                  <a16:creationId xmlns:a16="http://schemas.microsoft.com/office/drawing/2014/main" id="{33AF9DFD-A031-F879-AE49-FF3498CDBBAE}"/>
                </a:ext>
              </a:extLst>
            </p:cNvPr>
            <p:cNvSpPr/>
            <p:nvPr/>
          </p:nvSpPr>
          <p:spPr>
            <a:xfrm>
              <a:off x="9215861" y="2952724"/>
              <a:ext cx="483710" cy="567188"/>
            </a:xfrm>
            <a:custGeom>
              <a:avLst/>
              <a:gdLst>
                <a:gd name="connsiteX0" fmla="*/ 249846 w 483710"/>
                <a:gd name="connsiteY0" fmla="*/ 2095 h 567188"/>
                <a:gd name="connsiteX1" fmla="*/ 419071 w 483710"/>
                <a:gd name="connsiteY1" fmla="*/ 58467 h 567188"/>
                <a:gd name="connsiteX2" fmla="*/ 429787 w 483710"/>
                <a:gd name="connsiteY2" fmla="*/ 99586 h 567188"/>
                <a:gd name="connsiteX3" fmla="*/ 483280 w 483710"/>
                <a:gd name="connsiteY3" fmla="*/ 447533 h 567188"/>
                <a:gd name="connsiteX4" fmla="*/ 304141 w 483710"/>
                <a:gd name="connsiteY4" fmla="*/ 569284 h 567188"/>
                <a:gd name="connsiteX5" fmla="*/ 106874 w 483710"/>
                <a:gd name="connsiteY5" fmla="*/ 494003 h 567188"/>
                <a:gd name="connsiteX6" fmla="*/ 54186 w 483710"/>
                <a:gd name="connsiteY6" fmla="*/ 405077 h 567188"/>
                <a:gd name="connsiteX7" fmla="*/ 29896 w 483710"/>
                <a:gd name="connsiteY7" fmla="*/ 408377 h 567188"/>
                <a:gd name="connsiteX8" fmla="*/ 1229 w 483710"/>
                <a:gd name="connsiteY8" fmla="*/ 353879 h 567188"/>
                <a:gd name="connsiteX9" fmla="*/ 37039 w 483710"/>
                <a:gd name="connsiteY9" fmla="*/ 292781 h 567188"/>
                <a:gd name="connsiteX10" fmla="*/ 56597 w 483710"/>
                <a:gd name="connsiteY10" fmla="*/ 69705 h 567188"/>
                <a:gd name="connsiteX11" fmla="*/ 249846 w 483710"/>
                <a:gd name="connsiteY11" fmla="*/ 2095 h 56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10" h="567188">
                  <a:moveTo>
                    <a:pt x="249846" y="2095"/>
                  </a:moveTo>
                  <a:cubicBezTo>
                    <a:pt x="311196" y="2095"/>
                    <a:pt x="387637" y="20916"/>
                    <a:pt x="419071" y="58467"/>
                  </a:cubicBezTo>
                  <a:cubicBezTo>
                    <a:pt x="426662" y="67475"/>
                    <a:pt x="428180" y="90131"/>
                    <a:pt x="429787" y="99586"/>
                  </a:cubicBezTo>
                  <a:cubicBezTo>
                    <a:pt x="439701" y="157116"/>
                    <a:pt x="495157" y="376803"/>
                    <a:pt x="483280" y="447533"/>
                  </a:cubicBezTo>
                  <a:cubicBezTo>
                    <a:pt x="471313" y="518354"/>
                    <a:pt x="407016" y="569284"/>
                    <a:pt x="304141" y="569284"/>
                  </a:cubicBezTo>
                  <a:cubicBezTo>
                    <a:pt x="201265" y="569284"/>
                    <a:pt x="124466" y="513270"/>
                    <a:pt x="106874" y="494003"/>
                  </a:cubicBezTo>
                  <a:cubicBezTo>
                    <a:pt x="89281" y="474738"/>
                    <a:pt x="54186" y="405077"/>
                    <a:pt x="54186" y="405077"/>
                  </a:cubicBezTo>
                  <a:cubicBezTo>
                    <a:pt x="54186" y="405077"/>
                    <a:pt x="40612" y="412926"/>
                    <a:pt x="29896" y="408377"/>
                  </a:cubicBezTo>
                  <a:cubicBezTo>
                    <a:pt x="14982" y="402044"/>
                    <a:pt x="1408" y="380013"/>
                    <a:pt x="1229" y="353879"/>
                  </a:cubicBezTo>
                  <a:cubicBezTo>
                    <a:pt x="962" y="309015"/>
                    <a:pt x="37039" y="292781"/>
                    <a:pt x="37039" y="292781"/>
                  </a:cubicBezTo>
                  <a:cubicBezTo>
                    <a:pt x="37039" y="292781"/>
                    <a:pt x="24181" y="115729"/>
                    <a:pt x="56597" y="69705"/>
                  </a:cubicBezTo>
                  <a:cubicBezTo>
                    <a:pt x="88924" y="23592"/>
                    <a:pt x="173850" y="2095"/>
                    <a:pt x="249846" y="2095"/>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115" name="Freeform: Shape 114">
              <a:extLst>
                <a:ext uri="{FF2B5EF4-FFF2-40B4-BE49-F238E27FC236}">
                  <a16:creationId xmlns:a16="http://schemas.microsoft.com/office/drawing/2014/main" id="{05BE8B3F-8966-5515-CCDD-3B6880074A62}"/>
                </a:ext>
              </a:extLst>
            </p:cNvPr>
            <p:cNvSpPr/>
            <p:nvPr/>
          </p:nvSpPr>
          <p:spPr>
            <a:xfrm>
              <a:off x="9496529" y="3381750"/>
              <a:ext cx="95290" cy="46830"/>
            </a:xfrm>
            <a:custGeom>
              <a:avLst/>
              <a:gdLst>
                <a:gd name="connsiteX0" fmla="*/ 49861 w 95290"/>
                <a:gd name="connsiteY0" fmla="*/ 48066 h 46830"/>
                <a:gd name="connsiteX1" fmla="*/ 9881 w 95290"/>
                <a:gd name="connsiteY1" fmla="*/ 29602 h 46830"/>
                <a:gd name="connsiteX2" fmla="*/ 4559 w 95290"/>
                <a:gd name="connsiteY2" fmla="*/ 1239 h 46830"/>
                <a:gd name="connsiteX3" fmla="*/ 8104 w 95290"/>
                <a:gd name="connsiteY3" fmla="*/ 3380 h 46830"/>
                <a:gd name="connsiteX4" fmla="*/ 77080 w 95290"/>
                <a:gd name="connsiteY4" fmla="*/ 14350 h 46830"/>
                <a:gd name="connsiteX5" fmla="*/ 84171 w 95290"/>
                <a:gd name="connsiteY5" fmla="*/ 10872 h 46830"/>
                <a:gd name="connsiteX6" fmla="*/ 84234 w 95290"/>
                <a:gd name="connsiteY6" fmla="*/ 10872 h 46830"/>
                <a:gd name="connsiteX7" fmla="*/ 91771 w 95290"/>
                <a:gd name="connsiteY7" fmla="*/ 14261 h 46830"/>
                <a:gd name="connsiteX8" fmla="*/ 95289 w 95290"/>
                <a:gd name="connsiteY8" fmla="*/ 21842 h 46830"/>
                <a:gd name="connsiteX9" fmla="*/ 92369 w 95290"/>
                <a:gd name="connsiteY9" fmla="*/ 29425 h 46830"/>
                <a:gd name="connsiteX10" fmla="*/ 49861 w 95290"/>
                <a:gd name="connsiteY10" fmla="*/ 48066 h 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90" h="46830">
                  <a:moveTo>
                    <a:pt x="49861" y="48066"/>
                  </a:moveTo>
                  <a:cubicBezTo>
                    <a:pt x="34609" y="48245"/>
                    <a:pt x="19811" y="41109"/>
                    <a:pt x="9881" y="29602"/>
                  </a:cubicBezTo>
                  <a:cubicBezTo>
                    <a:pt x="4425" y="24072"/>
                    <a:pt x="-6023" y="2844"/>
                    <a:pt x="4559" y="1239"/>
                  </a:cubicBezTo>
                  <a:cubicBezTo>
                    <a:pt x="6032" y="1239"/>
                    <a:pt x="7488" y="2041"/>
                    <a:pt x="8104" y="3380"/>
                  </a:cubicBezTo>
                  <a:cubicBezTo>
                    <a:pt x="24464" y="28978"/>
                    <a:pt x="55559" y="39325"/>
                    <a:pt x="77080" y="14350"/>
                  </a:cubicBezTo>
                  <a:cubicBezTo>
                    <a:pt x="78804" y="12210"/>
                    <a:pt x="81403" y="10961"/>
                    <a:pt x="84171" y="10872"/>
                  </a:cubicBezTo>
                  <a:lnTo>
                    <a:pt x="84234" y="10872"/>
                  </a:lnTo>
                  <a:cubicBezTo>
                    <a:pt x="87082" y="10961"/>
                    <a:pt x="89797" y="12120"/>
                    <a:pt x="91771" y="14261"/>
                  </a:cubicBezTo>
                  <a:cubicBezTo>
                    <a:pt x="93851" y="16223"/>
                    <a:pt x="95110" y="18989"/>
                    <a:pt x="95289" y="21842"/>
                  </a:cubicBezTo>
                  <a:cubicBezTo>
                    <a:pt x="95387" y="24697"/>
                    <a:pt x="94334" y="27372"/>
                    <a:pt x="92369" y="29425"/>
                  </a:cubicBezTo>
                  <a:cubicBezTo>
                    <a:pt x="81537" y="41019"/>
                    <a:pt x="65811" y="48066"/>
                    <a:pt x="49861" y="4806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16" name="Freeform: Shape 115">
              <a:extLst>
                <a:ext uri="{FF2B5EF4-FFF2-40B4-BE49-F238E27FC236}">
                  <a16:creationId xmlns:a16="http://schemas.microsoft.com/office/drawing/2014/main" id="{8AB4342F-B11B-7A83-8E4C-0C9ACA979988}"/>
                </a:ext>
              </a:extLst>
            </p:cNvPr>
            <p:cNvSpPr/>
            <p:nvPr/>
          </p:nvSpPr>
          <p:spPr>
            <a:xfrm>
              <a:off x="9523202" y="3290857"/>
              <a:ext cx="70846" cy="63352"/>
            </a:xfrm>
            <a:custGeom>
              <a:avLst/>
              <a:gdLst>
                <a:gd name="connsiteX0" fmla="*/ 39147 w 70846"/>
                <a:gd name="connsiteY0" fmla="*/ 64572 h 63352"/>
                <a:gd name="connsiteX1" fmla="*/ 3810 w 70846"/>
                <a:gd name="connsiteY1" fmla="*/ 36118 h 63352"/>
                <a:gd name="connsiteX2" fmla="*/ 8954 w 70846"/>
                <a:gd name="connsiteY2" fmla="*/ 34067 h 63352"/>
                <a:gd name="connsiteX3" fmla="*/ 12937 w 70846"/>
                <a:gd name="connsiteY3" fmla="*/ 35316 h 63352"/>
                <a:gd name="connsiteX4" fmla="*/ 53274 w 70846"/>
                <a:gd name="connsiteY4" fmla="*/ 44235 h 63352"/>
                <a:gd name="connsiteX5" fmla="*/ 38629 w 70846"/>
                <a:gd name="connsiteY5" fmla="*/ 8558 h 63352"/>
                <a:gd name="connsiteX6" fmla="*/ 37718 w 70846"/>
                <a:gd name="connsiteY6" fmla="*/ 4632 h 63352"/>
                <a:gd name="connsiteX7" fmla="*/ 42594 w 70846"/>
                <a:gd name="connsiteY7" fmla="*/ 1243 h 63352"/>
                <a:gd name="connsiteX8" fmla="*/ 70634 w 70846"/>
                <a:gd name="connsiteY8" fmla="*/ 34869 h 63352"/>
                <a:gd name="connsiteX9" fmla="*/ 39147 w 70846"/>
                <a:gd name="connsiteY9" fmla="*/ 64572 h 6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46" h="63352">
                  <a:moveTo>
                    <a:pt x="39147" y="64572"/>
                  </a:moveTo>
                  <a:cubicBezTo>
                    <a:pt x="27939" y="64928"/>
                    <a:pt x="-12443" y="51193"/>
                    <a:pt x="3810" y="36118"/>
                  </a:cubicBezTo>
                  <a:cubicBezTo>
                    <a:pt x="5230" y="34780"/>
                    <a:pt x="7061" y="34156"/>
                    <a:pt x="8954" y="34067"/>
                  </a:cubicBezTo>
                  <a:cubicBezTo>
                    <a:pt x="10374" y="34067"/>
                    <a:pt x="11758" y="34513"/>
                    <a:pt x="12937" y="35316"/>
                  </a:cubicBezTo>
                  <a:cubicBezTo>
                    <a:pt x="22849" y="43254"/>
                    <a:pt x="41353" y="57168"/>
                    <a:pt x="53274" y="44235"/>
                  </a:cubicBezTo>
                  <a:cubicBezTo>
                    <a:pt x="64901" y="30142"/>
                    <a:pt x="46746" y="12571"/>
                    <a:pt x="38629" y="8558"/>
                  </a:cubicBezTo>
                  <a:cubicBezTo>
                    <a:pt x="37513" y="7577"/>
                    <a:pt x="37146" y="6060"/>
                    <a:pt x="37718" y="4632"/>
                  </a:cubicBezTo>
                  <a:cubicBezTo>
                    <a:pt x="38397" y="2581"/>
                    <a:pt x="40379" y="1154"/>
                    <a:pt x="42594" y="1243"/>
                  </a:cubicBezTo>
                  <a:cubicBezTo>
                    <a:pt x="59320" y="2492"/>
                    <a:pt x="72733" y="18101"/>
                    <a:pt x="70634" y="34869"/>
                  </a:cubicBezTo>
                  <a:cubicBezTo>
                    <a:pt x="69688" y="51014"/>
                    <a:pt x="55632" y="65196"/>
                    <a:pt x="39147" y="64572"/>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17" name="Freeform: Shape 116">
              <a:extLst>
                <a:ext uri="{FF2B5EF4-FFF2-40B4-BE49-F238E27FC236}">
                  <a16:creationId xmlns:a16="http://schemas.microsoft.com/office/drawing/2014/main" id="{A3C57EC7-F8C5-92FD-AF44-7826F762CED1}"/>
                </a:ext>
              </a:extLst>
            </p:cNvPr>
            <p:cNvSpPr/>
            <p:nvPr/>
          </p:nvSpPr>
          <p:spPr>
            <a:xfrm>
              <a:off x="9428118" y="3251827"/>
              <a:ext cx="69559" cy="50897"/>
            </a:xfrm>
            <a:custGeom>
              <a:avLst/>
              <a:gdLst>
                <a:gd name="connsiteX0" fmla="*/ 6003 w 69559"/>
                <a:gd name="connsiteY0" fmla="*/ 52136 h 50897"/>
                <a:gd name="connsiteX1" fmla="*/ 4145 w 69559"/>
                <a:gd name="connsiteY1" fmla="*/ 51869 h 50897"/>
                <a:gd name="connsiteX2" fmla="*/ 1600 w 69559"/>
                <a:gd name="connsiteY2" fmla="*/ 49728 h 50897"/>
                <a:gd name="connsiteX3" fmla="*/ 3163 w 69559"/>
                <a:gd name="connsiteY3" fmla="*/ 26270 h 50897"/>
                <a:gd name="connsiteX4" fmla="*/ 64745 w 69559"/>
                <a:gd name="connsiteY4" fmla="*/ 22078 h 50897"/>
                <a:gd name="connsiteX5" fmla="*/ 67710 w 69559"/>
                <a:gd name="connsiteY5" fmla="*/ 26270 h 50897"/>
                <a:gd name="connsiteX6" fmla="*/ 69148 w 69559"/>
                <a:gd name="connsiteY6" fmla="*/ 34208 h 50897"/>
                <a:gd name="connsiteX7" fmla="*/ 63307 w 69559"/>
                <a:gd name="connsiteY7" fmla="*/ 40273 h 50897"/>
                <a:gd name="connsiteX8" fmla="*/ 49635 w 69559"/>
                <a:gd name="connsiteY8" fmla="*/ 34564 h 50897"/>
                <a:gd name="connsiteX9" fmla="*/ 39080 w 69559"/>
                <a:gd name="connsiteY9" fmla="*/ 20561 h 50897"/>
                <a:gd name="connsiteX10" fmla="*/ 27765 w 69559"/>
                <a:gd name="connsiteY10" fmla="*/ 19669 h 50897"/>
                <a:gd name="connsiteX11" fmla="*/ 14602 w 69559"/>
                <a:gd name="connsiteY11" fmla="*/ 32781 h 50897"/>
                <a:gd name="connsiteX12" fmla="*/ 10280 w 69559"/>
                <a:gd name="connsiteY12" fmla="*/ 48122 h 50897"/>
                <a:gd name="connsiteX13" fmla="*/ 6708 w 69559"/>
                <a:gd name="connsiteY13" fmla="*/ 52136 h 50897"/>
                <a:gd name="connsiteX14" fmla="*/ 6003 w 69559"/>
                <a:gd name="connsiteY14" fmla="*/ 52136 h 5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59" h="50897">
                  <a:moveTo>
                    <a:pt x="6003" y="52136"/>
                  </a:moveTo>
                  <a:cubicBezTo>
                    <a:pt x="5378" y="52136"/>
                    <a:pt x="4743" y="52047"/>
                    <a:pt x="4145" y="51869"/>
                  </a:cubicBezTo>
                  <a:cubicBezTo>
                    <a:pt x="3002" y="51601"/>
                    <a:pt x="2056" y="50798"/>
                    <a:pt x="1600" y="49728"/>
                  </a:cubicBezTo>
                  <a:cubicBezTo>
                    <a:pt x="-1642" y="41076"/>
                    <a:pt x="662" y="32246"/>
                    <a:pt x="3163" y="26270"/>
                  </a:cubicBezTo>
                  <a:cubicBezTo>
                    <a:pt x="16558" y="-6554"/>
                    <a:pt x="48939" y="-6197"/>
                    <a:pt x="64745" y="22078"/>
                  </a:cubicBezTo>
                  <a:cubicBezTo>
                    <a:pt x="65710" y="23415"/>
                    <a:pt x="66701" y="24842"/>
                    <a:pt x="67710" y="26270"/>
                  </a:cubicBezTo>
                  <a:cubicBezTo>
                    <a:pt x="69487" y="28500"/>
                    <a:pt x="70032" y="31532"/>
                    <a:pt x="69148" y="34208"/>
                  </a:cubicBezTo>
                  <a:cubicBezTo>
                    <a:pt x="68148" y="36973"/>
                    <a:pt x="66022" y="39113"/>
                    <a:pt x="63307" y="40273"/>
                  </a:cubicBezTo>
                  <a:cubicBezTo>
                    <a:pt x="58110" y="42681"/>
                    <a:pt x="51511" y="40006"/>
                    <a:pt x="49635" y="34564"/>
                  </a:cubicBezTo>
                  <a:cubicBezTo>
                    <a:pt x="47019" y="28232"/>
                    <a:pt x="43179" y="23148"/>
                    <a:pt x="39080" y="20561"/>
                  </a:cubicBezTo>
                  <a:cubicBezTo>
                    <a:pt x="35740" y="18242"/>
                    <a:pt x="31418" y="17885"/>
                    <a:pt x="27765" y="19669"/>
                  </a:cubicBezTo>
                  <a:cubicBezTo>
                    <a:pt x="24327" y="21274"/>
                    <a:pt x="18541" y="26359"/>
                    <a:pt x="14602" y="32781"/>
                  </a:cubicBezTo>
                  <a:cubicBezTo>
                    <a:pt x="11575" y="37330"/>
                    <a:pt x="10066" y="42681"/>
                    <a:pt x="10280" y="48122"/>
                  </a:cubicBezTo>
                  <a:cubicBezTo>
                    <a:pt x="10530" y="50173"/>
                    <a:pt x="8708" y="51958"/>
                    <a:pt x="6708" y="52136"/>
                  </a:cubicBezTo>
                  <a:cubicBezTo>
                    <a:pt x="6485" y="52136"/>
                    <a:pt x="6244" y="52136"/>
                    <a:pt x="6003" y="52136"/>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18" name="Freeform: Shape 117">
              <a:extLst>
                <a:ext uri="{FF2B5EF4-FFF2-40B4-BE49-F238E27FC236}">
                  <a16:creationId xmlns:a16="http://schemas.microsoft.com/office/drawing/2014/main" id="{AF56065D-9A74-D538-BEB3-B5FB13197EFE}"/>
                </a:ext>
              </a:extLst>
            </p:cNvPr>
            <p:cNvSpPr/>
            <p:nvPr/>
          </p:nvSpPr>
          <p:spPr>
            <a:xfrm>
              <a:off x="9582925" y="3250046"/>
              <a:ext cx="53600" cy="33768"/>
            </a:xfrm>
            <a:custGeom>
              <a:avLst/>
              <a:gdLst>
                <a:gd name="connsiteX0" fmla="*/ 45373 w 53600"/>
                <a:gd name="connsiteY0" fmla="*/ 35008 h 33768"/>
                <a:gd name="connsiteX1" fmla="*/ 37095 w 53600"/>
                <a:gd name="connsiteY1" fmla="*/ 28585 h 33768"/>
                <a:gd name="connsiteX2" fmla="*/ 22932 w 53600"/>
                <a:gd name="connsiteY2" fmla="*/ 17258 h 33768"/>
                <a:gd name="connsiteX3" fmla="*/ 11599 w 53600"/>
                <a:gd name="connsiteY3" fmla="*/ 25731 h 33768"/>
                <a:gd name="connsiteX4" fmla="*/ 11537 w 53600"/>
                <a:gd name="connsiteY4" fmla="*/ 25820 h 33768"/>
                <a:gd name="connsiteX5" fmla="*/ 7652 w 53600"/>
                <a:gd name="connsiteY5" fmla="*/ 30904 h 33768"/>
                <a:gd name="connsiteX6" fmla="*/ 4170 w 53600"/>
                <a:gd name="connsiteY6" fmla="*/ 31707 h 33768"/>
                <a:gd name="connsiteX7" fmla="*/ 17 w 53600"/>
                <a:gd name="connsiteY7" fmla="*/ 22699 h 33768"/>
                <a:gd name="connsiteX8" fmla="*/ 3053 w 53600"/>
                <a:gd name="connsiteY8" fmla="*/ 14314 h 33768"/>
                <a:gd name="connsiteX9" fmla="*/ 41435 w 53600"/>
                <a:gd name="connsiteY9" fmla="*/ 6198 h 33768"/>
                <a:gd name="connsiteX10" fmla="*/ 49392 w 53600"/>
                <a:gd name="connsiteY10" fmla="*/ 33937 h 33768"/>
                <a:gd name="connsiteX11" fmla="*/ 45373 w 53600"/>
                <a:gd name="connsiteY11" fmla="*/ 35008 h 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0" h="33768">
                  <a:moveTo>
                    <a:pt x="45373" y="35008"/>
                  </a:moveTo>
                  <a:cubicBezTo>
                    <a:pt x="41632" y="35008"/>
                    <a:pt x="37872" y="32331"/>
                    <a:pt x="37095" y="28585"/>
                  </a:cubicBezTo>
                  <a:cubicBezTo>
                    <a:pt x="35907" y="22163"/>
                    <a:pt x="29906" y="15920"/>
                    <a:pt x="22932" y="17258"/>
                  </a:cubicBezTo>
                  <a:cubicBezTo>
                    <a:pt x="18109" y="18239"/>
                    <a:pt x="13948" y="21450"/>
                    <a:pt x="11599" y="25731"/>
                  </a:cubicBezTo>
                  <a:lnTo>
                    <a:pt x="11537" y="25820"/>
                  </a:lnTo>
                  <a:cubicBezTo>
                    <a:pt x="10510" y="27693"/>
                    <a:pt x="9206" y="29478"/>
                    <a:pt x="7652" y="30904"/>
                  </a:cubicBezTo>
                  <a:cubicBezTo>
                    <a:pt x="6706" y="31707"/>
                    <a:pt x="5357" y="32063"/>
                    <a:pt x="4170" y="31707"/>
                  </a:cubicBezTo>
                  <a:cubicBezTo>
                    <a:pt x="347" y="27872"/>
                    <a:pt x="-81" y="25107"/>
                    <a:pt x="17" y="22699"/>
                  </a:cubicBezTo>
                  <a:cubicBezTo>
                    <a:pt x="249" y="19665"/>
                    <a:pt x="1294" y="16722"/>
                    <a:pt x="3053" y="14314"/>
                  </a:cubicBezTo>
                  <a:cubicBezTo>
                    <a:pt x="12635" y="935"/>
                    <a:pt x="28674" y="-2900"/>
                    <a:pt x="41435" y="6198"/>
                  </a:cubicBezTo>
                  <a:cubicBezTo>
                    <a:pt x="49044" y="11549"/>
                    <a:pt x="59581" y="26623"/>
                    <a:pt x="49392" y="33937"/>
                  </a:cubicBezTo>
                  <a:cubicBezTo>
                    <a:pt x="48168" y="34561"/>
                    <a:pt x="46793" y="35008"/>
                    <a:pt x="45373" y="35008"/>
                  </a:cubicBez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19" name="Freeform: Shape 118">
              <a:extLst>
                <a:ext uri="{FF2B5EF4-FFF2-40B4-BE49-F238E27FC236}">
                  <a16:creationId xmlns:a16="http://schemas.microsoft.com/office/drawing/2014/main" id="{4AF7A51A-03D0-4710-B387-EA338BE9A881}"/>
                </a:ext>
              </a:extLst>
            </p:cNvPr>
            <p:cNvSpPr/>
            <p:nvPr/>
          </p:nvSpPr>
          <p:spPr>
            <a:xfrm>
              <a:off x="9405348" y="3182658"/>
              <a:ext cx="81617" cy="65479"/>
            </a:xfrm>
            <a:custGeom>
              <a:avLst/>
              <a:gdLst>
                <a:gd name="connsiteX0" fmla="*/ 4608 w 81617"/>
                <a:gd name="connsiteY0" fmla="*/ 66718 h 65479"/>
                <a:gd name="connsiteX1" fmla="*/ 4322 w 81617"/>
                <a:gd name="connsiteY1" fmla="*/ 66718 h 65479"/>
                <a:gd name="connsiteX2" fmla="*/ 2911 w 81617"/>
                <a:gd name="connsiteY2" fmla="*/ 66004 h 65479"/>
                <a:gd name="connsiteX3" fmla="*/ 9 w 81617"/>
                <a:gd name="connsiteY3" fmla="*/ 57620 h 65479"/>
                <a:gd name="connsiteX4" fmla="*/ 45856 w 81617"/>
                <a:gd name="connsiteY4" fmla="*/ 5263 h 65479"/>
                <a:gd name="connsiteX5" fmla="*/ 78255 w 81617"/>
                <a:gd name="connsiteY5" fmla="*/ 6244 h 65479"/>
                <a:gd name="connsiteX6" fmla="*/ 81621 w 81617"/>
                <a:gd name="connsiteY6" fmla="*/ 14539 h 65479"/>
                <a:gd name="connsiteX7" fmla="*/ 78228 w 81617"/>
                <a:gd name="connsiteY7" fmla="*/ 22923 h 65479"/>
                <a:gd name="connsiteX8" fmla="*/ 55510 w 81617"/>
                <a:gd name="connsiteY8" fmla="*/ 29702 h 65479"/>
                <a:gd name="connsiteX9" fmla="*/ 10287 w 81617"/>
                <a:gd name="connsiteY9" fmla="*/ 59493 h 65479"/>
                <a:gd name="connsiteX10" fmla="*/ 7430 w 81617"/>
                <a:gd name="connsiteY10" fmla="*/ 64667 h 65479"/>
                <a:gd name="connsiteX11" fmla="*/ 5947 w 81617"/>
                <a:gd name="connsiteY11" fmla="*/ 66450 h 65479"/>
                <a:gd name="connsiteX12" fmla="*/ 4608 w 81617"/>
                <a:gd name="connsiteY12" fmla="*/ 66718 h 65479"/>
                <a:gd name="connsiteX13" fmla="*/ 4608 w 81617"/>
                <a:gd name="connsiteY13" fmla="*/ 66718 h 6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617" h="65479">
                  <a:moveTo>
                    <a:pt x="4608" y="66718"/>
                  </a:moveTo>
                  <a:cubicBezTo>
                    <a:pt x="4509" y="66718"/>
                    <a:pt x="4411" y="66718"/>
                    <a:pt x="4322" y="66718"/>
                  </a:cubicBezTo>
                  <a:cubicBezTo>
                    <a:pt x="3795" y="66629"/>
                    <a:pt x="3304" y="66361"/>
                    <a:pt x="2911" y="66004"/>
                  </a:cubicBezTo>
                  <a:cubicBezTo>
                    <a:pt x="911" y="64310"/>
                    <a:pt x="-63" y="61455"/>
                    <a:pt x="9" y="57620"/>
                  </a:cubicBezTo>
                  <a:cubicBezTo>
                    <a:pt x="2205" y="34251"/>
                    <a:pt x="23513" y="13380"/>
                    <a:pt x="45856" y="5263"/>
                  </a:cubicBezTo>
                  <a:cubicBezTo>
                    <a:pt x="54536" y="1784"/>
                    <a:pt x="69967" y="-2141"/>
                    <a:pt x="78255" y="6244"/>
                  </a:cubicBezTo>
                  <a:cubicBezTo>
                    <a:pt x="80460" y="8474"/>
                    <a:pt x="81675" y="11417"/>
                    <a:pt x="81621" y="14539"/>
                  </a:cubicBezTo>
                  <a:cubicBezTo>
                    <a:pt x="81666" y="17661"/>
                    <a:pt x="80442" y="20694"/>
                    <a:pt x="78228" y="22923"/>
                  </a:cubicBezTo>
                  <a:cubicBezTo>
                    <a:pt x="72254" y="28989"/>
                    <a:pt x="63198" y="27918"/>
                    <a:pt x="55510" y="29702"/>
                  </a:cubicBezTo>
                  <a:cubicBezTo>
                    <a:pt x="37194" y="33449"/>
                    <a:pt x="21396" y="44509"/>
                    <a:pt x="10287" y="59493"/>
                  </a:cubicBezTo>
                  <a:cubicBezTo>
                    <a:pt x="9278" y="61099"/>
                    <a:pt x="8457" y="63240"/>
                    <a:pt x="7430" y="64667"/>
                  </a:cubicBezTo>
                  <a:cubicBezTo>
                    <a:pt x="6662" y="65915"/>
                    <a:pt x="6260" y="66272"/>
                    <a:pt x="5947" y="66450"/>
                  </a:cubicBezTo>
                  <a:cubicBezTo>
                    <a:pt x="5536" y="66629"/>
                    <a:pt x="5072" y="66718"/>
                    <a:pt x="4608" y="66718"/>
                  </a:cubicBezTo>
                  <a:lnTo>
                    <a:pt x="4608" y="66718"/>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20" name="Freeform: Shape 119">
              <a:extLst>
                <a:ext uri="{FF2B5EF4-FFF2-40B4-BE49-F238E27FC236}">
                  <a16:creationId xmlns:a16="http://schemas.microsoft.com/office/drawing/2014/main" id="{B4B770CE-4C43-C77A-4E26-791B26A5B77A}"/>
                </a:ext>
              </a:extLst>
            </p:cNvPr>
            <p:cNvSpPr/>
            <p:nvPr/>
          </p:nvSpPr>
          <p:spPr>
            <a:xfrm>
              <a:off x="9570311" y="3178757"/>
              <a:ext cx="74626" cy="66435"/>
            </a:xfrm>
            <a:custGeom>
              <a:avLst/>
              <a:gdLst>
                <a:gd name="connsiteX0" fmla="*/ 68936 w 74626"/>
                <a:gd name="connsiteY0" fmla="*/ 67675 h 66435"/>
                <a:gd name="connsiteX1" fmla="*/ 66444 w 74626"/>
                <a:gd name="connsiteY1" fmla="*/ 65713 h 66435"/>
                <a:gd name="connsiteX2" fmla="*/ 45494 w 74626"/>
                <a:gd name="connsiteY2" fmla="*/ 36903 h 66435"/>
                <a:gd name="connsiteX3" fmla="*/ 25973 w 74626"/>
                <a:gd name="connsiteY3" fmla="*/ 30392 h 66435"/>
                <a:gd name="connsiteX4" fmla="*/ 156 w 74626"/>
                <a:gd name="connsiteY4" fmla="*/ 11483 h 66435"/>
                <a:gd name="connsiteX5" fmla="*/ 36109 w 74626"/>
                <a:gd name="connsiteY5" fmla="*/ 7112 h 66435"/>
                <a:gd name="connsiteX6" fmla="*/ 36126 w 74626"/>
                <a:gd name="connsiteY6" fmla="*/ 7112 h 66435"/>
                <a:gd name="connsiteX7" fmla="*/ 37636 w 74626"/>
                <a:gd name="connsiteY7" fmla="*/ 7736 h 66435"/>
                <a:gd name="connsiteX8" fmla="*/ 61345 w 74626"/>
                <a:gd name="connsiteY8" fmla="*/ 23613 h 66435"/>
                <a:gd name="connsiteX9" fmla="*/ 68936 w 74626"/>
                <a:gd name="connsiteY9" fmla="*/ 67675 h 66435"/>
                <a:gd name="connsiteX10" fmla="*/ 68936 w 74626"/>
                <a:gd name="connsiteY10" fmla="*/ 67675 h 6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26" h="66435">
                  <a:moveTo>
                    <a:pt x="68936" y="67675"/>
                  </a:moveTo>
                  <a:cubicBezTo>
                    <a:pt x="67784" y="67675"/>
                    <a:pt x="66685" y="66872"/>
                    <a:pt x="66444" y="65713"/>
                  </a:cubicBezTo>
                  <a:cubicBezTo>
                    <a:pt x="63194" y="51531"/>
                    <a:pt x="56737" y="42612"/>
                    <a:pt x="45494" y="36903"/>
                  </a:cubicBezTo>
                  <a:cubicBezTo>
                    <a:pt x="39261" y="33960"/>
                    <a:pt x="32706" y="31818"/>
                    <a:pt x="25973" y="30392"/>
                  </a:cubicBezTo>
                  <a:cubicBezTo>
                    <a:pt x="15078" y="28875"/>
                    <a:pt x="-1764" y="26556"/>
                    <a:pt x="156" y="11483"/>
                  </a:cubicBezTo>
                  <a:cubicBezTo>
                    <a:pt x="4023" y="-4930"/>
                    <a:pt x="26071" y="2117"/>
                    <a:pt x="36109" y="7112"/>
                  </a:cubicBezTo>
                  <a:lnTo>
                    <a:pt x="36126" y="7112"/>
                  </a:lnTo>
                  <a:cubicBezTo>
                    <a:pt x="36636" y="7379"/>
                    <a:pt x="37145" y="7558"/>
                    <a:pt x="37636" y="7736"/>
                  </a:cubicBezTo>
                  <a:cubicBezTo>
                    <a:pt x="46566" y="11304"/>
                    <a:pt x="54648" y="16656"/>
                    <a:pt x="61345" y="23613"/>
                  </a:cubicBezTo>
                  <a:cubicBezTo>
                    <a:pt x="70892" y="32890"/>
                    <a:pt x="81402" y="58666"/>
                    <a:pt x="68936" y="67675"/>
                  </a:cubicBezTo>
                  <a:lnTo>
                    <a:pt x="68936" y="67675"/>
                  </a:lnTo>
                  <a:close/>
                </a:path>
              </a:pathLst>
            </a:custGeom>
            <a:solidFill>
              <a:srgbClr val="16180A"/>
            </a:solidFill>
            <a:ln w="8890" cap="flat">
              <a:noFill/>
              <a:prstDash val="solid"/>
              <a:miter/>
            </a:ln>
          </p:spPr>
          <p:txBody>
            <a:bodyPr rtlCol="0" anchor="ctr"/>
            <a:lstStyle/>
            <a:p>
              <a:endParaRPr lang="en-GB">
                <a:solidFill>
                  <a:schemeClr val="bg1"/>
                </a:solidFill>
              </a:endParaRPr>
            </a:p>
          </p:txBody>
        </p:sp>
        <p:sp>
          <p:nvSpPr>
            <p:cNvPr id="122" name="Rounded Rectangle 20">
              <a:extLst>
                <a:ext uri="{FF2B5EF4-FFF2-40B4-BE49-F238E27FC236}">
                  <a16:creationId xmlns:a16="http://schemas.microsoft.com/office/drawing/2014/main" id="{0B795E10-2467-1803-A3DA-68932BD2FF4C}"/>
                </a:ext>
              </a:extLst>
            </p:cNvPr>
            <p:cNvSpPr/>
            <p:nvPr/>
          </p:nvSpPr>
          <p:spPr>
            <a:xfrm>
              <a:off x="3785484" y="3229987"/>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124" name="TextBox 123">
              <a:extLst>
                <a:ext uri="{FF2B5EF4-FFF2-40B4-BE49-F238E27FC236}">
                  <a16:creationId xmlns:a16="http://schemas.microsoft.com/office/drawing/2014/main" id="{B17E4DC6-AFC5-044A-B81C-6D23A8272F60}"/>
                </a:ext>
              </a:extLst>
            </p:cNvPr>
            <p:cNvSpPr txBox="1"/>
            <p:nvPr/>
          </p:nvSpPr>
          <p:spPr>
            <a:xfrm>
              <a:off x="4103193" y="4671889"/>
              <a:ext cx="731290" cy="275717"/>
            </a:xfrm>
            <a:prstGeom prst="rect">
              <a:avLst/>
            </a:prstGeom>
            <a:noFill/>
          </p:spPr>
          <p:txBody>
            <a:bodyPr wrap="none" rtlCol="0">
              <a:spAutoFit/>
            </a:bodyPr>
            <a:lstStyle/>
            <a:p>
              <a:pPr algn="ctr">
                <a:lnSpc>
                  <a:spcPct val="70000"/>
                </a:lnSpc>
              </a:pPr>
              <a:r>
                <a:rPr lang="en-US" sz="1600">
                  <a:solidFill>
                    <a:srgbClr val="27333D"/>
                  </a:solidFill>
                  <a:latin typeface="+mj-lt"/>
                </a:rPr>
                <a:t>Quang</a:t>
              </a:r>
              <a:endParaRPr lang="en-GB" sz="1600">
                <a:solidFill>
                  <a:srgbClr val="27333D"/>
                </a:solidFill>
                <a:latin typeface="+mj-lt"/>
              </a:endParaRPr>
            </a:p>
          </p:txBody>
        </p:sp>
        <p:sp>
          <p:nvSpPr>
            <p:cNvPr id="125" name="Freeform: Shape 124">
              <a:extLst>
                <a:ext uri="{FF2B5EF4-FFF2-40B4-BE49-F238E27FC236}">
                  <a16:creationId xmlns:a16="http://schemas.microsoft.com/office/drawing/2014/main" id="{99F489CD-0281-9BCD-2103-843C68F39DB8}"/>
                </a:ext>
              </a:extLst>
            </p:cNvPr>
            <p:cNvSpPr/>
            <p:nvPr/>
          </p:nvSpPr>
          <p:spPr>
            <a:xfrm>
              <a:off x="3953388" y="3399012"/>
              <a:ext cx="945119" cy="1042829"/>
            </a:xfrm>
            <a:custGeom>
              <a:avLst/>
              <a:gdLst>
                <a:gd name="connsiteX0" fmla="*/ 163255 w 945119"/>
                <a:gd name="connsiteY0" fmla="*/ 1042896 h 1042829"/>
                <a:gd name="connsiteX1" fmla="*/ 59700 w 945119"/>
                <a:gd name="connsiteY1" fmla="*/ 1032423 h 1042829"/>
                <a:gd name="connsiteX2" fmla="*/ 32228 w 945119"/>
                <a:gd name="connsiteY2" fmla="*/ 1031634 h 1042829"/>
                <a:gd name="connsiteX3" fmla="*/ 24182 w 945119"/>
                <a:gd name="connsiteY3" fmla="*/ 1017413 h 1042829"/>
                <a:gd name="connsiteX4" fmla="*/ 30344 w 945119"/>
                <a:gd name="connsiteY4" fmla="*/ 594330 h 1042829"/>
                <a:gd name="connsiteX5" fmla="*/ 128850 w 945119"/>
                <a:gd name="connsiteY5" fmla="*/ 268618 h 1042829"/>
                <a:gd name="connsiteX6" fmla="*/ 130562 w 945119"/>
                <a:gd name="connsiteY6" fmla="*/ 135942 h 1042829"/>
                <a:gd name="connsiteX7" fmla="*/ 176520 w 945119"/>
                <a:gd name="connsiteY7" fmla="*/ 85052 h 1042829"/>
                <a:gd name="connsiteX8" fmla="*/ 348285 w 945119"/>
                <a:gd name="connsiteY8" fmla="*/ 54628 h 1042829"/>
                <a:gd name="connsiteX9" fmla="*/ 422143 w 945119"/>
                <a:gd name="connsiteY9" fmla="*/ 105295 h 1042829"/>
                <a:gd name="connsiteX10" fmla="*/ 436863 w 945119"/>
                <a:gd name="connsiteY10" fmla="*/ 73138 h 1042829"/>
                <a:gd name="connsiteX11" fmla="*/ 436863 w 945119"/>
                <a:gd name="connsiteY11" fmla="*/ 73130 h 1042829"/>
                <a:gd name="connsiteX12" fmla="*/ 469813 w 945119"/>
                <a:gd name="connsiteY12" fmla="*/ 11123 h 1042829"/>
                <a:gd name="connsiteX13" fmla="*/ 624461 w 945119"/>
                <a:gd name="connsiteY13" fmla="*/ 9425 h 1042829"/>
                <a:gd name="connsiteX14" fmla="*/ 681717 w 945119"/>
                <a:gd name="connsiteY14" fmla="*/ 82908 h 1042829"/>
                <a:gd name="connsiteX15" fmla="*/ 853224 w 945119"/>
                <a:gd name="connsiteY15" fmla="*/ 82050 h 1042829"/>
                <a:gd name="connsiteX16" fmla="*/ 877016 w 945119"/>
                <a:gd name="connsiteY16" fmla="*/ 116549 h 1042829"/>
                <a:gd name="connsiteX17" fmla="*/ 849886 w 945119"/>
                <a:gd name="connsiteY17" fmla="*/ 158973 h 1042829"/>
                <a:gd name="connsiteX18" fmla="*/ 851342 w 945119"/>
                <a:gd name="connsiteY18" fmla="*/ 170201 h 1042829"/>
                <a:gd name="connsiteX19" fmla="*/ 837649 w 945119"/>
                <a:gd name="connsiteY19" fmla="*/ 320941 h 1042829"/>
                <a:gd name="connsiteX20" fmla="*/ 901750 w 945119"/>
                <a:gd name="connsiteY20" fmla="*/ 648454 h 1042829"/>
                <a:gd name="connsiteX21" fmla="*/ 927082 w 945119"/>
                <a:gd name="connsiteY21" fmla="*/ 1012292 h 1042829"/>
                <a:gd name="connsiteX22" fmla="*/ 864692 w 945119"/>
                <a:gd name="connsiteY22" fmla="*/ 1020166 h 1042829"/>
                <a:gd name="connsiteX23" fmla="*/ 647825 w 945119"/>
                <a:gd name="connsiteY23" fmla="*/ 1032603 h 1042829"/>
                <a:gd name="connsiteX24" fmla="*/ 163255 w 945119"/>
                <a:gd name="connsiteY24" fmla="*/ 1042896 h 1042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5119" h="1042829">
                  <a:moveTo>
                    <a:pt x="163255" y="1042896"/>
                  </a:moveTo>
                  <a:cubicBezTo>
                    <a:pt x="126112" y="1042794"/>
                    <a:pt x="94617" y="1040435"/>
                    <a:pt x="59700" y="1032423"/>
                  </a:cubicBezTo>
                  <a:cubicBezTo>
                    <a:pt x="53281" y="1041764"/>
                    <a:pt x="37961" y="1041515"/>
                    <a:pt x="32228" y="1031634"/>
                  </a:cubicBezTo>
                  <a:cubicBezTo>
                    <a:pt x="28633" y="1027586"/>
                    <a:pt x="23156" y="1016838"/>
                    <a:pt x="24182" y="1017413"/>
                  </a:cubicBezTo>
                  <a:cubicBezTo>
                    <a:pt x="-16384" y="881014"/>
                    <a:pt x="6210" y="737393"/>
                    <a:pt x="30344" y="594330"/>
                  </a:cubicBezTo>
                  <a:cubicBezTo>
                    <a:pt x="46862" y="482283"/>
                    <a:pt x="100694" y="375176"/>
                    <a:pt x="128850" y="268618"/>
                  </a:cubicBezTo>
                  <a:cubicBezTo>
                    <a:pt x="146994" y="221665"/>
                    <a:pt x="91109" y="174687"/>
                    <a:pt x="130562" y="135942"/>
                  </a:cubicBezTo>
                  <a:cubicBezTo>
                    <a:pt x="125598" y="109189"/>
                    <a:pt x="151444" y="86648"/>
                    <a:pt x="176520" y="85052"/>
                  </a:cubicBezTo>
                  <a:cubicBezTo>
                    <a:pt x="202110" y="11209"/>
                    <a:pt x="287093" y="24178"/>
                    <a:pt x="348285" y="54628"/>
                  </a:cubicBezTo>
                  <a:cubicBezTo>
                    <a:pt x="383203" y="71998"/>
                    <a:pt x="394928" y="105973"/>
                    <a:pt x="422143" y="105295"/>
                  </a:cubicBezTo>
                  <a:cubicBezTo>
                    <a:pt x="425824" y="99222"/>
                    <a:pt x="430958" y="87137"/>
                    <a:pt x="436863" y="73138"/>
                  </a:cubicBezTo>
                  <a:lnTo>
                    <a:pt x="436863" y="73130"/>
                  </a:lnTo>
                  <a:cubicBezTo>
                    <a:pt x="444823" y="55340"/>
                    <a:pt x="457575" y="21296"/>
                    <a:pt x="469813" y="11123"/>
                  </a:cubicBezTo>
                  <a:cubicBezTo>
                    <a:pt x="513203" y="-10586"/>
                    <a:pt x="582354" y="5728"/>
                    <a:pt x="624461" y="9425"/>
                  </a:cubicBezTo>
                  <a:cubicBezTo>
                    <a:pt x="663145" y="10103"/>
                    <a:pt x="670162" y="44310"/>
                    <a:pt x="681717" y="82908"/>
                  </a:cubicBezTo>
                  <a:cubicBezTo>
                    <a:pt x="716720" y="71380"/>
                    <a:pt x="806839" y="59809"/>
                    <a:pt x="853224" y="82050"/>
                  </a:cubicBezTo>
                  <a:cubicBezTo>
                    <a:pt x="874278" y="92163"/>
                    <a:pt x="883350" y="89281"/>
                    <a:pt x="877016" y="116549"/>
                  </a:cubicBezTo>
                  <a:cubicBezTo>
                    <a:pt x="872309" y="128454"/>
                    <a:pt x="857162" y="151845"/>
                    <a:pt x="849886" y="158973"/>
                  </a:cubicBezTo>
                  <a:cubicBezTo>
                    <a:pt x="847918" y="163030"/>
                    <a:pt x="852883" y="166169"/>
                    <a:pt x="851342" y="170201"/>
                  </a:cubicBezTo>
                  <a:cubicBezTo>
                    <a:pt x="831828" y="223192"/>
                    <a:pt x="831657" y="263935"/>
                    <a:pt x="837649" y="320941"/>
                  </a:cubicBezTo>
                  <a:cubicBezTo>
                    <a:pt x="852112" y="423038"/>
                    <a:pt x="883093" y="546219"/>
                    <a:pt x="901750" y="648454"/>
                  </a:cubicBezTo>
                  <a:cubicBezTo>
                    <a:pt x="909623" y="734657"/>
                    <a:pt x="980829" y="950432"/>
                    <a:pt x="927082" y="1012292"/>
                  </a:cubicBezTo>
                  <a:cubicBezTo>
                    <a:pt x="909794" y="1026848"/>
                    <a:pt x="885575" y="1015998"/>
                    <a:pt x="864692" y="1020166"/>
                  </a:cubicBezTo>
                  <a:cubicBezTo>
                    <a:pt x="793659" y="1029524"/>
                    <a:pt x="724678" y="1032629"/>
                    <a:pt x="647825" y="1032603"/>
                  </a:cubicBezTo>
                  <a:cubicBezTo>
                    <a:pt x="488127" y="1030399"/>
                    <a:pt x="165052" y="1042896"/>
                    <a:pt x="163255" y="10428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26" name="Freeform: Shape 125">
              <a:extLst>
                <a:ext uri="{FF2B5EF4-FFF2-40B4-BE49-F238E27FC236}">
                  <a16:creationId xmlns:a16="http://schemas.microsoft.com/office/drawing/2014/main" id="{1BD8230C-A418-57BD-E1B5-AD94DB3E7BA4}"/>
                </a:ext>
              </a:extLst>
            </p:cNvPr>
            <p:cNvSpPr/>
            <p:nvPr/>
          </p:nvSpPr>
          <p:spPr>
            <a:xfrm>
              <a:off x="4061864" y="3431262"/>
              <a:ext cx="764539" cy="940390"/>
            </a:xfrm>
            <a:custGeom>
              <a:avLst/>
              <a:gdLst>
                <a:gd name="connsiteX0" fmla="*/ 541147 w 764539"/>
                <a:gd name="connsiteY0" fmla="*/ 887199 h 940390"/>
                <a:gd name="connsiteX1" fmla="*/ 534984 w 764539"/>
                <a:gd name="connsiteY1" fmla="*/ 580401 h 940390"/>
                <a:gd name="connsiteX2" fmla="*/ 573925 w 764539"/>
                <a:gd name="connsiteY2" fmla="*/ 135283 h 940390"/>
                <a:gd name="connsiteX3" fmla="*/ 577776 w 764539"/>
                <a:gd name="connsiteY3" fmla="*/ 108307 h 940390"/>
                <a:gd name="connsiteX4" fmla="*/ 572555 w 764539"/>
                <a:gd name="connsiteY4" fmla="*/ 62486 h 940390"/>
                <a:gd name="connsiteX5" fmla="*/ 575979 w 764539"/>
                <a:gd name="connsiteY5" fmla="*/ 45640 h 940390"/>
                <a:gd name="connsiteX6" fmla="*/ 736790 w 764539"/>
                <a:gd name="connsiteY6" fmla="*/ 40614 h 940390"/>
                <a:gd name="connsiteX7" fmla="*/ 739785 w 764539"/>
                <a:gd name="connsiteY7" fmla="*/ 41789 h 940390"/>
                <a:gd name="connsiteX8" fmla="*/ 765460 w 764539"/>
                <a:gd name="connsiteY8" fmla="*/ 62983 h 940390"/>
                <a:gd name="connsiteX9" fmla="*/ 760325 w 764539"/>
                <a:gd name="connsiteY9" fmla="*/ 83887 h 940390"/>
                <a:gd name="connsiteX10" fmla="*/ 753478 w 764539"/>
                <a:gd name="connsiteY10" fmla="*/ 108170 h 940390"/>
                <a:gd name="connsiteX11" fmla="*/ 748257 w 764539"/>
                <a:gd name="connsiteY11" fmla="*/ 123909 h 940390"/>
                <a:gd name="connsiteX12" fmla="*/ 742352 w 764539"/>
                <a:gd name="connsiteY12" fmla="*/ 134811 h 940390"/>
                <a:gd name="connsiteX13" fmla="*/ 729600 w 764539"/>
                <a:gd name="connsiteY13" fmla="*/ 170742 h 940390"/>
                <a:gd name="connsiteX14" fmla="*/ 633149 w 764539"/>
                <a:gd name="connsiteY14" fmla="*/ 482858 h 940390"/>
                <a:gd name="connsiteX15" fmla="*/ 572727 w 764539"/>
                <a:gd name="connsiteY15" fmla="*/ 934950 h 940390"/>
                <a:gd name="connsiteX16" fmla="*/ 565024 w 764539"/>
                <a:gd name="connsiteY16" fmla="*/ 938621 h 940390"/>
                <a:gd name="connsiteX17" fmla="*/ 541147 w 764539"/>
                <a:gd name="connsiteY17" fmla="*/ 887199 h 940390"/>
                <a:gd name="connsiteX18" fmla="*/ 348756 w 764539"/>
                <a:gd name="connsiteY18" fmla="*/ 552696 h 940390"/>
                <a:gd name="connsiteX19" fmla="*/ 331982 w 764539"/>
                <a:gd name="connsiteY19" fmla="*/ 553579 h 940390"/>
                <a:gd name="connsiteX20" fmla="*/ 309388 w 764539"/>
                <a:gd name="connsiteY20" fmla="*/ 369593 h 940390"/>
                <a:gd name="connsiteX21" fmla="*/ 300658 w 764539"/>
                <a:gd name="connsiteY21" fmla="*/ 334614 h 940390"/>
                <a:gd name="connsiteX22" fmla="*/ 211653 w 764539"/>
                <a:gd name="connsiteY22" fmla="*/ 133293 h 940390"/>
                <a:gd name="connsiteX23" fmla="*/ 75832 w 764539"/>
                <a:gd name="connsiteY23" fmla="*/ 150808 h 940390"/>
                <a:gd name="connsiteX24" fmla="*/ 15325 w 764539"/>
                <a:gd name="connsiteY24" fmla="*/ 158219 h 940390"/>
                <a:gd name="connsiteX25" fmla="*/ 7965 w 764539"/>
                <a:gd name="connsiteY25" fmla="*/ 105365 h 940390"/>
                <a:gd name="connsiteX26" fmla="*/ 60342 w 764539"/>
                <a:gd name="connsiteY26" fmla="*/ 60590 h 940390"/>
                <a:gd name="connsiteX27" fmla="*/ 68729 w 764539"/>
                <a:gd name="connsiteY27" fmla="*/ 26006 h 940390"/>
                <a:gd name="connsiteX28" fmla="*/ 164068 w 764539"/>
                <a:gd name="connsiteY28" fmla="*/ 68 h 940390"/>
                <a:gd name="connsiteX29" fmla="*/ 243490 w 764539"/>
                <a:gd name="connsiteY29" fmla="*/ 19573 h 940390"/>
                <a:gd name="connsiteX30" fmla="*/ 271903 w 764539"/>
                <a:gd name="connsiteY30" fmla="*/ 47501 h 940390"/>
                <a:gd name="connsiteX31" fmla="*/ 443838 w 764539"/>
                <a:gd name="connsiteY31" fmla="*/ 89359 h 940390"/>
                <a:gd name="connsiteX32" fmla="*/ 449487 w 764539"/>
                <a:gd name="connsiteY32" fmla="*/ 99661 h 940390"/>
                <a:gd name="connsiteX33" fmla="*/ 348756 w 764539"/>
                <a:gd name="connsiteY33" fmla="*/ 552696 h 94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4539" h="940390">
                  <a:moveTo>
                    <a:pt x="541147" y="887199"/>
                  </a:moveTo>
                  <a:cubicBezTo>
                    <a:pt x="541317" y="879385"/>
                    <a:pt x="530877" y="675122"/>
                    <a:pt x="534984" y="580401"/>
                  </a:cubicBezTo>
                  <a:cubicBezTo>
                    <a:pt x="538322" y="430956"/>
                    <a:pt x="569132" y="297337"/>
                    <a:pt x="573925" y="135283"/>
                  </a:cubicBezTo>
                  <a:lnTo>
                    <a:pt x="577776" y="108307"/>
                  </a:lnTo>
                  <a:cubicBezTo>
                    <a:pt x="576663" y="94669"/>
                    <a:pt x="573069" y="76056"/>
                    <a:pt x="572555" y="62486"/>
                  </a:cubicBezTo>
                  <a:cubicBezTo>
                    <a:pt x="571957" y="45949"/>
                    <a:pt x="575722" y="46489"/>
                    <a:pt x="575979" y="45640"/>
                  </a:cubicBezTo>
                  <a:cubicBezTo>
                    <a:pt x="637684" y="30123"/>
                    <a:pt x="680989" y="27825"/>
                    <a:pt x="736790" y="40614"/>
                  </a:cubicBezTo>
                  <a:cubicBezTo>
                    <a:pt x="737217" y="40716"/>
                    <a:pt x="739356" y="41583"/>
                    <a:pt x="739785" y="41789"/>
                  </a:cubicBezTo>
                  <a:cubicBezTo>
                    <a:pt x="745005" y="44542"/>
                    <a:pt x="746375" y="50229"/>
                    <a:pt x="765460" y="62983"/>
                  </a:cubicBezTo>
                  <a:cubicBezTo>
                    <a:pt x="768198" y="69571"/>
                    <a:pt x="764604" y="77582"/>
                    <a:pt x="760325" y="83887"/>
                  </a:cubicBezTo>
                  <a:cubicBezTo>
                    <a:pt x="756131" y="90234"/>
                    <a:pt x="753478" y="107209"/>
                    <a:pt x="753478" y="108170"/>
                  </a:cubicBezTo>
                  <a:cubicBezTo>
                    <a:pt x="753307" y="113822"/>
                    <a:pt x="751510" y="119277"/>
                    <a:pt x="748257" y="123909"/>
                  </a:cubicBezTo>
                  <a:cubicBezTo>
                    <a:pt x="744577" y="129176"/>
                    <a:pt x="742352" y="134811"/>
                    <a:pt x="742352" y="134811"/>
                  </a:cubicBezTo>
                  <a:cubicBezTo>
                    <a:pt x="742352" y="134811"/>
                    <a:pt x="734906" y="159248"/>
                    <a:pt x="729600" y="170742"/>
                  </a:cubicBezTo>
                  <a:cubicBezTo>
                    <a:pt x="685610" y="269597"/>
                    <a:pt x="658738" y="374868"/>
                    <a:pt x="633149" y="482858"/>
                  </a:cubicBezTo>
                  <a:cubicBezTo>
                    <a:pt x="597803" y="632218"/>
                    <a:pt x="570587" y="784956"/>
                    <a:pt x="572727" y="934950"/>
                  </a:cubicBezTo>
                  <a:cubicBezTo>
                    <a:pt x="572812" y="939273"/>
                    <a:pt x="566479" y="942721"/>
                    <a:pt x="565024" y="938621"/>
                  </a:cubicBezTo>
                  <a:cubicBezTo>
                    <a:pt x="560831" y="926115"/>
                    <a:pt x="542687" y="890802"/>
                    <a:pt x="541147" y="887199"/>
                  </a:cubicBezTo>
                  <a:close/>
                  <a:moveTo>
                    <a:pt x="348756" y="552696"/>
                  </a:moveTo>
                  <a:lnTo>
                    <a:pt x="331982" y="553579"/>
                  </a:lnTo>
                  <a:cubicBezTo>
                    <a:pt x="327190" y="499027"/>
                    <a:pt x="321370" y="423322"/>
                    <a:pt x="309388" y="369593"/>
                  </a:cubicBezTo>
                  <a:cubicBezTo>
                    <a:pt x="306393" y="356006"/>
                    <a:pt x="304082" y="345748"/>
                    <a:pt x="300658" y="334614"/>
                  </a:cubicBezTo>
                  <a:cubicBezTo>
                    <a:pt x="281574" y="262838"/>
                    <a:pt x="251791" y="195822"/>
                    <a:pt x="211653" y="133293"/>
                  </a:cubicBezTo>
                  <a:cubicBezTo>
                    <a:pt x="164582" y="119586"/>
                    <a:pt x="124443" y="136406"/>
                    <a:pt x="75832" y="150808"/>
                  </a:cubicBezTo>
                  <a:cubicBezTo>
                    <a:pt x="54180" y="156143"/>
                    <a:pt x="36550" y="161324"/>
                    <a:pt x="15325" y="158219"/>
                  </a:cubicBezTo>
                  <a:cubicBezTo>
                    <a:pt x="-5985" y="151700"/>
                    <a:pt x="3258" y="123103"/>
                    <a:pt x="7965" y="105365"/>
                  </a:cubicBezTo>
                  <a:cubicBezTo>
                    <a:pt x="14384" y="80893"/>
                    <a:pt x="44681" y="59492"/>
                    <a:pt x="60342" y="60590"/>
                  </a:cubicBezTo>
                  <a:cubicBezTo>
                    <a:pt x="65477" y="60264"/>
                    <a:pt x="61967" y="35707"/>
                    <a:pt x="68729" y="26006"/>
                  </a:cubicBezTo>
                  <a:cubicBezTo>
                    <a:pt x="92948" y="8019"/>
                    <a:pt x="133943" y="840"/>
                    <a:pt x="164068" y="68"/>
                  </a:cubicBezTo>
                  <a:cubicBezTo>
                    <a:pt x="192140" y="-26"/>
                    <a:pt x="218156" y="7444"/>
                    <a:pt x="243490" y="19573"/>
                  </a:cubicBezTo>
                  <a:cubicBezTo>
                    <a:pt x="254016" y="23510"/>
                    <a:pt x="271903" y="37731"/>
                    <a:pt x="271903" y="47501"/>
                  </a:cubicBezTo>
                  <a:cubicBezTo>
                    <a:pt x="308618" y="79915"/>
                    <a:pt x="391633" y="84907"/>
                    <a:pt x="443838" y="89359"/>
                  </a:cubicBezTo>
                  <a:cubicBezTo>
                    <a:pt x="448889" y="89788"/>
                    <a:pt x="451798" y="95115"/>
                    <a:pt x="449487" y="99661"/>
                  </a:cubicBezTo>
                  <a:cubicBezTo>
                    <a:pt x="386841" y="226504"/>
                    <a:pt x="366472" y="411631"/>
                    <a:pt x="348756" y="5526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28" name="Freeform: Shape 127">
              <a:extLst>
                <a:ext uri="{FF2B5EF4-FFF2-40B4-BE49-F238E27FC236}">
                  <a16:creationId xmlns:a16="http://schemas.microsoft.com/office/drawing/2014/main" id="{953183CC-DF8B-F3DB-71F0-DA925E91EE98}"/>
                </a:ext>
              </a:extLst>
            </p:cNvPr>
            <p:cNvSpPr/>
            <p:nvPr/>
          </p:nvSpPr>
          <p:spPr>
            <a:xfrm>
              <a:off x="3883272" y="3419581"/>
              <a:ext cx="1088717" cy="1035207"/>
            </a:xfrm>
            <a:custGeom>
              <a:avLst/>
              <a:gdLst>
                <a:gd name="connsiteX0" fmla="*/ 1089886 w 1088717"/>
                <a:gd name="connsiteY0" fmla="*/ 954454 h 1035207"/>
                <a:gd name="connsiteX1" fmla="*/ 1087404 w 1088717"/>
                <a:gd name="connsiteY1" fmla="*/ 948862 h 1035207"/>
                <a:gd name="connsiteX2" fmla="*/ 1033829 w 1088717"/>
                <a:gd name="connsiteY2" fmla="*/ 643710 h 1035207"/>
                <a:gd name="connsiteX3" fmla="*/ 912472 w 1088717"/>
                <a:gd name="connsiteY3" fmla="*/ 204956 h 1035207"/>
                <a:gd name="connsiteX4" fmla="*/ 928990 w 1088717"/>
                <a:gd name="connsiteY4" fmla="*/ 147093 h 1035207"/>
                <a:gd name="connsiteX5" fmla="*/ 953038 w 1088717"/>
                <a:gd name="connsiteY5" fmla="*/ 98107 h 1035207"/>
                <a:gd name="connsiteX6" fmla="*/ 840839 w 1088717"/>
                <a:gd name="connsiteY6" fmla="*/ 63926 h 1035207"/>
                <a:gd name="connsiteX7" fmla="*/ 841780 w 1088717"/>
                <a:gd name="connsiteY7" fmla="*/ 64870 h 1035207"/>
                <a:gd name="connsiteX8" fmla="*/ 937891 w 1088717"/>
                <a:gd name="connsiteY8" fmla="*/ 75334 h 1035207"/>
                <a:gd name="connsiteX9" fmla="*/ 937891 w 1088717"/>
                <a:gd name="connsiteY9" fmla="*/ 75334 h 1035207"/>
                <a:gd name="connsiteX10" fmla="*/ 940030 w 1088717"/>
                <a:gd name="connsiteY10" fmla="*/ 79957 h 1035207"/>
                <a:gd name="connsiteX11" fmla="*/ 921201 w 1088717"/>
                <a:gd name="connsiteY11" fmla="*/ 86039 h 1035207"/>
                <a:gd name="connsiteX12" fmla="*/ 927021 w 1088717"/>
                <a:gd name="connsiteY12" fmla="*/ 109464 h 1035207"/>
                <a:gd name="connsiteX13" fmla="*/ 928305 w 1088717"/>
                <a:gd name="connsiteY13" fmla="*/ 110707 h 1035207"/>
                <a:gd name="connsiteX14" fmla="*/ 927791 w 1088717"/>
                <a:gd name="connsiteY14" fmla="*/ 113212 h 1035207"/>
                <a:gd name="connsiteX15" fmla="*/ 904684 w 1088717"/>
                <a:gd name="connsiteY15" fmla="*/ 126052 h 1035207"/>
                <a:gd name="connsiteX16" fmla="*/ 779562 w 1088717"/>
                <a:gd name="connsiteY16" fmla="*/ 81501 h 1035207"/>
                <a:gd name="connsiteX17" fmla="*/ 779562 w 1088717"/>
                <a:gd name="connsiteY17" fmla="*/ 81501 h 1035207"/>
                <a:gd name="connsiteX18" fmla="*/ 754829 w 1088717"/>
                <a:gd name="connsiteY18" fmla="*/ 71586 h 1035207"/>
                <a:gd name="connsiteX19" fmla="*/ 749351 w 1088717"/>
                <a:gd name="connsiteY19" fmla="*/ 70368 h 1035207"/>
                <a:gd name="connsiteX20" fmla="*/ 749266 w 1088717"/>
                <a:gd name="connsiteY20" fmla="*/ 71148 h 1035207"/>
                <a:gd name="connsiteX21" fmla="*/ 742847 w 1088717"/>
                <a:gd name="connsiteY21" fmla="*/ 176951 h 1035207"/>
                <a:gd name="connsiteX22" fmla="*/ 735058 w 1088717"/>
                <a:gd name="connsiteY22" fmla="*/ 226966 h 1035207"/>
                <a:gd name="connsiteX23" fmla="*/ 726243 w 1088717"/>
                <a:gd name="connsiteY23" fmla="*/ 227970 h 1035207"/>
                <a:gd name="connsiteX24" fmla="*/ 593932 w 1088717"/>
                <a:gd name="connsiteY24" fmla="*/ 242243 h 1035207"/>
                <a:gd name="connsiteX25" fmla="*/ 622517 w 1088717"/>
                <a:gd name="connsiteY25" fmla="*/ 146870 h 1035207"/>
                <a:gd name="connsiteX26" fmla="*/ 642458 w 1088717"/>
                <a:gd name="connsiteY26" fmla="*/ 106041 h 1035207"/>
                <a:gd name="connsiteX27" fmla="*/ 641859 w 1088717"/>
                <a:gd name="connsiteY27" fmla="*/ 95036 h 1035207"/>
                <a:gd name="connsiteX28" fmla="*/ 614901 w 1088717"/>
                <a:gd name="connsiteY28" fmla="*/ 91588 h 1035207"/>
                <a:gd name="connsiteX29" fmla="*/ 475828 w 1088717"/>
                <a:gd name="connsiteY29" fmla="*/ 77624 h 1035207"/>
                <a:gd name="connsiteX30" fmla="*/ 475057 w 1088717"/>
                <a:gd name="connsiteY30" fmla="*/ 80601 h 1035207"/>
                <a:gd name="connsiteX31" fmla="*/ 615842 w 1088717"/>
                <a:gd name="connsiteY31" fmla="*/ 109043 h 1035207"/>
                <a:gd name="connsiteX32" fmla="*/ 568343 w 1088717"/>
                <a:gd name="connsiteY32" fmla="*/ 247252 h 1035207"/>
                <a:gd name="connsiteX33" fmla="*/ 520246 w 1088717"/>
                <a:gd name="connsiteY33" fmla="*/ 542325 h 1035207"/>
                <a:gd name="connsiteX34" fmla="*/ 519732 w 1088717"/>
                <a:gd name="connsiteY34" fmla="*/ 542333 h 1035207"/>
                <a:gd name="connsiteX35" fmla="*/ 493115 w 1088717"/>
                <a:gd name="connsiteY35" fmla="*/ 382270 h 1035207"/>
                <a:gd name="connsiteX36" fmla="*/ 483359 w 1088717"/>
                <a:gd name="connsiteY36" fmla="*/ 345266 h 1035207"/>
                <a:gd name="connsiteX37" fmla="*/ 399574 w 1088717"/>
                <a:gd name="connsiteY37" fmla="*/ 145952 h 1035207"/>
                <a:gd name="connsiteX38" fmla="*/ 396749 w 1088717"/>
                <a:gd name="connsiteY38" fmla="*/ 141449 h 1035207"/>
                <a:gd name="connsiteX39" fmla="*/ 388619 w 1088717"/>
                <a:gd name="connsiteY39" fmla="*/ 131010 h 1035207"/>
                <a:gd name="connsiteX40" fmla="*/ 387849 w 1088717"/>
                <a:gd name="connsiteY40" fmla="*/ 137409 h 1035207"/>
                <a:gd name="connsiteX41" fmla="*/ 223273 w 1088717"/>
                <a:gd name="connsiteY41" fmla="*/ 164308 h 1035207"/>
                <a:gd name="connsiteX42" fmla="*/ 189553 w 1088717"/>
                <a:gd name="connsiteY42" fmla="*/ 162627 h 1035207"/>
                <a:gd name="connsiteX43" fmla="*/ 208039 w 1088717"/>
                <a:gd name="connsiteY43" fmla="*/ 142555 h 1035207"/>
                <a:gd name="connsiteX44" fmla="*/ 202476 w 1088717"/>
                <a:gd name="connsiteY44" fmla="*/ 115605 h 1035207"/>
                <a:gd name="connsiteX45" fmla="*/ 201106 w 1088717"/>
                <a:gd name="connsiteY45" fmla="*/ 113830 h 1035207"/>
                <a:gd name="connsiteX46" fmla="*/ 212318 w 1088717"/>
                <a:gd name="connsiteY46" fmla="*/ 97361 h 1035207"/>
                <a:gd name="connsiteX47" fmla="*/ 251686 w 1088717"/>
                <a:gd name="connsiteY47" fmla="*/ 85961 h 1035207"/>
                <a:gd name="connsiteX48" fmla="*/ 265551 w 1088717"/>
                <a:gd name="connsiteY48" fmla="*/ 85104 h 1035207"/>
                <a:gd name="connsiteX49" fmla="*/ 264352 w 1088717"/>
                <a:gd name="connsiteY49" fmla="*/ 63952 h 1035207"/>
                <a:gd name="connsiteX50" fmla="*/ 254681 w 1088717"/>
                <a:gd name="connsiteY50" fmla="*/ 56060 h 1035207"/>
                <a:gd name="connsiteX51" fmla="*/ 273253 w 1088717"/>
                <a:gd name="connsiteY51" fmla="*/ 36881 h 1035207"/>
                <a:gd name="connsiteX52" fmla="*/ 424992 w 1088717"/>
                <a:gd name="connsiteY52" fmla="*/ 43846 h 1035207"/>
                <a:gd name="connsiteX53" fmla="*/ 446730 w 1088717"/>
                <a:gd name="connsiteY53" fmla="*/ 60495 h 1035207"/>
                <a:gd name="connsiteX54" fmla="*/ 450495 w 1088717"/>
                <a:gd name="connsiteY54" fmla="*/ 47569 h 1035207"/>
                <a:gd name="connsiteX55" fmla="*/ 295762 w 1088717"/>
                <a:gd name="connsiteY55" fmla="*/ 3335 h 1035207"/>
                <a:gd name="connsiteX56" fmla="*/ 228494 w 1088717"/>
                <a:gd name="connsiteY56" fmla="*/ 59817 h 1035207"/>
                <a:gd name="connsiteX57" fmla="*/ 177400 w 1088717"/>
                <a:gd name="connsiteY57" fmla="*/ 128163 h 1035207"/>
                <a:gd name="connsiteX58" fmla="*/ 186044 w 1088717"/>
                <a:gd name="connsiteY58" fmla="*/ 192656 h 1035207"/>
                <a:gd name="connsiteX59" fmla="*/ 60237 w 1088717"/>
                <a:gd name="connsiteY59" fmla="*/ 536835 h 1035207"/>
                <a:gd name="connsiteX60" fmla="*/ 33450 w 1088717"/>
                <a:gd name="connsiteY60" fmla="*/ 774242 h 1035207"/>
                <a:gd name="connsiteX61" fmla="*/ 33450 w 1088717"/>
                <a:gd name="connsiteY61" fmla="*/ 774250 h 1035207"/>
                <a:gd name="connsiteX62" fmla="*/ 14792 w 1088717"/>
                <a:gd name="connsiteY62" fmla="*/ 982520 h 1035207"/>
                <a:gd name="connsiteX63" fmla="*/ 23779 w 1088717"/>
                <a:gd name="connsiteY63" fmla="*/ 987160 h 1035207"/>
                <a:gd name="connsiteX64" fmla="*/ 121857 w 1088717"/>
                <a:gd name="connsiteY64" fmla="*/ 1034362 h 1035207"/>
                <a:gd name="connsiteX65" fmla="*/ 230205 w 1088717"/>
                <a:gd name="connsiteY65" fmla="*/ 1030116 h 1035207"/>
                <a:gd name="connsiteX66" fmla="*/ 255623 w 1088717"/>
                <a:gd name="connsiteY66" fmla="*/ 1029009 h 1035207"/>
                <a:gd name="connsiteX67" fmla="*/ 541384 w 1088717"/>
                <a:gd name="connsiteY67" fmla="*/ 1017936 h 1035207"/>
                <a:gd name="connsiteX68" fmla="*/ 543182 w 1088717"/>
                <a:gd name="connsiteY68" fmla="*/ 953571 h 1035207"/>
                <a:gd name="connsiteX69" fmla="*/ 591023 w 1088717"/>
                <a:gd name="connsiteY69" fmla="*/ 254586 h 1035207"/>
                <a:gd name="connsiteX70" fmla="*/ 731721 w 1088717"/>
                <a:gd name="connsiteY70" fmla="*/ 251352 h 1035207"/>
                <a:gd name="connsiteX71" fmla="*/ 699028 w 1088717"/>
                <a:gd name="connsiteY71" fmla="*/ 737170 h 1035207"/>
                <a:gd name="connsiteX72" fmla="*/ 705190 w 1088717"/>
                <a:gd name="connsiteY72" fmla="*/ 872291 h 1035207"/>
                <a:gd name="connsiteX73" fmla="*/ 713834 w 1088717"/>
                <a:gd name="connsiteY73" fmla="*/ 917520 h 1035207"/>
                <a:gd name="connsiteX74" fmla="*/ 719140 w 1088717"/>
                <a:gd name="connsiteY74" fmla="*/ 923258 h 1035207"/>
                <a:gd name="connsiteX75" fmla="*/ 784526 w 1088717"/>
                <a:gd name="connsiteY75" fmla="*/ 1021899 h 1035207"/>
                <a:gd name="connsiteX76" fmla="*/ 951327 w 1088717"/>
                <a:gd name="connsiteY76" fmla="*/ 1009865 h 1035207"/>
                <a:gd name="connsiteX77" fmla="*/ 1030919 w 1088717"/>
                <a:gd name="connsiteY77" fmla="*/ 1003586 h 1035207"/>
                <a:gd name="connsiteX78" fmla="*/ 1077049 w 1088717"/>
                <a:gd name="connsiteY78" fmla="*/ 996132 h 1035207"/>
                <a:gd name="connsiteX79" fmla="*/ 1089886 w 1088717"/>
                <a:gd name="connsiteY79" fmla="*/ 954454 h 1035207"/>
                <a:gd name="connsiteX80" fmla="*/ 901347 w 1088717"/>
                <a:gd name="connsiteY80" fmla="*/ 180485 h 1035207"/>
                <a:gd name="connsiteX81" fmla="*/ 897752 w 1088717"/>
                <a:gd name="connsiteY81" fmla="*/ 187664 h 1035207"/>
                <a:gd name="connsiteX82" fmla="*/ 895099 w 1088717"/>
                <a:gd name="connsiteY82" fmla="*/ 193377 h 1035207"/>
                <a:gd name="connsiteX83" fmla="*/ 875929 w 1088717"/>
                <a:gd name="connsiteY83" fmla="*/ 241076 h 1035207"/>
                <a:gd name="connsiteX84" fmla="*/ 875929 w 1088717"/>
                <a:gd name="connsiteY84" fmla="*/ 241093 h 1035207"/>
                <a:gd name="connsiteX85" fmla="*/ 745928 w 1088717"/>
                <a:gd name="connsiteY85" fmla="*/ 937231 h 1035207"/>
                <a:gd name="connsiteX86" fmla="*/ 745329 w 1088717"/>
                <a:gd name="connsiteY86" fmla="*/ 939435 h 1035207"/>
                <a:gd name="connsiteX87" fmla="*/ 740279 w 1088717"/>
                <a:gd name="connsiteY87" fmla="*/ 922666 h 1035207"/>
                <a:gd name="connsiteX88" fmla="*/ 740279 w 1088717"/>
                <a:gd name="connsiteY88" fmla="*/ 922658 h 1035207"/>
                <a:gd name="connsiteX89" fmla="*/ 731549 w 1088717"/>
                <a:gd name="connsiteY89" fmla="*/ 897586 h 1035207"/>
                <a:gd name="connsiteX90" fmla="*/ 752089 w 1088717"/>
                <a:gd name="connsiteY90" fmla="*/ 276655 h 1035207"/>
                <a:gd name="connsiteX91" fmla="*/ 761932 w 1088717"/>
                <a:gd name="connsiteY91" fmla="*/ 144048 h 1035207"/>
                <a:gd name="connsiteX92" fmla="*/ 756369 w 1088717"/>
                <a:gd name="connsiteY92" fmla="*/ 78430 h 1035207"/>
                <a:gd name="connsiteX93" fmla="*/ 758252 w 1088717"/>
                <a:gd name="connsiteY93" fmla="*/ 77255 h 1035207"/>
                <a:gd name="connsiteX94" fmla="*/ 833393 w 1088717"/>
                <a:gd name="connsiteY94" fmla="*/ 120194 h 1035207"/>
                <a:gd name="connsiteX95" fmla="*/ 893387 w 1088717"/>
                <a:gd name="connsiteY95" fmla="*/ 150121 h 1035207"/>
                <a:gd name="connsiteX96" fmla="*/ 915211 w 1088717"/>
                <a:gd name="connsiteY96" fmla="*/ 153226 h 1035207"/>
                <a:gd name="connsiteX97" fmla="*/ 915211 w 1088717"/>
                <a:gd name="connsiteY97" fmla="*/ 153629 h 1035207"/>
                <a:gd name="connsiteX98" fmla="*/ 915211 w 1088717"/>
                <a:gd name="connsiteY98" fmla="*/ 153638 h 1035207"/>
                <a:gd name="connsiteX99" fmla="*/ 903400 w 1088717"/>
                <a:gd name="connsiteY99" fmla="*/ 178023 h 1035207"/>
                <a:gd name="connsiteX100" fmla="*/ 901347 w 1088717"/>
                <a:gd name="connsiteY100" fmla="*/ 180485 h 103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88717" h="1035207">
                  <a:moveTo>
                    <a:pt x="1089886" y="954454"/>
                  </a:moveTo>
                  <a:cubicBezTo>
                    <a:pt x="1089286" y="952481"/>
                    <a:pt x="1088516" y="950594"/>
                    <a:pt x="1087404" y="948862"/>
                  </a:cubicBezTo>
                  <a:cubicBezTo>
                    <a:pt x="1101952" y="845040"/>
                    <a:pt x="1051288" y="745044"/>
                    <a:pt x="1033829" y="643710"/>
                  </a:cubicBezTo>
                  <a:cubicBezTo>
                    <a:pt x="1008752" y="494403"/>
                    <a:pt x="1020734" y="324415"/>
                    <a:pt x="912472" y="204956"/>
                  </a:cubicBezTo>
                  <a:cubicBezTo>
                    <a:pt x="918549" y="185691"/>
                    <a:pt x="925139" y="167593"/>
                    <a:pt x="928990" y="147093"/>
                  </a:cubicBezTo>
                  <a:cubicBezTo>
                    <a:pt x="948074" y="139862"/>
                    <a:pt x="962966" y="118196"/>
                    <a:pt x="953038" y="98107"/>
                  </a:cubicBezTo>
                  <a:cubicBezTo>
                    <a:pt x="995316" y="46600"/>
                    <a:pt x="865145" y="41256"/>
                    <a:pt x="840839" y="63926"/>
                  </a:cubicBezTo>
                  <a:cubicBezTo>
                    <a:pt x="839556" y="65067"/>
                    <a:pt x="841096" y="64947"/>
                    <a:pt x="841780" y="64870"/>
                  </a:cubicBezTo>
                  <a:cubicBezTo>
                    <a:pt x="873618" y="61164"/>
                    <a:pt x="908193" y="58076"/>
                    <a:pt x="937891" y="75334"/>
                  </a:cubicBezTo>
                  <a:lnTo>
                    <a:pt x="937891" y="75334"/>
                  </a:lnTo>
                  <a:cubicBezTo>
                    <a:pt x="940543" y="76475"/>
                    <a:pt x="942597" y="77710"/>
                    <a:pt x="940030" y="79957"/>
                  </a:cubicBezTo>
                  <a:cubicBezTo>
                    <a:pt x="934724" y="83834"/>
                    <a:pt x="926250" y="81141"/>
                    <a:pt x="921201" y="86039"/>
                  </a:cubicBezTo>
                  <a:cubicBezTo>
                    <a:pt x="912900" y="92618"/>
                    <a:pt x="916665" y="107517"/>
                    <a:pt x="927021" y="109464"/>
                  </a:cubicBezTo>
                  <a:cubicBezTo>
                    <a:pt x="927021" y="109472"/>
                    <a:pt x="928048" y="109670"/>
                    <a:pt x="928305" y="110707"/>
                  </a:cubicBezTo>
                  <a:cubicBezTo>
                    <a:pt x="928647" y="111900"/>
                    <a:pt x="927877" y="113152"/>
                    <a:pt x="927791" y="113212"/>
                  </a:cubicBezTo>
                  <a:cubicBezTo>
                    <a:pt x="923427" y="120692"/>
                    <a:pt x="911445" y="121069"/>
                    <a:pt x="904684" y="126052"/>
                  </a:cubicBezTo>
                  <a:cubicBezTo>
                    <a:pt x="862235" y="110416"/>
                    <a:pt x="820641" y="99437"/>
                    <a:pt x="779562" y="81501"/>
                  </a:cubicBezTo>
                  <a:lnTo>
                    <a:pt x="779562" y="81501"/>
                  </a:lnTo>
                  <a:cubicBezTo>
                    <a:pt x="771517" y="78216"/>
                    <a:pt x="763130" y="74819"/>
                    <a:pt x="754829" y="71586"/>
                  </a:cubicBezTo>
                  <a:cubicBezTo>
                    <a:pt x="752518" y="63060"/>
                    <a:pt x="750378" y="55863"/>
                    <a:pt x="749351" y="70368"/>
                  </a:cubicBezTo>
                  <a:cubicBezTo>
                    <a:pt x="749266" y="70616"/>
                    <a:pt x="749266" y="70891"/>
                    <a:pt x="749266" y="71148"/>
                  </a:cubicBezTo>
                  <a:cubicBezTo>
                    <a:pt x="747810" y="106556"/>
                    <a:pt x="745756" y="141629"/>
                    <a:pt x="742847" y="176951"/>
                  </a:cubicBezTo>
                  <a:cubicBezTo>
                    <a:pt x="740023" y="193180"/>
                    <a:pt x="737369" y="210009"/>
                    <a:pt x="735058" y="226966"/>
                  </a:cubicBezTo>
                  <a:cubicBezTo>
                    <a:pt x="732149" y="226048"/>
                    <a:pt x="728897" y="226503"/>
                    <a:pt x="726243" y="227970"/>
                  </a:cubicBezTo>
                  <a:cubicBezTo>
                    <a:pt x="685934" y="249645"/>
                    <a:pt x="637922" y="252501"/>
                    <a:pt x="593932" y="242243"/>
                  </a:cubicBezTo>
                  <a:cubicBezTo>
                    <a:pt x="602662" y="206715"/>
                    <a:pt x="609423" y="178924"/>
                    <a:pt x="622517" y="146870"/>
                  </a:cubicBezTo>
                  <a:cubicBezTo>
                    <a:pt x="628422" y="132794"/>
                    <a:pt x="635697" y="119576"/>
                    <a:pt x="642458" y="106041"/>
                  </a:cubicBezTo>
                  <a:cubicBezTo>
                    <a:pt x="644084" y="102507"/>
                    <a:pt x="643912" y="98382"/>
                    <a:pt x="641859" y="95036"/>
                  </a:cubicBezTo>
                  <a:cubicBezTo>
                    <a:pt x="635782" y="86768"/>
                    <a:pt x="623801" y="93098"/>
                    <a:pt x="614901" y="91588"/>
                  </a:cubicBezTo>
                  <a:cubicBezTo>
                    <a:pt x="569284" y="90405"/>
                    <a:pt x="518449" y="83971"/>
                    <a:pt x="475828" y="77624"/>
                  </a:cubicBezTo>
                  <a:cubicBezTo>
                    <a:pt x="474031" y="77204"/>
                    <a:pt x="473089" y="80077"/>
                    <a:pt x="475057" y="80601"/>
                  </a:cubicBezTo>
                  <a:cubicBezTo>
                    <a:pt x="521101" y="97721"/>
                    <a:pt x="567744" y="105424"/>
                    <a:pt x="615842" y="109043"/>
                  </a:cubicBezTo>
                  <a:cubicBezTo>
                    <a:pt x="590766" y="151322"/>
                    <a:pt x="580496" y="197700"/>
                    <a:pt x="568343" y="247252"/>
                  </a:cubicBezTo>
                  <a:cubicBezTo>
                    <a:pt x="545492" y="343980"/>
                    <a:pt x="529318" y="443590"/>
                    <a:pt x="520246" y="542325"/>
                  </a:cubicBezTo>
                  <a:cubicBezTo>
                    <a:pt x="520246" y="542694"/>
                    <a:pt x="519732" y="542702"/>
                    <a:pt x="519732" y="542333"/>
                  </a:cubicBezTo>
                  <a:cubicBezTo>
                    <a:pt x="514854" y="489127"/>
                    <a:pt x="505953" y="434103"/>
                    <a:pt x="493115" y="382270"/>
                  </a:cubicBezTo>
                  <a:cubicBezTo>
                    <a:pt x="489777" y="368503"/>
                    <a:pt x="487125" y="357112"/>
                    <a:pt x="483359" y="345266"/>
                  </a:cubicBezTo>
                  <a:cubicBezTo>
                    <a:pt x="464702" y="275009"/>
                    <a:pt x="438257" y="207641"/>
                    <a:pt x="399574" y="145952"/>
                  </a:cubicBezTo>
                  <a:cubicBezTo>
                    <a:pt x="398974" y="144254"/>
                    <a:pt x="398033" y="142710"/>
                    <a:pt x="396749" y="141449"/>
                  </a:cubicBezTo>
                  <a:cubicBezTo>
                    <a:pt x="393925" y="138207"/>
                    <a:pt x="392641" y="132417"/>
                    <a:pt x="388619" y="131010"/>
                  </a:cubicBezTo>
                  <a:cubicBezTo>
                    <a:pt x="384597" y="131216"/>
                    <a:pt x="386908" y="135170"/>
                    <a:pt x="387849" y="137409"/>
                  </a:cubicBezTo>
                  <a:cubicBezTo>
                    <a:pt x="331449" y="123248"/>
                    <a:pt x="277618" y="153852"/>
                    <a:pt x="223273" y="164308"/>
                  </a:cubicBezTo>
                  <a:cubicBezTo>
                    <a:pt x="213088" y="165715"/>
                    <a:pt x="197427" y="170518"/>
                    <a:pt x="189553" y="162627"/>
                  </a:cubicBezTo>
                  <a:cubicBezTo>
                    <a:pt x="187071" y="152651"/>
                    <a:pt x="200165" y="145721"/>
                    <a:pt x="208039" y="142555"/>
                  </a:cubicBezTo>
                  <a:cubicBezTo>
                    <a:pt x="230719" y="139305"/>
                    <a:pt x="223700" y="106727"/>
                    <a:pt x="202476" y="115605"/>
                  </a:cubicBezTo>
                  <a:cubicBezTo>
                    <a:pt x="202048" y="114696"/>
                    <a:pt x="201620" y="113684"/>
                    <a:pt x="201106" y="113830"/>
                  </a:cubicBezTo>
                  <a:cubicBezTo>
                    <a:pt x="200765" y="107414"/>
                    <a:pt x="207012" y="101530"/>
                    <a:pt x="212318" y="97361"/>
                  </a:cubicBezTo>
                  <a:cubicBezTo>
                    <a:pt x="223273" y="88818"/>
                    <a:pt x="237736" y="82891"/>
                    <a:pt x="251686" y="85961"/>
                  </a:cubicBezTo>
                  <a:cubicBezTo>
                    <a:pt x="256308" y="87488"/>
                    <a:pt x="261700" y="88826"/>
                    <a:pt x="265551" y="85104"/>
                  </a:cubicBezTo>
                  <a:cubicBezTo>
                    <a:pt x="271798" y="79708"/>
                    <a:pt x="271456" y="68472"/>
                    <a:pt x="264352" y="63952"/>
                  </a:cubicBezTo>
                  <a:cubicBezTo>
                    <a:pt x="261015" y="61713"/>
                    <a:pt x="257421" y="59165"/>
                    <a:pt x="254681" y="56060"/>
                  </a:cubicBezTo>
                  <a:cubicBezTo>
                    <a:pt x="244925" y="44627"/>
                    <a:pt x="264952" y="40329"/>
                    <a:pt x="273253" y="36881"/>
                  </a:cubicBezTo>
                  <a:cubicBezTo>
                    <a:pt x="321864" y="16939"/>
                    <a:pt x="378092" y="20833"/>
                    <a:pt x="424992" y="43846"/>
                  </a:cubicBezTo>
                  <a:cubicBezTo>
                    <a:pt x="433807" y="47320"/>
                    <a:pt x="445789" y="52072"/>
                    <a:pt x="446730" y="60495"/>
                  </a:cubicBezTo>
                  <a:cubicBezTo>
                    <a:pt x="452293" y="68764"/>
                    <a:pt x="452635" y="50579"/>
                    <a:pt x="450495" y="47569"/>
                  </a:cubicBezTo>
                  <a:cubicBezTo>
                    <a:pt x="423451" y="2915"/>
                    <a:pt x="342832" y="-5843"/>
                    <a:pt x="295762" y="3335"/>
                  </a:cubicBezTo>
                  <a:cubicBezTo>
                    <a:pt x="261272" y="11629"/>
                    <a:pt x="218908" y="22231"/>
                    <a:pt x="228494" y="59817"/>
                  </a:cubicBezTo>
                  <a:cubicBezTo>
                    <a:pt x="199310" y="64724"/>
                    <a:pt x="160797" y="95937"/>
                    <a:pt x="177400" y="128163"/>
                  </a:cubicBezTo>
                  <a:cubicBezTo>
                    <a:pt x="153095" y="145120"/>
                    <a:pt x="155320" y="184722"/>
                    <a:pt x="186044" y="192656"/>
                  </a:cubicBezTo>
                  <a:cubicBezTo>
                    <a:pt x="100034" y="281562"/>
                    <a:pt x="65030" y="412291"/>
                    <a:pt x="60237" y="536835"/>
                  </a:cubicBezTo>
                  <a:cubicBezTo>
                    <a:pt x="60922" y="617000"/>
                    <a:pt x="60836" y="697808"/>
                    <a:pt x="33450" y="774242"/>
                  </a:cubicBezTo>
                  <a:lnTo>
                    <a:pt x="33450" y="774250"/>
                  </a:lnTo>
                  <a:cubicBezTo>
                    <a:pt x="16076" y="841026"/>
                    <a:pt x="-16189" y="915315"/>
                    <a:pt x="14792" y="982520"/>
                  </a:cubicBezTo>
                  <a:cubicBezTo>
                    <a:pt x="15991" y="986131"/>
                    <a:pt x="20184" y="988078"/>
                    <a:pt x="23779" y="987160"/>
                  </a:cubicBezTo>
                  <a:cubicBezTo>
                    <a:pt x="30026" y="1034010"/>
                    <a:pt x="84371" y="1037690"/>
                    <a:pt x="121857" y="1034362"/>
                  </a:cubicBezTo>
                  <a:cubicBezTo>
                    <a:pt x="156604" y="1033221"/>
                    <a:pt x="195886" y="1031600"/>
                    <a:pt x="230205" y="1030116"/>
                  </a:cubicBezTo>
                  <a:cubicBezTo>
                    <a:pt x="233200" y="1029987"/>
                    <a:pt x="253655" y="1029095"/>
                    <a:pt x="255623" y="1029009"/>
                  </a:cubicBezTo>
                  <a:cubicBezTo>
                    <a:pt x="341977" y="1025184"/>
                    <a:pt x="454774" y="1021015"/>
                    <a:pt x="541384" y="1017936"/>
                  </a:cubicBezTo>
                  <a:cubicBezTo>
                    <a:pt x="569113" y="1014445"/>
                    <a:pt x="556276" y="967209"/>
                    <a:pt x="543182" y="953571"/>
                  </a:cubicBezTo>
                  <a:cubicBezTo>
                    <a:pt x="527349" y="717802"/>
                    <a:pt x="535651" y="484384"/>
                    <a:pt x="591023" y="254586"/>
                  </a:cubicBezTo>
                  <a:cubicBezTo>
                    <a:pt x="639890" y="276604"/>
                    <a:pt x="686105" y="271123"/>
                    <a:pt x="731721" y="251352"/>
                  </a:cubicBezTo>
                  <a:cubicBezTo>
                    <a:pt x="712293" y="403670"/>
                    <a:pt x="697060" y="595008"/>
                    <a:pt x="699028" y="737170"/>
                  </a:cubicBezTo>
                  <a:cubicBezTo>
                    <a:pt x="699970" y="789295"/>
                    <a:pt x="700654" y="825261"/>
                    <a:pt x="705190" y="872291"/>
                  </a:cubicBezTo>
                  <a:cubicBezTo>
                    <a:pt x="706817" y="887576"/>
                    <a:pt x="709726" y="902706"/>
                    <a:pt x="713834" y="917520"/>
                  </a:cubicBezTo>
                  <a:cubicBezTo>
                    <a:pt x="714433" y="920256"/>
                    <a:pt x="716488" y="922443"/>
                    <a:pt x="719140" y="923258"/>
                  </a:cubicBezTo>
                  <a:cubicBezTo>
                    <a:pt x="720424" y="968333"/>
                    <a:pt x="726243" y="1023674"/>
                    <a:pt x="784526" y="1021899"/>
                  </a:cubicBezTo>
                  <a:cubicBezTo>
                    <a:pt x="839983" y="1019300"/>
                    <a:pt x="896553" y="1014016"/>
                    <a:pt x="951327" y="1009865"/>
                  </a:cubicBezTo>
                  <a:cubicBezTo>
                    <a:pt x="977430" y="1007780"/>
                    <a:pt x="1004473" y="1005593"/>
                    <a:pt x="1030919" y="1003586"/>
                  </a:cubicBezTo>
                  <a:cubicBezTo>
                    <a:pt x="1046238" y="1001656"/>
                    <a:pt x="1063013" y="1003603"/>
                    <a:pt x="1077049" y="996132"/>
                  </a:cubicBezTo>
                  <a:cubicBezTo>
                    <a:pt x="1085948" y="990162"/>
                    <a:pt x="1092881" y="967063"/>
                    <a:pt x="1089886" y="954454"/>
                  </a:cubicBezTo>
                  <a:close/>
                  <a:moveTo>
                    <a:pt x="901347" y="180485"/>
                  </a:moveTo>
                  <a:cubicBezTo>
                    <a:pt x="900063" y="182870"/>
                    <a:pt x="898864" y="185280"/>
                    <a:pt x="897752" y="187664"/>
                  </a:cubicBezTo>
                  <a:cubicBezTo>
                    <a:pt x="897495" y="188136"/>
                    <a:pt x="895355" y="192794"/>
                    <a:pt x="895099" y="193377"/>
                  </a:cubicBezTo>
                  <a:cubicBezTo>
                    <a:pt x="887995" y="208928"/>
                    <a:pt x="881833" y="225268"/>
                    <a:pt x="875929" y="241076"/>
                  </a:cubicBezTo>
                  <a:lnTo>
                    <a:pt x="875929" y="241093"/>
                  </a:lnTo>
                  <a:cubicBezTo>
                    <a:pt x="790602" y="462374"/>
                    <a:pt x="747126" y="700390"/>
                    <a:pt x="745928" y="937231"/>
                  </a:cubicBezTo>
                  <a:cubicBezTo>
                    <a:pt x="745928" y="938552"/>
                    <a:pt x="745671" y="940610"/>
                    <a:pt x="745329" y="939435"/>
                  </a:cubicBezTo>
                  <a:cubicBezTo>
                    <a:pt x="743531" y="933551"/>
                    <a:pt x="741734" y="928507"/>
                    <a:pt x="740279" y="922666"/>
                  </a:cubicBezTo>
                  <a:lnTo>
                    <a:pt x="740279" y="922658"/>
                  </a:lnTo>
                  <a:cubicBezTo>
                    <a:pt x="738225" y="914029"/>
                    <a:pt x="734973" y="905700"/>
                    <a:pt x="731549" y="897586"/>
                  </a:cubicBezTo>
                  <a:cubicBezTo>
                    <a:pt x="721451" y="692276"/>
                    <a:pt x="730352" y="479418"/>
                    <a:pt x="752089" y="276655"/>
                  </a:cubicBezTo>
                  <a:cubicBezTo>
                    <a:pt x="756540" y="229960"/>
                    <a:pt x="760306" y="189431"/>
                    <a:pt x="761932" y="144048"/>
                  </a:cubicBezTo>
                  <a:cubicBezTo>
                    <a:pt x="762446" y="130487"/>
                    <a:pt x="758252" y="90550"/>
                    <a:pt x="756369" y="78430"/>
                  </a:cubicBezTo>
                  <a:cubicBezTo>
                    <a:pt x="756197" y="77384"/>
                    <a:pt x="757310" y="76689"/>
                    <a:pt x="758252" y="77255"/>
                  </a:cubicBezTo>
                  <a:cubicBezTo>
                    <a:pt x="782814" y="92755"/>
                    <a:pt x="808232" y="105947"/>
                    <a:pt x="833393" y="120194"/>
                  </a:cubicBezTo>
                  <a:cubicBezTo>
                    <a:pt x="852735" y="131345"/>
                    <a:pt x="872334" y="141586"/>
                    <a:pt x="893387" y="150121"/>
                  </a:cubicBezTo>
                  <a:cubicBezTo>
                    <a:pt x="900148" y="153166"/>
                    <a:pt x="908022" y="156399"/>
                    <a:pt x="915211" y="153226"/>
                  </a:cubicBezTo>
                  <a:cubicBezTo>
                    <a:pt x="915297" y="153183"/>
                    <a:pt x="915211" y="153629"/>
                    <a:pt x="915211" y="153629"/>
                  </a:cubicBezTo>
                  <a:lnTo>
                    <a:pt x="915211" y="153638"/>
                  </a:lnTo>
                  <a:cubicBezTo>
                    <a:pt x="911017" y="161666"/>
                    <a:pt x="907337" y="169300"/>
                    <a:pt x="903400" y="178023"/>
                  </a:cubicBezTo>
                  <a:cubicBezTo>
                    <a:pt x="902459" y="178684"/>
                    <a:pt x="901774" y="179524"/>
                    <a:pt x="901347" y="180485"/>
                  </a:cubicBezTo>
                  <a:close/>
                </a:path>
              </a:pathLst>
            </a:custGeom>
            <a:solidFill>
              <a:schemeClr val="tx1"/>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grpSp>
          <p:nvGrpSpPr>
            <p:cNvPr id="129" name="Graphic 39" descr="Man wearing a jacket">
              <a:extLst>
                <a:ext uri="{FF2B5EF4-FFF2-40B4-BE49-F238E27FC236}">
                  <a16:creationId xmlns:a16="http://schemas.microsoft.com/office/drawing/2014/main" id="{440F8581-081B-0C92-3EEF-9A4E620D63F3}"/>
                </a:ext>
              </a:extLst>
            </p:cNvPr>
            <p:cNvGrpSpPr/>
            <p:nvPr/>
          </p:nvGrpSpPr>
          <p:grpSpPr>
            <a:xfrm>
              <a:off x="4071652" y="3884092"/>
              <a:ext cx="788425" cy="570059"/>
              <a:chOff x="4071652" y="4001036"/>
              <a:chExt cx="788425" cy="570059"/>
            </a:xfrm>
            <a:solidFill>
              <a:srgbClr val="FFFFFF"/>
            </a:solidFill>
          </p:grpSpPr>
          <p:sp>
            <p:nvSpPr>
              <p:cNvPr id="139" name="Freeform: Shape 138">
                <a:extLst>
                  <a:ext uri="{FF2B5EF4-FFF2-40B4-BE49-F238E27FC236}">
                    <a16:creationId xmlns:a16="http://schemas.microsoft.com/office/drawing/2014/main" id="{9AF32583-3711-4283-685B-7E59C7DBB1EA}"/>
                  </a:ext>
                </a:extLst>
              </p:cNvPr>
              <p:cNvSpPr/>
              <p:nvPr/>
            </p:nvSpPr>
            <p:spPr>
              <a:xfrm>
                <a:off x="4833313" y="4266172"/>
                <a:ext cx="26764" cy="249603"/>
              </a:xfrm>
              <a:custGeom>
                <a:avLst/>
                <a:gdLst>
                  <a:gd name="connsiteX0" fmla="*/ 7361 w 26764"/>
                  <a:gd name="connsiteY0" fmla="*/ 78 h 249603"/>
                  <a:gd name="connsiteX1" fmla="*/ 1884 w 26764"/>
                  <a:gd name="connsiteY1" fmla="*/ 5370 h 249603"/>
                  <a:gd name="connsiteX2" fmla="*/ 17632 w 26764"/>
                  <a:gd name="connsiteY2" fmla="*/ 244544 h 249603"/>
                  <a:gd name="connsiteX3" fmla="*/ 28586 w 26764"/>
                  <a:gd name="connsiteY3" fmla="*/ 244544 h 249603"/>
                  <a:gd name="connsiteX4" fmla="*/ 12838 w 26764"/>
                  <a:gd name="connsiteY4" fmla="*/ 5379 h 249603"/>
                  <a:gd name="connsiteX5" fmla="*/ 7361 w 26764"/>
                  <a:gd name="connsiteY5" fmla="*/ 78 h 249603"/>
                  <a:gd name="connsiteX6" fmla="*/ 7361 w 26764"/>
                  <a:gd name="connsiteY6" fmla="*/ 78 h 2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64" h="249603">
                    <a:moveTo>
                      <a:pt x="7361" y="78"/>
                    </a:moveTo>
                    <a:cubicBezTo>
                      <a:pt x="4451" y="-33"/>
                      <a:pt x="1713" y="2377"/>
                      <a:pt x="1884" y="5370"/>
                    </a:cubicBezTo>
                    <a:cubicBezTo>
                      <a:pt x="1969" y="76357"/>
                      <a:pt x="7875" y="165760"/>
                      <a:pt x="17632" y="244544"/>
                    </a:cubicBezTo>
                    <a:cubicBezTo>
                      <a:pt x="17973" y="250917"/>
                      <a:pt x="29528" y="251826"/>
                      <a:pt x="28586" y="244544"/>
                    </a:cubicBezTo>
                    <a:cubicBezTo>
                      <a:pt x="19343" y="170512"/>
                      <a:pt x="12838" y="78056"/>
                      <a:pt x="12838" y="5379"/>
                    </a:cubicBezTo>
                    <a:cubicBezTo>
                      <a:pt x="12924" y="2360"/>
                      <a:pt x="10357" y="-119"/>
                      <a:pt x="7361" y="78"/>
                    </a:cubicBezTo>
                    <a:lnTo>
                      <a:pt x="7361" y="78"/>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40" name="Freeform: Shape 139">
                <a:extLst>
                  <a:ext uri="{FF2B5EF4-FFF2-40B4-BE49-F238E27FC236}">
                    <a16:creationId xmlns:a16="http://schemas.microsoft.com/office/drawing/2014/main" id="{F6ED1486-F189-00A6-7B93-8F27BFDCF95F}"/>
                  </a:ext>
                </a:extLst>
              </p:cNvPr>
              <p:cNvSpPr/>
              <p:nvPr/>
            </p:nvSpPr>
            <p:spPr>
              <a:xfrm>
                <a:off x="4194443" y="4357574"/>
                <a:ext cx="139610" cy="96426"/>
              </a:xfrm>
              <a:custGeom>
                <a:avLst/>
                <a:gdLst>
                  <a:gd name="connsiteX0" fmla="*/ 135901 w 139610"/>
                  <a:gd name="connsiteY0" fmla="*/ 68 h 96426"/>
                  <a:gd name="connsiteX1" fmla="*/ 4190 w 139610"/>
                  <a:gd name="connsiteY1" fmla="*/ 85989 h 96426"/>
                  <a:gd name="connsiteX2" fmla="*/ 2220 w 139610"/>
                  <a:gd name="connsiteY2" fmla="*/ 92722 h 96426"/>
                  <a:gd name="connsiteX3" fmla="*/ 9666 w 139610"/>
                  <a:gd name="connsiteY3" fmla="*/ 95450 h 96426"/>
                  <a:gd name="connsiteX4" fmla="*/ 72570 w 139610"/>
                  <a:gd name="connsiteY4" fmla="*/ 50186 h 96426"/>
                  <a:gd name="connsiteX5" fmla="*/ 138811 w 139610"/>
                  <a:gd name="connsiteY5" fmla="*/ 10224 h 96426"/>
                  <a:gd name="connsiteX6" fmla="*/ 135901 w 139610"/>
                  <a:gd name="connsiteY6" fmla="*/ 68 h 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10" h="96426">
                    <a:moveTo>
                      <a:pt x="135901" y="68"/>
                    </a:moveTo>
                    <a:cubicBezTo>
                      <a:pt x="89430" y="22781"/>
                      <a:pt x="47837" y="53163"/>
                      <a:pt x="4190" y="85989"/>
                    </a:cubicBezTo>
                    <a:cubicBezTo>
                      <a:pt x="2135" y="87567"/>
                      <a:pt x="1365" y="90295"/>
                      <a:pt x="2220" y="92722"/>
                    </a:cubicBezTo>
                    <a:cubicBezTo>
                      <a:pt x="2991" y="95913"/>
                      <a:pt x="7099" y="97783"/>
                      <a:pt x="9666" y="95450"/>
                    </a:cubicBezTo>
                    <a:cubicBezTo>
                      <a:pt x="31747" y="78475"/>
                      <a:pt x="52287" y="63670"/>
                      <a:pt x="72570" y="50186"/>
                    </a:cubicBezTo>
                    <a:cubicBezTo>
                      <a:pt x="95249" y="35056"/>
                      <a:pt x="116902" y="21984"/>
                      <a:pt x="138811" y="10224"/>
                    </a:cubicBezTo>
                    <a:cubicBezTo>
                      <a:pt x="143860" y="7908"/>
                      <a:pt x="141122" y="-52"/>
                      <a:pt x="135901" y="68"/>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41" name="Freeform: Shape 140">
                <a:extLst>
                  <a:ext uri="{FF2B5EF4-FFF2-40B4-BE49-F238E27FC236}">
                    <a16:creationId xmlns:a16="http://schemas.microsoft.com/office/drawing/2014/main" id="{10465F0B-26E5-7ABD-FBFC-B73F696FA243}"/>
                  </a:ext>
                </a:extLst>
              </p:cNvPr>
              <p:cNvSpPr/>
              <p:nvPr/>
            </p:nvSpPr>
            <p:spPr>
              <a:xfrm>
                <a:off x="4716933" y="4351640"/>
                <a:ext cx="45496" cy="38453"/>
              </a:xfrm>
              <a:custGeom>
                <a:avLst/>
                <a:gdLst>
                  <a:gd name="connsiteX0" fmla="*/ 7349 w 45496"/>
                  <a:gd name="connsiteY0" fmla="*/ 67 h 38453"/>
                  <a:gd name="connsiteX1" fmla="*/ 45263 w 45496"/>
                  <a:gd name="connsiteY1" fmla="*/ 37516 h 38453"/>
                  <a:gd name="connsiteX2" fmla="*/ 44663 w 45496"/>
                  <a:gd name="connsiteY2" fmla="*/ 28793 h 38453"/>
                  <a:gd name="connsiteX3" fmla="*/ 11971 w 45496"/>
                  <a:gd name="connsiteY3" fmla="*/ 2357 h 38453"/>
                  <a:gd name="connsiteX4" fmla="*/ 7349 w 45496"/>
                  <a:gd name="connsiteY4" fmla="*/ 67 h 38453"/>
                  <a:gd name="connsiteX5" fmla="*/ 7349 w 45496"/>
                  <a:gd name="connsiteY5" fmla="*/ 67 h 3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96" h="38453">
                    <a:moveTo>
                      <a:pt x="7349" y="67"/>
                    </a:moveTo>
                    <a:cubicBezTo>
                      <a:pt x="-15245" y="1311"/>
                      <a:pt x="39016" y="45691"/>
                      <a:pt x="45263" y="37516"/>
                    </a:cubicBezTo>
                    <a:cubicBezTo>
                      <a:pt x="48087" y="35269"/>
                      <a:pt x="48258" y="30320"/>
                      <a:pt x="44663" y="28793"/>
                    </a:cubicBezTo>
                    <a:cubicBezTo>
                      <a:pt x="31911" y="22506"/>
                      <a:pt x="20786" y="13482"/>
                      <a:pt x="11971" y="2357"/>
                    </a:cubicBezTo>
                    <a:cubicBezTo>
                      <a:pt x="10858" y="908"/>
                      <a:pt x="9146" y="58"/>
                      <a:pt x="7349" y="67"/>
                    </a:cubicBezTo>
                    <a:lnTo>
                      <a:pt x="7349" y="67"/>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42" name="Freeform: Shape 141">
                <a:extLst>
                  <a:ext uri="{FF2B5EF4-FFF2-40B4-BE49-F238E27FC236}">
                    <a16:creationId xmlns:a16="http://schemas.microsoft.com/office/drawing/2014/main" id="{14D75806-49C7-EE65-5430-E89539B06AC1}"/>
                  </a:ext>
                </a:extLst>
              </p:cNvPr>
              <p:cNvSpPr/>
              <p:nvPr/>
            </p:nvSpPr>
            <p:spPr>
              <a:xfrm>
                <a:off x="4167170" y="4026210"/>
                <a:ext cx="138157" cy="55471"/>
              </a:xfrm>
              <a:custGeom>
                <a:avLst/>
                <a:gdLst>
                  <a:gd name="connsiteX0" fmla="*/ 8525 w 138157"/>
                  <a:gd name="connsiteY0" fmla="*/ 69 h 55471"/>
                  <a:gd name="connsiteX1" fmla="*/ 6899 w 138157"/>
                  <a:gd name="connsiteY1" fmla="*/ 51104 h 55471"/>
                  <a:gd name="connsiteX2" fmla="*/ 23588 w 138157"/>
                  <a:gd name="connsiteY2" fmla="*/ 55539 h 55471"/>
                  <a:gd name="connsiteX3" fmla="*/ 139638 w 138157"/>
                  <a:gd name="connsiteY3" fmla="*/ 30613 h 55471"/>
                  <a:gd name="connsiteX4" fmla="*/ 109171 w 138157"/>
                  <a:gd name="connsiteY4" fmla="*/ 28820 h 55471"/>
                  <a:gd name="connsiteX5" fmla="*/ 16570 w 138157"/>
                  <a:gd name="connsiteY5" fmla="*/ 44414 h 55471"/>
                  <a:gd name="connsiteX6" fmla="*/ 14260 w 138157"/>
                  <a:gd name="connsiteY6" fmla="*/ 6913 h 55471"/>
                  <a:gd name="connsiteX7" fmla="*/ 8525 w 138157"/>
                  <a:gd name="connsiteY7" fmla="*/ 69 h 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57" h="55471">
                    <a:moveTo>
                      <a:pt x="8525" y="69"/>
                    </a:moveTo>
                    <a:cubicBezTo>
                      <a:pt x="-4227" y="3731"/>
                      <a:pt x="4930" y="41695"/>
                      <a:pt x="6899" y="51104"/>
                    </a:cubicBezTo>
                    <a:cubicBezTo>
                      <a:pt x="9381" y="57598"/>
                      <a:pt x="18025" y="54750"/>
                      <a:pt x="23588" y="55539"/>
                    </a:cubicBezTo>
                    <a:cubicBezTo>
                      <a:pt x="62613" y="54312"/>
                      <a:pt x="103265" y="43556"/>
                      <a:pt x="139638" y="30613"/>
                    </a:cubicBezTo>
                    <a:cubicBezTo>
                      <a:pt x="143575" y="13441"/>
                      <a:pt x="117045" y="28297"/>
                      <a:pt x="109171" y="28820"/>
                    </a:cubicBezTo>
                    <a:cubicBezTo>
                      <a:pt x="79045" y="37158"/>
                      <a:pt x="47893" y="45786"/>
                      <a:pt x="16570" y="44414"/>
                    </a:cubicBezTo>
                    <a:cubicBezTo>
                      <a:pt x="13917" y="32869"/>
                      <a:pt x="11520" y="19385"/>
                      <a:pt x="14260" y="6913"/>
                    </a:cubicBezTo>
                    <a:cubicBezTo>
                      <a:pt x="15287" y="3362"/>
                      <a:pt x="12034" y="-17"/>
                      <a:pt x="8525" y="69"/>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43" name="Freeform: Shape 142">
                <a:extLst>
                  <a:ext uri="{FF2B5EF4-FFF2-40B4-BE49-F238E27FC236}">
                    <a16:creationId xmlns:a16="http://schemas.microsoft.com/office/drawing/2014/main" id="{5F6E302A-5BA0-A8C2-5F98-A808857939CA}"/>
                  </a:ext>
                </a:extLst>
              </p:cNvPr>
              <p:cNvSpPr/>
              <p:nvPr/>
            </p:nvSpPr>
            <p:spPr>
              <a:xfrm>
                <a:off x="4729498" y="4001036"/>
                <a:ext cx="67560" cy="52815"/>
              </a:xfrm>
              <a:custGeom>
                <a:avLst/>
                <a:gdLst>
                  <a:gd name="connsiteX0" fmla="*/ 6680 w 67560"/>
                  <a:gd name="connsiteY0" fmla="*/ 34386 h 52815"/>
                  <a:gd name="connsiteX1" fmla="*/ 44849 w 67560"/>
                  <a:gd name="connsiteY1" fmla="*/ 51876 h 52815"/>
                  <a:gd name="connsiteX2" fmla="*/ 68043 w 67560"/>
                  <a:gd name="connsiteY2" fmla="*/ 1655 h 52815"/>
                  <a:gd name="connsiteX3" fmla="*/ 56746 w 67560"/>
                  <a:gd name="connsiteY3" fmla="*/ 24342 h 52815"/>
                  <a:gd name="connsiteX4" fmla="*/ 6680 w 67560"/>
                  <a:gd name="connsiteY4" fmla="*/ 34386 h 52815"/>
                  <a:gd name="connsiteX5" fmla="*/ 6680 w 67560"/>
                  <a:gd name="connsiteY5" fmla="*/ 34386 h 5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60" h="52815">
                    <a:moveTo>
                      <a:pt x="6680" y="34386"/>
                    </a:moveTo>
                    <a:cubicBezTo>
                      <a:pt x="-13603" y="45854"/>
                      <a:pt x="36377" y="56207"/>
                      <a:pt x="44849" y="51876"/>
                    </a:cubicBezTo>
                    <a:cubicBezTo>
                      <a:pt x="65304" y="47741"/>
                      <a:pt x="72835" y="17892"/>
                      <a:pt x="68043" y="1655"/>
                    </a:cubicBezTo>
                    <a:cubicBezTo>
                      <a:pt x="54093" y="-6202"/>
                      <a:pt x="59912" y="17291"/>
                      <a:pt x="56746" y="24342"/>
                    </a:cubicBezTo>
                    <a:cubicBezTo>
                      <a:pt x="51782" y="50538"/>
                      <a:pt x="23198" y="41145"/>
                      <a:pt x="6680" y="34386"/>
                    </a:cubicBezTo>
                    <a:lnTo>
                      <a:pt x="6680" y="34386"/>
                    </a:ln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44" name="Freeform: Shape 143">
                <a:extLst>
                  <a:ext uri="{FF2B5EF4-FFF2-40B4-BE49-F238E27FC236}">
                    <a16:creationId xmlns:a16="http://schemas.microsoft.com/office/drawing/2014/main" id="{BA4641DD-23A8-F042-AFC9-B4E91568795B}"/>
                  </a:ext>
                </a:extLst>
              </p:cNvPr>
              <p:cNvSpPr/>
              <p:nvPr/>
            </p:nvSpPr>
            <p:spPr>
              <a:xfrm>
                <a:off x="4071652" y="4117812"/>
                <a:ext cx="59718" cy="453283"/>
              </a:xfrm>
              <a:custGeom>
                <a:avLst/>
                <a:gdLst>
                  <a:gd name="connsiteX0" fmla="*/ 50640 w 59718"/>
                  <a:gd name="connsiteY0" fmla="*/ 448443 h 453283"/>
                  <a:gd name="connsiteX1" fmla="*/ 35662 w 59718"/>
                  <a:gd name="connsiteY1" fmla="*/ 54309 h 453283"/>
                  <a:gd name="connsiteX2" fmla="*/ 1942 w 59718"/>
                  <a:gd name="connsiteY2" fmla="*/ 29314 h 453283"/>
                  <a:gd name="connsiteX3" fmla="*/ 35748 w 59718"/>
                  <a:gd name="connsiteY3" fmla="*/ 40044 h 453283"/>
                  <a:gd name="connsiteX4" fmla="*/ 45676 w 59718"/>
                  <a:gd name="connsiteY4" fmla="*/ 1678 h 453283"/>
                  <a:gd name="connsiteX5" fmla="*/ 47387 w 59718"/>
                  <a:gd name="connsiteY5" fmla="*/ 109831 h 453283"/>
                  <a:gd name="connsiteX6" fmla="*/ 61594 w 59718"/>
                  <a:gd name="connsiteY6" fmla="*/ 447979 h 453283"/>
                  <a:gd name="connsiteX7" fmla="*/ 56117 w 59718"/>
                  <a:gd name="connsiteY7" fmla="*/ 453340 h 453283"/>
                  <a:gd name="connsiteX8" fmla="*/ 50640 w 59718"/>
                  <a:gd name="connsiteY8" fmla="*/ 448443 h 4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18" h="453283">
                    <a:moveTo>
                      <a:pt x="50640" y="448443"/>
                    </a:moveTo>
                    <a:cubicBezTo>
                      <a:pt x="46532" y="317311"/>
                      <a:pt x="36005" y="186436"/>
                      <a:pt x="35662" y="54309"/>
                    </a:cubicBezTo>
                    <a:cubicBezTo>
                      <a:pt x="25906" y="43887"/>
                      <a:pt x="11357" y="39281"/>
                      <a:pt x="1942" y="29314"/>
                    </a:cubicBezTo>
                    <a:cubicBezTo>
                      <a:pt x="317" y="9972"/>
                      <a:pt x="29072" y="36485"/>
                      <a:pt x="35748" y="40044"/>
                    </a:cubicBezTo>
                    <a:cubicBezTo>
                      <a:pt x="37631" y="29005"/>
                      <a:pt x="29928" y="-8049"/>
                      <a:pt x="45676" y="1678"/>
                    </a:cubicBezTo>
                    <a:cubicBezTo>
                      <a:pt x="49013" y="34864"/>
                      <a:pt x="45162" y="70434"/>
                      <a:pt x="47387" y="109831"/>
                    </a:cubicBezTo>
                    <a:cubicBezTo>
                      <a:pt x="49955" y="223671"/>
                      <a:pt x="57828" y="334397"/>
                      <a:pt x="61594" y="447979"/>
                    </a:cubicBezTo>
                    <a:cubicBezTo>
                      <a:pt x="61594" y="447979"/>
                      <a:pt x="61337" y="453066"/>
                      <a:pt x="56117" y="453340"/>
                    </a:cubicBezTo>
                    <a:cubicBezTo>
                      <a:pt x="51152" y="453606"/>
                      <a:pt x="50640" y="448443"/>
                      <a:pt x="50640" y="448443"/>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grpSp>
        <p:sp>
          <p:nvSpPr>
            <p:cNvPr id="130" name="Freeform: Shape 129">
              <a:extLst>
                <a:ext uri="{FF2B5EF4-FFF2-40B4-BE49-F238E27FC236}">
                  <a16:creationId xmlns:a16="http://schemas.microsoft.com/office/drawing/2014/main" id="{3C64D0AF-5B50-090A-FF43-80F8583C8C7D}"/>
                </a:ext>
              </a:extLst>
            </p:cNvPr>
            <p:cNvSpPr/>
            <p:nvPr/>
          </p:nvSpPr>
          <p:spPr>
            <a:xfrm>
              <a:off x="4286604" y="3022284"/>
              <a:ext cx="494110" cy="496266"/>
            </a:xfrm>
            <a:custGeom>
              <a:avLst/>
              <a:gdLst>
                <a:gd name="connsiteX0" fmla="*/ 91211 w 494110"/>
                <a:gd name="connsiteY0" fmla="*/ 211457 h 496266"/>
                <a:gd name="connsiteX1" fmla="*/ 1348 w 494110"/>
                <a:gd name="connsiteY1" fmla="*/ 284795 h 496266"/>
                <a:gd name="connsiteX2" fmla="*/ 89747 w 494110"/>
                <a:gd name="connsiteY2" fmla="*/ 350489 h 496266"/>
                <a:gd name="connsiteX3" fmla="*/ 115816 w 494110"/>
                <a:gd name="connsiteY3" fmla="*/ 381128 h 496266"/>
                <a:gd name="connsiteX4" fmla="*/ 347574 w 494110"/>
                <a:gd name="connsiteY4" fmla="*/ 495886 h 496266"/>
                <a:gd name="connsiteX5" fmla="*/ 464095 w 494110"/>
                <a:gd name="connsiteY5" fmla="*/ 413791 h 496266"/>
                <a:gd name="connsiteX6" fmla="*/ 493878 w 494110"/>
                <a:gd name="connsiteY6" fmla="*/ 278439 h 496266"/>
                <a:gd name="connsiteX7" fmla="*/ 464284 w 494110"/>
                <a:gd name="connsiteY7" fmla="*/ 120983 h 496266"/>
                <a:gd name="connsiteX8" fmla="*/ 220184 w 494110"/>
                <a:gd name="connsiteY8" fmla="*/ 2073 h 496266"/>
                <a:gd name="connsiteX9" fmla="*/ 91211 w 494110"/>
                <a:gd name="connsiteY9" fmla="*/ 211457 h 49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110" h="496266">
                  <a:moveTo>
                    <a:pt x="91211" y="211457"/>
                  </a:moveTo>
                  <a:cubicBezTo>
                    <a:pt x="91211" y="211457"/>
                    <a:pt x="-12952" y="215652"/>
                    <a:pt x="1348" y="284795"/>
                  </a:cubicBezTo>
                  <a:cubicBezTo>
                    <a:pt x="17361" y="362198"/>
                    <a:pt x="89747" y="350489"/>
                    <a:pt x="89747" y="350489"/>
                  </a:cubicBezTo>
                  <a:lnTo>
                    <a:pt x="115816" y="381128"/>
                  </a:lnTo>
                  <a:cubicBezTo>
                    <a:pt x="115816" y="381128"/>
                    <a:pt x="204189" y="503949"/>
                    <a:pt x="347574" y="495886"/>
                  </a:cubicBezTo>
                  <a:cubicBezTo>
                    <a:pt x="347574" y="495886"/>
                    <a:pt x="421475" y="489959"/>
                    <a:pt x="464095" y="413791"/>
                  </a:cubicBezTo>
                  <a:cubicBezTo>
                    <a:pt x="491550" y="364728"/>
                    <a:pt x="495205" y="309755"/>
                    <a:pt x="493878" y="278439"/>
                  </a:cubicBezTo>
                  <a:cubicBezTo>
                    <a:pt x="490438" y="197459"/>
                    <a:pt x="464284" y="120983"/>
                    <a:pt x="464284" y="120983"/>
                  </a:cubicBezTo>
                  <a:cubicBezTo>
                    <a:pt x="464284" y="120983"/>
                    <a:pt x="390665" y="-18513"/>
                    <a:pt x="220184" y="2073"/>
                  </a:cubicBezTo>
                  <a:cubicBezTo>
                    <a:pt x="84655" y="18439"/>
                    <a:pt x="98477" y="166246"/>
                    <a:pt x="91211" y="211457"/>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137" name="Freeform: Shape 136">
              <a:extLst>
                <a:ext uri="{FF2B5EF4-FFF2-40B4-BE49-F238E27FC236}">
                  <a16:creationId xmlns:a16="http://schemas.microsoft.com/office/drawing/2014/main" id="{9E7C8D9E-2211-3FF0-FECC-2A50A345DD07}"/>
                </a:ext>
              </a:extLst>
            </p:cNvPr>
            <p:cNvSpPr/>
            <p:nvPr/>
          </p:nvSpPr>
          <p:spPr>
            <a:xfrm>
              <a:off x="4319950" y="3270162"/>
              <a:ext cx="46831" cy="43944"/>
            </a:xfrm>
            <a:custGeom>
              <a:avLst/>
              <a:gdLst>
                <a:gd name="connsiteX0" fmla="*/ 2570 w 46831"/>
                <a:gd name="connsiteY0" fmla="*/ 1474 h 43944"/>
                <a:gd name="connsiteX1" fmla="*/ 3828 w 46831"/>
                <a:gd name="connsiteY1" fmla="*/ 11150 h 43944"/>
                <a:gd name="connsiteX2" fmla="*/ 14740 w 46831"/>
                <a:gd name="connsiteY2" fmla="*/ 13569 h 43944"/>
                <a:gd name="connsiteX3" fmla="*/ 24522 w 46831"/>
                <a:gd name="connsiteY3" fmla="*/ 22206 h 43944"/>
                <a:gd name="connsiteX4" fmla="*/ 30444 w 46831"/>
                <a:gd name="connsiteY4" fmla="*/ 32285 h 43944"/>
                <a:gd name="connsiteX5" fmla="*/ 35802 w 46831"/>
                <a:gd name="connsiteY5" fmla="*/ 42312 h 43944"/>
                <a:gd name="connsiteX6" fmla="*/ 44873 w 46831"/>
                <a:gd name="connsiteY6" fmla="*/ 41137 h 43944"/>
                <a:gd name="connsiteX7" fmla="*/ 33303 w 46831"/>
                <a:gd name="connsiteY7" fmla="*/ 10875 h 43944"/>
                <a:gd name="connsiteX8" fmla="*/ 2570 w 46831"/>
                <a:gd name="connsiteY8" fmla="*/ 1474 h 4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31" h="43944">
                  <a:moveTo>
                    <a:pt x="2570" y="1474"/>
                  </a:moveTo>
                  <a:cubicBezTo>
                    <a:pt x="-1547" y="3310"/>
                    <a:pt x="-417" y="10283"/>
                    <a:pt x="3828" y="11150"/>
                  </a:cubicBezTo>
                  <a:cubicBezTo>
                    <a:pt x="7696" y="11939"/>
                    <a:pt x="11145" y="11613"/>
                    <a:pt x="14740" y="13569"/>
                  </a:cubicBezTo>
                  <a:cubicBezTo>
                    <a:pt x="18514" y="15619"/>
                    <a:pt x="21817" y="18895"/>
                    <a:pt x="24522" y="22206"/>
                  </a:cubicBezTo>
                  <a:cubicBezTo>
                    <a:pt x="26978" y="25208"/>
                    <a:pt x="29040" y="28665"/>
                    <a:pt x="30444" y="32285"/>
                  </a:cubicBezTo>
                  <a:cubicBezTo>
                    <a:pt x="32027" y="36350"/>
                    <a:pt x="32404" y="39292"/>
                    <a:pt x="35802" y="42312"/>
                  </a:cubicBezTo>
                  <a:cubicBezTo>
                    <a:pt x="38720" y="44902"/>
                    <a:pt x="42700" y="44336"/>
                    <a:pt x="44873" y="41137"/>
                  </a:cubicBezTo>
                  <a:cubicBezTo>
                    <a:pt x="51378" y="31564"/>
                    <a:pt x="40166" y="17437"/>
                    <a:pt x="33303" y="10875"/>
                  </a:cubicBezTo>
                  <a:cubicBezTo>
                    <a:pt x="25882" y="3756"/>
                    <a:pt x="12805" y="-3089"/>
                    <a:pt x="2570" y="1474"/>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32" name="Freeform: Shape 131">
              <a:extLst>
                <a:ext uri="{FF2B5EF4-FFF2-40B4-BE49-F238E27FC236}">
                  <a16:creationId xmlns:a16="http://schemas.microsoft.com/office/drawing/2014/main" id="{7125A085-8B6F-417D-CC5C-8DF8A34FA598}"/>
                </a:ext>
              </a:extLst>
            </p:cNvPr>
            <p:cNvSpPr/>
            <p:nvPr/>
          </p:nvSpPr>
          <p:spPr>
            <a:xfrm>
              <a:off x="4597700" y="3442230"/>
              <a:ext cx="63624" cy="22939"/>
            </a:xfrm>
            <a:custGeom>
              <a:avLst/>
              <a:gdLst>
                <a:gd name="connsiteX0" fmla="*/ 40146 w 63624"/>
                <a:gd name="connsiteY0" fmla="*/ 23765 h 22939"/>
                <a:gd name="connsiteX1" fmla="*/ 2832 w 63624"/>
                <a:gd name="connsiteY1" fmla="*/ 12623 h 22939"/>
                <a:gd name="connsiteX2" fmla="*/ 2148 w 63624"/>
                <a:gd name="connsiteY2" fmla="*/ 9981 h 22939"/>
                <a:gd name="connsiteX3" fmla="*/ 4116 w 63624"/>
                <a:gd name="connsiteY3" fmla="*/ 7983 h 22939"/>
                <a:gd name="connsiteX4" fmla="*/ 20206 w 63624"/>
                <a:gd name="connsiteY4" fmla="*/ 6027 h 22939"/>
                <a:gd name="connsiteX5" fmla="*/ 31331 w 63624"/>
                <a:gd name="connsiteY5" fmla="*/ 4938 h 22939"/>
                <a:gd name="connsiteX6" fmla="*/ 39975 w 63624"/>
                <a:gd name="connsiteY6" fmla="*/ 3050 h 22939"/>
                <a:gd name="connsiteX7" fmla="*/ 52727 w 63624"/>
                <a:gd name="connsiteY7" fmla="*/ 829 h 22939"/>
                <a:gd name="connsiteX8" fmla="*/ 60772 w 63624"/>
                <a:gd name="connsiteY8" fmla="*/ 2553 h 22939"/>
                <a:gd name="connsiteX9" fmla="*/ 65308 w 63624"/>
                <a:gd name="connsiteY9" fmla="*/ 8695 h 22939"/>
                <a:gd name="connsiteX10" fmla="*/ 57091 w 63624"/>
                <a:gd name="connsiteY10" fmla="*/ 21664 h 22939"/>
                <a:gd name="connsiteX11" fmla="*/ 47849 w 63624"/>
                <a:gd name="connsiteY11" fmla="*/ 23439 h 22939"/>
                <a:gd name="connsiteX12" fmla="*/ 40146 w 63624"/>
                <a:gd name="connsiteY12" fmla="*/ 23765 h 2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624" h="22939">
                  <a:moveTo>
                    <a:pt x="40146" y="23765"/>
                  </a:moveTo>
                  <a:cubicBezTo>
                    <a:pt x="27137" y="23533"/>
                    <a:pt x="13102" y="21261"/>
                    <a:pt x="2832" y="12623"/>
                  </a:cubicBezTo>
                  <a:cubicBezTo>
                    <a:pt x="2148" y="11954"/>
                    <a:pt x="1891" y="10925"/>
                    <a:pt x="2148" y="9981"/>
                  </a:cubicBezTo>
                  <a:cubicBezTo>
                    <a:pt x="2404" y="9003"/>
                    <a:pt x="3089" y="8223"/>
                    <a:pt x="4116" y="7983"/>
                  </a:cubicBezTo>
                  <a:cubicBezTo>
                    <a:pt x="9422" y="6979"/>
                    <a:pt x="14814" y="6327"/>
                    <a:pt x="20206" y="6027"/>
                  </a:cubicBezTo>
                  <a:cubicBezTo>
                    <a:pt x="23885" y="5744"/>
                    <a:pt x="27651" y="5452"/>
                    <a:pt x="31331" y="4938"/>
                  </a:cubicBezTo>
                  <a:cubicBezTo>
                    <a:pt x="34241" y="4466"/>
                    <a:pt x="37151" y="3840"/>
                    <a:pt x="39975" y="3050"/>
                  </a:cubicBezTo>
                  <a:cubicBezTo>
                    <a:pt x="44083" y="1781"/>
                    <a:pt x="48447" y="1035"/>
                    <a:pt x="52727" y="829"/>
                  </a:cubicBezTo>
                  <a:cubicBezTo>
                    <a:pt x="55551" y="778"/>
                    <a:pt x="58290" y="1369"/>
                    <a:pt x="60772" y="2553"/>
                  </a:cubicBezTo>
                  <a:cubicBezTo>
                    <a:pt x="63083" y="3840"/>
                    <a:pt x="64708" y="6087"/>
                    <a:pt x="65308" y="8695"/>
                  </a:cubicBezTo>
                  <a:cubicBezTo>
                    <a:pt x="67105" y="14459"/>
                    <a:pt x="61970" y="19519"/>
                    <a:pt x="57091" y="21664"/>
                  </a:cubicBezTo>
                  <a:cubicBezTo>
                    <a:pt x="54096" y="22736"/>
                    <a:pt x="51015" y="23328"/>
                    <a:pt x="47849" y="23439"/>
                  </a:cubicBezTo>
                  <a:cubicBezTo>
                    <a:pt x="45195" y="23654"/>
                    <a:pt x="42628" y="23765"/>
                    <a:pt x="40146" y="23765"/>
                  </a:cubicBez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133" name="Freeform: Shape 132">
              <a:extLst>
                <a:ext uri="{FF2B5EF4-FFF2-40B4-BE49-F238E27FC236}">
                  <a16:creationId xmlns:a16="http://schemas.microsoft.com/office/drawing/2014/main" id="{3408B21F-BE8F-3CDD-549B-B81D81422863}"/>
                </a:ext>
              </a:extLst>
            </p:cNvPr>
            <p:cNvSpPr/>
            <p:nvPr/>
          </p:nvSpPr>
          <p:spPr>
            <a:xfrm>
              <a:off x="4609127" y="3302197"/>
              <a:ext cx="67949" cy="60923"/>
            </a:xfrm>
            <a:custGeom>
              <a:avLst/>
              <a:gdLst>
                <a:gd name="connsiteX0" fmla="*/ 39588 w 67949"/>
                <a:gd name="connsiteY0" fmla="*/ 61727 h 60923"/>
                <a:gd name="connsiteX1" fmla="*/ 5698 w 67949"/>
                <a:gd name="connsiteY1" fmla="*/ 34356 h 60923"/>
                <a:gd name="connsiteX2" fmla="*/ 10661 w 67949"/>
                <a:gd name="connsiteY2" fmla="*/ 32426 h 60923"/>
                <a:gd name="connsiteX3" fmla="*/ 14512 w 67949"/>
                <a:gd name="connsiteY3" fmla="*/ 33601 h 60923"/>
                <a:gd name="connsiteX4" fmla="*/ 53110 w 67949"/>
                <a:gd name="connsiteY4" fmla="*/ 42187 h 60923"/>
                <a:gd name="connsiteX5" fmla="*/ 39074 w 67949"/>
                <a:gd name="connsiteY5" fmla="*/ 7869 h 60923"/>
                <a:gd name="connsiteX6" fmla="*/ 38219 w 67949"/>
                <a:gd name="connsiteY6" fmla="*/ 4155 h 60923"/>
                <a:gd name="connsiteX7" fmla="*/ 42926 w 67949"/>
                <a:gd name="connsiteY7" fmla="*/ 827 h 60923"/>
                <a:gd name="connsiteX8" fmla="*/ 69800 w 67949"/>
                <a:gd name="connsiteY8" fmla="*/ 33207 h 60923"/>
                <a:gd name="connsiteX9" fmla="*/ 39588 w 67949"/>
                <a:gd name="connsiteY9" fmla="*/ 61727 h 60923"/>
                <a:gd name="connsiteX10" fmla="*/ 39588 w 67949"/>
                <a:gd name="connsiteY10" fmla="*/ 61727 h 6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949" h="60923">
                  <a:moveTo>
                    <a:pt x="39588" y="61727"/>
                  </a:moveTo>
                  <a:cubicBezTo>
                    <a:pt x="28805" y="62113"/>
                    <a:pt x="-9879" y="48835"/>
                    <a:pt x="5698" y="34356"/>
                  </a:cubicBezTo>
                  <a:cubicBezTo>
                    <a:pt x="7067" y="33147"/>
                    <a:pt x="8865" y="32469"/>
                    <a:pt x="10661" y="32426"/>
                  </a:cubicBezTo>
                  <a:cubicBezTo>
                    <a:pt x="12031" y="32435"/>
                    <a:pt x="13315" y="32846"/>
                    <a:pt x="14512" y="33601"/>
                  </a:cubicBezTo>
                  <a:cubicBezTo>
                    <a:pt x="24013" y="41269"/>
                    <a:pt x="41728" y="54650"/>
                    <a:pt x="53110" y="42187"/>
                  </a:cubicBezTo>
                  <a:cubicBezTo>
                    <a:pt x="64322" y="28626"/>
                    <a:pt x="46863" y="11737"/>
                    <a:pt x="39074" y="7869"/>
                  </a:cubicBezTo>
                  <a:cubicBezTo>
                    <a:pt x="38048" y="6951"/>
                    <a:pt x="37706" y="5450"/>
                    <a:pt x="38219" y="4155"/>
                  </a:cubicBezTo>
                  <a:cubicBezTo>
                    <a:pt x="38904" y="2131"/>
                    <a:pt x="40787" y="784"/>
                    <a:pt x="42926" y="827"/>
                  </a:cubicBezTo>
                  <a:cubicBezTo>
                    <a:pt x="58930" y="2054"/>
                    <a:pt x="71768" y="17073"/>
                    <a:pt x="69800" y="33207"/>
                  </a:cubicBezTo>
                  <a:cubicBezTo>
                    <a:pt x="68858" y="48715"/>
                    <a:pt x="55421" y="62387"/>
                    <a:pt x="39588" y="61727"/>
                  </a:cubicBezTo>
                  <a:lnTo>
                    <a:pt x="39588" y="6172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134" name="Freeform: Shape 133">
              <a:extLst>
                <a:ext uri="{FF2B5EF4-FFF2-40B4-BE49-F238E27FC236}">
                  <a16:creationId xmlns:a16="http://schemas.microsoft.com/office/drawing/2014/main" id="{3AC17E20-0836-FAE7-AF0F-788F049E9FBA}"/>
                </a:ext>
              </a:extLst>
            </p:cNvPr>
            <p:cNvSpPr/>
            <p:nvPr/>
          </p:nvSpPr>
          <p:spPr>
            <a:xfrm>
              <a:off x="4679614" y="3243416"/>
              <a:ext cx="32350" cy="54176"/>
            </a:xfrm>
            <a:custGeom>
              <a:avLst/>
              <a:gdLst>
                <a:gd name="connsiteX0" fmla="*/ 18225 w 32350"/>
                <a:gd name="connsiteY0" fmla="*/ 55002 h 54176"/>
                <a:gd name="connsiteX1" fmla="*/ 2050 w 32350"/>
                <a:gd name="connsiteY1" fmla="*/ 27778 h 54176"/>
                <a:gd name="connsiteX2" fmla="*/ 34401 w 32350"/>
                <a:gd name="connsiteY2" fmla="*/ 27778 h 54176"/>
                <a:gd name="connsiteX3" fmla="*/ 18225 w 32350"/>
                <a:gd name="connsiteY3" fmla="*/ 55002 h 54176"/>
                <a:gd name="connsiteX4" fmla="*/ 18225 w 32350"/>
                <a:gd name="connsiteY4" fmla="*/ 55002 h 5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0" h="54176">
                  <a:moveTo>
                    <a:pt x="18225" y="55002"/>
                  </a:moveTo>
                  <a:cubicBezTo>
                    <a:pt x="5816" y="53887"/>
                    <a:pt x="2136" y="38190"/>
                    <a:pt x="2050" y="27778"/>
                  </a:cubicBezTo>
                  <a:cubicBezTo>
                    <a:pt x="2478" y="-8197"/>
                    <a:pt x="33972" y="-8119"/>
                    <a:pt x="34401" y="27778"/>
                  </a:cubicBezTo>
                  <a:cubicBezTo>
                    <a:pt x="34315" y="38182"/>
                    <a:pt x="30550" y="53904"/>
                    <a:pt x="18225" y="55002"/>
                  </a:cubicBezTo>
                  <a:lnTo>
                    <a:pt x="18225" y="55002"/>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135" name="Freeform: Shape 134">
              <a:extLst>
                <a:ext uri="{FF2B5EF4-FFF2-40B4-BE49-F238E27FC236}">
                  <a16:creationId xmlns:a16="http://schemas.microsoft.com/office/drawing/2014/main" id="{0D0929D3-7CEB-6097-396C-B5D7F9D038C6}"/>
                </a:ext>
              </a:extLst>
            </p:cNvPr>
            <p:cNvSpPr/>
            <p:nvPr/>
          </p:nvSpPr>
          <p:spPr>
            <a:xfrm>
              <a:off x="4491075" y="3250107"/>
              <a:ext cx="114172" cy="47313"/>
            </a:xfrm>
            <a:custGeom>
              <a:avLst/>
              <a:gdLst>
                <a:gd name="connsiteX0" fmla="*/ 61958 w 114172"/>
                <a:gd name="connsiteY0" fmla="*/ 48140 h 47313"/>
                <a:gd name="connsiteX1" fmla="*/ 51603 w 114172"/>
                <a:gd name="connsiteY1" fmla="*/ 40291 h 47313"/>
                <a:gd name="connsiteX2" fmla="*/ 52458 w 114172"/>
                <a:gd name="connsiteY2" fmla="*/ 19662 h 47313"/>
                <a:gd name="connsiteX3" fmla="*/ 52801 w 114172"/>
                <a:gd name="connsiteY3" fmla="*/ 19208 h 47313"/>
                <a:gd name="connsiteX4" fmla="*/ 52715 w 114172"/>
                <a:gd name="connsiteY4" fmla="*/ 18084 h 47313"/>
                <a:gd name="connsiteX5" fmla="*/ 25244 w 114172"/>
                <a:gd name="connsiteY5" fmla="*/ 15340 h 47313"/>
                <a:gd name="connsiteX6" fmla="*/ 2136 w 114172"/>
                <a:gd name="connsiteY6" fmla="*/ 9524 h 47313"/>
                <a:gd name="connsiteX7" fmla="*/ 2050 w 114172"/>
                <a:gd name="connsiteY7" fmla="*/ 9250 h 47313"/>
                <a:gd name="connsiteX8" fmla="*/ 2221 w 114172"/>
                <a:gd name="connsiteY8" fmla="*/ 8958 h 47313"/>
                <a:gd name="connsiteX9" fmla="*/ 23960 w 114172"/>
                <a:gd name="connsiteY9" fmla="*/ 6693 h 47313"/>
                <a:gd name="connsiteX10" fmla="*/ 62044 w 114172"/>
                <a:gd name="connsiteY10" fmla="*/ 5004 h 47313"/>
                <a:gd name="connsiteX11" fmla="*/ 71972 w 114172"/>
                <a:gd name="connsiteY11" fmla="*/ 4317 h 47313"/>
                <a:gd name="connsiteX12" fmla="*/ 90201 w 114172"/>
                <a:gd name="connsiteY12" fmla="*/ 2739 h 47313"/>
                <a:gd name="connsiteX13" fmla="*/ 106205 w 114172"/>
                <a:gd name="connsiteY13" fmla="*/ 827 h 47313"/>
                <a:gd name="connsiteX14" fmla="*/ 114079 w 114172"/>
                <a:gd name="connsiteY14" fmla="*/ 14396 h 47313"/>
                <a:gd name="connsiteX15" fmla="*/ 100470 w 114172"/>
                <a:gd name="connsiteY15" fmla="*/ 18445 h 47313"/>
                <a:gd name="connsiteX16" fmla="*/ 82327 w 114172"/>
                <a:gd name="connsiteY16" fmla="*/ 18873 h 47313"/>
                <a:gd name="connsiteX17" fmla="*/ 66751 w 114172"/>
                <a:gd name="connsiteY17" fmla="*/ 46459 h 47313"/>
                <a:gd name="connsiteX18" fmla="*/ 61958 w 114172"/>
                <a:gd name="connsiteY18" fmla="*/ 48140 h 47313"/>
                <a:gd name="connsiteX19" fmla="*/ 61958 w 114172"/>
                <a:gd name="connsiteY19" fmla="*/ 48140 h 4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172" h="47313">
                  <a:moveTo>
                    <a:pt x="61958" y="48140"/>
                  </a:moveTo>
                  <a:cubicBezTo>
                    <a:pt x="57337" y="48140"/>
                    <a:pt x="53058" y="44151"/>
                    <a:pt x="51603" y="40291"/>
                  </a:cubicBezTo>
                  <a:cubicBezTo>
                    <a:pt x="49463" y="33695"/>
                    <a:pt x="48950" y="25873"/>
                    <a:pt x="52458" y="19662"/>
                  </a:cubicBezTo>
                  <a:lnTo>
                    <a:pt x="52801" y="19208"/>
                  </a:lnTo>
                  <a:cubicBezTo>
                    <a:pt x="52715" y="18899"/>
                    <a:pt x="52715" y="18385"/>
                    <a:pt x="52715" y="18084"/>
                  </a:cubicBezTo>
                  <a:cubicBezTo>
                    <a:pt x="44329" y="17578"/>
                    <a:pt x="34658" y="16609"/>
                    <a:pt x="25244" y="15340"/>
                  </a:cubicBezTo>
                  <a:cubicBezTo>
                    <a:pt x="17712" y="14362"/>
                    <a:pt x="7956" y="14096"/>
                    <a:pt x="2136" y="9524"/>
                  </a:cubicBezTo>
                  <a:cubicBezTo>
                    <a:pt x="2050" y="9455"/>
                    <a:pt x="2050" y="9352"/>
                    <a:pt x="2050" y="9250"/>
                  </a:cubicBezTo>
                  <a:cubicBezTo>
                    <a:pt x="2050" y="9130"/>
                    <a:pt x="2136" y="9018"/>
                    <a:pt x="2221" y="8958"/>
                  </a:cubicBezTo>
                  <a:cubicBezTo>
                    <a:pt x="8983" y="6067"/>
                    <a:pt x="16771" y="7448"/>
                    <a:pt x="23960" y="6693"/>
                  </a:cubicBezTo>
                  <a:cubicBezTo>
                    <a:pt x="37140" y="6316"/>
                    <a:pt x="49977" y="5732"/>
                    <a:pt x="62044" y="5004"/>
                  </a:cubicBezTo>
                  <a:cubicBezTo>
                    <a:pt x="65125" y="3700"/>
                    <a:pt x="68719" y="3262"/>
                    <a:pt x="71972" y="4317"/>
                  </a:cubicBezTo>
                  <a:cubicBezTo>
                    <a:pt x="77877" y="3880"/>
                    <a:pt x="84210" y="3237"/>
                    <a:pt x="90201" y="2739"/>
                  </a:cubicBezTo>
                  <a:cubicBezTo>
                    <a:pt x="95593" y="2602"/>
                    <a:pt x="100813" y="1221"/>
                    <a:pt x="106205" y="827"/>
                  </a:cubicBezTo>
                  <a:cubicBezTo>
                    <a:pt x="112966" y="758"/>
                    <a:pt x="119812" y="7697"/>
                    <a:pt x="114079" y="14396"/>
                  </a:cubicBezTo>
                  <a:cubicBezTo>
                    <a:pt x="110056" y="19148"/>
                    <a:pt x="105606" y="18264"/>
                    <a:pt x="100470" y="18445"/>
                  </a:cubicBezTo>
                  <a:cubicBezTo>
                    <a:pt x="94394" y="18685"/>
                    <a:pt x="88318" y="18873"/>
                    <a:pt x="82327" y="18873"/>
                  </a:cubicBezTo>
                  <a:cubicBezTo>
                    <a:pt x="82669" y="30136"/>
                    <a:pt x="75481" y="40017"/>
                    <a:pt x="66751" y="46459"/>
                  </a:cubicBezTo>
                  <a:cubicBezTo>
                    <a:pt x="65382" y="47539"/>
                    <a:pt x="63670" y="48131"/>
                    <a:pt x="61958" y="48140"/>
                  </a:cubicBezTo>
                  <a:lnTo>
                    <a:pt x="61958" y="48140"/>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136" name="Freeform: Shape 135">
              <a:extLst>
                <a:ext uri="{FF2B5EF4-FFF2-40B4-BE49-F238E27FC236}">
                  <a16:creationId xmlns:a16="http://schemas.microsoft.com/office/drawing/2014/main" id="{7E970362-CA1F-C739-7508-6D6DDDD3912E}"/>
                </a:ext>
              </a:extLst>
            </p:cNvPr>
            <p:cNvSpPr/>
            <p:nvPr/>
          </p:nvSpPr>
          <p:spPr>
            <a:xfrm>
              <a:off x="4631024" y="3158353"/>
              <a:ext cx="77979" cy="54931"/>
            </a:xfrm>
            <a:custGeom>
              <a:avLst/>
              <a:gdLst>
                <a:gd name="connsiteX0" fmla="*/ 11187 w 77979"/>
                <a:gd name="connsiteY0" fmla="*/ 55757 h 54931"/>
                <a:gd name="connsiteX1" fmla="*/ 2715 w 77979"/>
                <a:gd name="connsiteY1" fmla="*/ 45172 h 54931"/>
                <a:gd name="connsiteX2" fmla="*/ 2800 w 77979"/>
                <a:gd name="connsiteY2" fmla="*/ 30693 h 54931"/>
                <a:gd name="connsiteX3" fmla="*/ 22826 w 77979"/>
                <a:gd name="connsiteY3" fmla="*/ 4841 h 54931"/>
                <a:gd name="connsiteX4" fmla="*/ 79911 w 77979"/>
                <a:gd name="connsiteY4" fmla="*/ 32735 h 54931"/>
                <a:gd name="connsiteX5" fmla="*/ 75888 w 77979"/>
                <a:gd name="connsiteY5" fmla="*/ 38971 h 54931"/>
                <a:gd name="connsiteX6" fmla="*/ 69041 w 77979"/>
                <a:gd name="connsiteY6" fmla="*/ 40969 h 54931"/>
                <a:gd name="connsiteX7" fmla="*/ 57231 w 77979"/>
                <a:gd name="connsiteY7" fmla="*/ 31337 h 54931"/>
                <a:gd name="connsiteX8" fmla="*/ 28561 w 77979"/>
                <a:gd name="connsiteY8" fmla="*/ 26345 h 54931"/>
                <a:gd name="connsiteX9" fmla="*/ 17263 w 77979"/>
                <a:gd name="connsiteY9" fmla="*/ 40798 h 54931"/>
                <a:gd name="connsiteX10" fmla="*/ 15295 w 77979"/>
                <a:gd name="connsiteY10" fmla="*/ 46545 h 54931"/>
                <a:gd name="connsiteX11" fmla="*/ 11530 w 77979"/>
                <a:gd name="connsiteY11" fmla="*/ 55620 h 54931"/>
                <a:gd name="connsiteX12" fmla="*/ 11187 w 77979"/>
                <a:gd name="connsiteY12" fmla="*/ 55757 h 54931"/>
                <a:gd name="connsiteX13" fmla="*/ 11187 w 77979"/>
                <a:gd name="connsiteY13" fmla="*/ 55757 h 5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979" h="54931">
                  <a:moveTo>
                    <a:pt x="11187" y="55757"/>
                  </a:moveTo>
                  <a:cubicBezTo>
                    <a:pt x="5795" y="54642"/>
                    <a:pt x="3570" y="49324"/>
                    <a:pt x="2715" y="45172"/>
                  </a:cubicBezTo>
                  <a:cubicBezTo>
                    <a:pt x="1773" y="40386"/>
                    <a:pt x="1859" y="35463"/>
                    <a:pt x="2800" y="30693"/>
                  </a:cubicBezTo>
                  <a:cubicBezTo>
                    <a:pt x="5282" y="19697"/>
                    <a:pt x="12728" y="9893"/>
                    <a:pt x="22826" y="4841"/>
                  </a:cubicBezTo>
                  <a:cubicBezTo>
                    <a:pt x="42938" y="-6104"/>
                    <a:pt x="82477" y="6025"/>
                    <a:pt x="79911" y="32735"/>
                  </a:cubicBezTo>
                  <a:cubicBezTo>
                    <a:pt x="79397" y="35265"/>
                    <a:pt x="77942" y="37496"/>
                    <a:pt x="75888" y="38971"/>
                  </a:cubicBezTo>
                  <a:cubicBezTo>
                    <a:pt x="73833" y="40317"/>
                    <a:pt x="71524" y="41012"/>
                    <a:pt x="69041" y="40969"/>
                  </a:cubicBezTo>
                  <a:cubicBezTo>
                    <a:pt x="63478" y="41090"/>
                    <a:pt x="57574" y="37238"/>
                    <a:pt x="57231" y="31337"/>
                  </a:cubicBezTo>
                  <a:cubicBezTo>
                    <a:pt x="51582" y="23180"/>
                    <a:pt x="37376" y="20709"/>
                    <a:pt x="28561" y="26345"/>
                  </a:cubicBezTo>
                  <a:cubicBezTo>
                    <a:pt x="24025" y="29201"/>
                    <a:pt x="20174" y="34064"/>
                    <a:pt x="17263" y="40798"/>
                  </a:cubicBezTo>
                  <a:cubicBezTo>
                    <a:pt x="16493" y="42668"/>
                    <a:pt x="15809" y="44580"/>
                    <a:pt x="15295" y="46545"/>
                  </a:cubicBezTo>
                  <a:cubicBezTo>
                    <a:pt x="14439" y="49736"/>
                    <a:pt x="13498" y="53038"/>
                    <a:pt x="11530" y="55620"/>
                  </a:cubicBezTo>
                  <a:cubicBezTo>
                    <a:pt x="11444" y="55714"/>
                    <a:pt x="11273" y="55766"/>
                    <a:pt x="11187" y="55757"/>
                  </a:cubicBezTo>
                  <a:lnTo>
                    <a:pt x="11187" y="55757"/>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146" name="Rounded Rectangle 4">
              <a:extLst>
                <a:ext uri="{FF2B5EF4-FFF2-40B4-BE49-F238E27FC236}">
                  <a16:creationId xmlns:a16="http://schemas.microsoft.com/office/drawing/2014/main" id="{43F67A25-8B56-F098-A881-3833FA56CA3E}"/>
                </a:ext>
              </a:extLst>
            </p:cNvPr>
            <p:cNvSpPr/>
            <p:nvPr/>
          </p:nvSpPr>
          <p:spPr>
            <a:xfrm>
              <a:off x="5427843" y="3229987"/>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148" name="TextBox 147">
              <a:extLst>
                <a:ext uri="{FF2B5EF4-FFF2-40B4-BE49-F238E27FC236}">
                  <a16:creationId xmlns:a16="http://schemas.microsoft.com/office/drawing/2014/main" id="{04673B93-D298-7924-1380-7662E3E57049}"/>
                </a:ext>
              </a:extLst>
            </p:cNvPr>
            <p:cNvSpPr txBox="1"/>
            <p:nvPr/>
          </p:nvSpPr>
          <p:spPr>
            <a:xfrm>
              <a:off x="5737531" y="4671889"/>
              <a:ext cx="747320" cy="275717"/>
            </a:xfrm>
            <a:prstGeom prst="rect">
              <a:avLst/>
            </a:prstGeom>
            <a:noFill/>
          </p:spPr>
          <p:txBody>
            <a:bodyPr wrap="none" rtlCol="0">
              <a:spAutoFit/>
            </a:bodyPr>
            <a:lstStyle/>
            <a:p>
              <a:pPr algn="ctr">
                <a:lnSpc>
                  <a:spcPct val="70000"/>
                </a:lnSpc>
              </a:pPr>
              <a:r>
                <a:rPr lang="en-US" sz="1600">
                  <a:solidFill>
                    <a:srgbClr val="27333D"/>
                  </a:solidFill>
                  <a:latin typeface="+mj-lt"/>
                </a:rPr>
                <a:t>Sophia</a:t>
              </a:r>
              <a:endParaRPr lang="en-GB" sz="1600">
                <a:solidFill>
                  <a:srgbClr val="27333D"/>
                </a:solidFill>
                <a:latin typeface="+mj-lt"/>
              </a:endParaRPr>
            </a:p>
          </p:txBody>
        </p:sp>
        <p:sp>
          <p:nvSpPr>
            <p:cNvPr id="149" name="Freeform: Shape 148">
              <a:extLst>
                <a:ext uri="{FF2B5EF4-FFF2-40B4-BE49-F238E27FC236}">
                  <a16:creationId xmlns:a16="http://schemas.microsoft.com/office/drawing/2014/main" id="{39A19AF3-8C86-EA0C-BECB-A95259EA369E}"/>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dirty="0">
                <a:solidFill>
                  <a:schemeClr val="bg1"/>
                </a:solidFill>
              </a:endParaRPr>
            </a:p>
          </p:txBody>
        </p:sp>
        <p:sp>
          <p:nvSpPr>
            <p:cNvPr id="151" name="Freeform: Shape 150">
              <a:extLst>
                <a:ext uri="{FF2B5EF4-FFF2-40B4-BE49-F238E27FC236}">
                  <a16:creationId xmlns:a16="http://schemas.microsoft.com/office/drawing/2014/main" id="{40883726-B290-1AB3-FC3A-4DA2EAC0A35D}"/>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52" name="Freeform: Shape 151">
              <a:extLst>
                <a:ext uri="{FF2B5EF4-FFF2-40B4-BE49-F238E27FC236}">
                  <a16:creationId xmlns:a16="http://schemas.microsoft.com/office/drawing/2014/main" id="{C5DB559B-C726-FD41-65D4-11C3C4037A53}"/>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53" name="Freeform: Shape 152">
              <a:extLst>
                <a:ext uri="{FF2B5EF4-FFF2-40B4-BE49-F238E27FC236}">
                  <a16:creationId xmlns:a16="http://schemas.microsoft.com/office/drawing/2014/main" id="{8A1A4A9B-7F06-E454-B18D-31CA90D980EB}"/>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54" name="Freeform: Shape 153">
              <a:extLst>
                <a:ext uri="{FF2B5EF4-FFF2-40B4-BE49-F238E27FC236}">
                  <a16:creationId xmlns:a16="http://schemas.microsoft.com/office/drawing/2014/main" id="{E9F3A83E-1D38-F539-8B4E-ACA54F374BC2}"/>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solidFill>
              <a:schemeClr val="tx2">
                <a:lumMod val="25000"/>
                <a:lumOff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55" name="Freeform: Shape 154">
              <a:extLst>
                <a:ext uri="{FF2B5EF4-FFF2-40B4-BE49-F238E27FC236}">
                  <a16:creationId xmlns:a16="http://schemas.microsoft.com/office/drawing/2014/main" id="{91008CB9-07F2-6B46-96A5-A2E03CEA6487}"/>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solidFill>
              <a:schemeClr val="tx2">
                <a:lumMod val="25000"/>
                <a:lumOff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56" name="Freeform: Shape 155">
              <a:extLst>
                <a:ext uri="{FF2B5EF4-FFF2-40B4-BE49-F238E27FC236}">
                  <a16:creationId xmlns:a16="http://schemas.microsoft.com/office/drawing/2014/main" id="{86865621-6BD0-6713-2F19-149C42FEBD93}"/>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57" name="Freeform: Shape 156">
              <a:extLst>
                <a:ext uri="{FF2B5EF4-FFF2-40B4-BE49-F238E27FC236}">
                  <a16:creationId xmlns:a16="http://schemas.microsoft.com/office/drawing/2014/main" id="{B840652F-F061-7820-0F65-5685E223B08A}"/>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solidFill>
              <a:schemeClr val="tx2">
                <a:lumMod val="25000"/>
                <a:lumOff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58" name="Freeform: Shape 157">
              <a:extLst>
                <a:ext uri="{FF2B5EF4-FFF2-40B4-BE49-F238E27FC236}">
                  <a16:creationId xmlns:a16="http://schemas.microsoft.com/office/drawing/2014/main" id="{CEC630EF-62F1-D652-B4D4-C68C72FE78F6}"/>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solidFill>
              <a:schemeClr val="tx2">
                <a:lumMod val="25000"/>
                <a:lumOff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59" name="Freeform: Shape 158">
              <a:extLst>
                <a:ext uri="{FF2B5EF4-FFF2-40B4-BE49-F238E27FC236}">
                  <a16:creationId xmlns:a16="http://schemas.microsoft.com/office/drawing/2014/main" id="{1F8DF8E5-E9E3-E0A2-4185-C0BD15E9D133}"/>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60" name="Freeform: Shape 159">
              <a:extLst>
                <a:ext uri="{FF2B5EF4-FFF2-40B4-BE49-F238E27FC236}">
                  <a16:creationId xmlns:a16="http://schemas.microsoft.com/office/drawing/2014/main" id="{CA8AE2DE-D410-7D61-9635-02A9D43229C4}"/>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61" name="Freeform: Shape 160">
              <a:extLst>
                <a:ext uri="{FF2B5EF4-FFF2-40B4-BE49-F238E27FC236}">
                  <a16:creationId xmlns:a16="http://schemas.microsoft.com/office/drawing/2014/main" id="{EFA7CFD4-6483-8F0C-ABED-7D6BFAC244D2}"/>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62" name="Freeform: Shape 161">
              <a:extLst>
                <a:ext uri="{FF2B5EF4-FFF2-40B4-BE49-F238E27FC236}">
                  <a16:creationId xmlns:a16="http://schemas.microsoft.com/office/drawing/2014/main" id="{099139A1-0059-1426-A5AE-2110D101F22C}"/>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64" name="Freeform: Shape 163">
              <a:extLst>
                <a:ext uri="{FF2B5EF4-FFF2-40B4-BE49-F238E27FC236}">
                  <a16:creationId xmlns:a16="http://schemas.microsoft.com/office/drawing/2014/main" id="{4F6EFD91-A094-3CE8-FA91-7DFD2A32F01E}"/>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65" name="Freeform: Shape 164">
              <a:extLst>
                <a:ext uri="{FF2B5EF4-FFF2-40B4-BE49-F238E27FC236}">
                  <a16:creationId xmlns:a16="http://schemas.microsoft.com/office/drawing/2014/main" id="{8E5E67A9-B5E3-69DF-F193-FB2E6CEA60B0}"/>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66" name="Freeform: Shape 165">
              <a:extLst>
                <a:ext uri="{FF2B5EF4-FFF2-40B4-BE49-F238E27FC236}">
                  <a16:creationId xmlns:a16="http://schemas.microsoft.com/office/drawing/2014/main" id="{C63867A3-0A4B-1E03-FFF8-8306404E2C1B}"/>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67" name="Freeform: Shape 166">
              <a:extLst>
                <a:ext uri="{FF2B5EF4-FFF2-40B4-BE49-F238E27FC236}">
                  <a16:creationId xmlns:a16="http://schemas.microsoft.com/office/drawing/2014/main" id="{B81E06BA-A9BC-E8AC-A342-928124180D94}"/>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70" name="Freeform: Shape 169">
              <a:extLst>
                <a:ext uri="{FF2B5EF4-FFF2-40B4-BE49-F238E27FC236}">
                  <a16:creationId xmlns:a16="http://schemas.microsoft.com/office/drawing/2014/main" id="{A587BEE6-749B-FA44-5BA9-BA88490CAF6C}"/>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71" name="Freeform: Shape 170">
              <a:extLst>
                <a:ext uri="{FF2B5EF4-FFF2-40B4-BE49-F238E27FC236}">
                  <a16:creationId xmlns:a16="http://schemas.microsoft.com/office/drawing/2014/main" id="{F05A465C-54BA-F1B5-D2DD-D2247B296FE2}"/>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72" name="Freeform: Shape 171">
              <a:extLst>
                <a:ext uri="{FF2B5EF4-FFF2-40B4-BE49-F238E27FC236}">
                  <a16:creationId xmlns:a16="http://schemas.microsoft.com/office/drawing/2014/main" id="{250ECC6B-BAD3-8FAB-2060-0F2B72100D34}"/>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73" name="Freeform: Shape 172">
              <a:extLst>
                <a:ext uri="{FF2B5EF4-FFF2-40B4-BE49-F238E27FC236}">
                  <a16:creationId xmlns:a16="http://schemas.microsoft.com/office/drawing/2014/main" id="{1020F322-C684-C3B8-E096-410AFBE6296D}"/>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74" name="Freeform: Shape 173">
              <a:extLst>
                <a:ext uri="{FF2B5EF4-FFF2-40B4-BE49-F238E27FC236}">
                  <a16:creationId xmlns:a16="http://schemas.microsoft.com/office/drawing/2014/main" id="{B38CB854-CA21-3695-8085-0AD2E46F3FCE}"/>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76" name="Rounded Rectangle 10">
              <a:extLst>
                <a:ext uri="{FF2B5EF4-FFF2-40B4-BE49-F238E27FC236}">
                  <a16:creationId xmlns:a16="http://schemas.microsoft.com/office/drawing/2014/main" id="{FA49294E-5C63-A75C-2538-FAAD0BCF8654}"/>
                </a:ext>
              </a:extLst>
            </p:cNvPr>
            <p:cNvSpPr/>
            <p:nvPr/>
          </p:nvSpPr>
          <p:spPr>
            <a:xfrm>
              <a:off x="7070202" y="3229987"/>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178" name="TextBox 177">
              <a:extLst>
                <a:ext uri="{FF2B5EF4-FFF2-40B4-BE49-F238E27FC236}">
                  <a16:creationId xmlns:a16="http://schemas.microsoft.com/office/drawing/2014/main" id="{ABE937C5-38D4-654E-3758-36FC8D0DC6E7}"/>
                </a:ext>
              </a:extLst>
            </p:cNvPr>
            <p:cNvSpPr txBox="1"/>
            <p:nvPr/>
          </p:nvSpPr>
          <p:spPr>
            <a:xfrm>
              <a:off x="7423179" y="4671889"/>
              <a:ext cx="660758" cy="275717"/>
            </a:xfrm>
            <a:prstGeom prst="rect">
              <a:avLst/>
            </a:prstGeom>
            <a:noFill/>
          </p:spPr>
          <p:txBody>
            <a:bodyPr wrap="none" rtlCol="0">
              <a:spAutoFit/>
            </a:bodyPr>
            <a:lstStyle/>
            <a:p>
              <a:pPr algn="ctr">
                <a:lnSpc>
                  <a:spcPct val="70000"/>
                </a:lnSpc>
              </a:pPr>
              <a:r>
                <a:rPr lang="en-US" sz="1600">
                  <a:solidFill>
                    <a:srgbClr val="27333D"/>
                  </a:solidFill>
                  <a:latin typeface="+mj-lt"/>
                </a:rPr>
                <a:t>Diana</a:t>
              </a:r>
              <a:endParaRPr lang="en-GB" sz="1600">
                <a:solidFill>
                  <a:srgbClr val="27333D"/>
                </a:solidFill>
                <a:latin typeface="+mj-lt"/>
              </a:endParaRPr>
            </a:p>
          </p:txBody>
        </p:sp>
        <p:sp>
          <p:nvSpPr>
            <p:cNvPr id="179" name="Freeform: Shape 178">
              <a:extLst>
                <a:ext uri="{FF2B5EF4-FFF2-40B4-BE49-F238E27FC236}">
                  <a16:creationId xmlns:a16="http://schemas.microsoft.com/office/drawing/2014/main" id="{50D88B89-EAE0-AC75-F85B-EB0F035BED88}"/>
                </a:ext>
              </a:extLst>
            </p:cNvPr>
            <p:cNvSpPr/>
            <p:nvPr/>
          </p:nvSpPr>
          <p:spPr>
            <a:xfrm>
              <a:off x="7203157" y="3388531"/>
              <a:ext cx="1093374" cy="1055352"/>
            </a:xfrm>
            <a:custGeom>
              <a:avLst/>
              <a:gdLst>
                <a:gd name="connsiteX0" fmla="*/ 1075377 w 1093374"/>
                <a:gd name="connsiteY0" fmla="*/ 942833 h 1055352"/>
                <a:gd name="connsiteX1" fmla="*/ 1066286 w 1093374"/>
                <a:gd name="connsiteY1" fmla="*/ 867022 h 1055352"/>
                <a:gd name="connsiteX2" fmla="*/ 1066286 w 1093374"/>
                <a:gd name="connsiteY2" fmla="*/ 865744 h 1055352"/>
                <a:gd name="connsiteX3" fmla="*/ 1059766 w 1093374"/>
                <a:gd name="connsiteY3" fmla="*/ 780068 h 1055352"/>
                <a:gd name="connsiteX4" fmla="*/ 1040480 w 1093374"/>
                <a:gd name="connsiteY4" fmla="*/ 641234 h 1055352"/>
                <a:gd name="connsiteX5" fmla="*/ 996307 w 1093374"/>
                <a:gd name="connsiteY5" fmla="*/ 414989 h 1055352"/>
                <a:gd name="connsiteX6" fmla="*/ 939462 w 1093374"/>
                <a:gd name="connsiteY6" fmla="*/ 285838 h 1055352"/>
                <a:gd name="connsiteX7" fmla="*/ 822557 w 1093374"/>
                <a:gd name="connsiteY7" fmla="*/ 193768 h 1055352"/>
                <a:gd name="connsiteX8" fmla="*/ 747894 w 1093374"/>
                <a:gd name="connsiteY8" fmla="*/ 164815 h 1055352"/>
                <a:gd name="connsiteX9" fmla="*/ 716120 w 1093374"/>
                <a:gd name="connsiteY9" fmla="*/ 59593 h 1055352"/>
                <a:gd name="connsiteX10" fmla="*/ 701887 w 1093374"/>
                <a:gd name="connsiteY10" fmla="*/ 25796 h 1055352"/>
                <a:gd name="connsiteX11" fmla="*/ 527126 w 1093374"/>
                <a:gd name="connsiteY11" fmla="*/ 23329 h 1055352"/>
                <a:gd name="connsiteX12" fmla="*/ 515922 w 1093374"/>
                <a:gd name="connsiteY12" fmla="*/ 37944 h 1055352"/>
                <a:gd name="connsiteX13" fmla="*/ 512063 w 1093374"/>
                <a:gd name="connsiteY13" fmla="*/ 62331 h 1055352"/>
                <a:gd name="connsiteX14" fmla="*/ 344925 w 1093374"/>
                <a:gd name="connsiteY14" fmla="*/ 171391 h 1055352"/>
                <a:gd name="connsiteX15" fmla="*/ 22677 w 1093374"/>
                <a:gd name="connsiteY15" fmla="*/ 575197 h 1055352"/>
                <a:gd name="connsiteX16" fmla="*/ 14045 w 1093374"/>
                <a:gd name="connsiteY16" fmla="*/ 638128 h 1055352"/>
                <a:gd name="connsiteX17" fmla="*/ 3944 w 1093374"/>
                <a:gd name="connsiteY17" fmla="*/ 816786 h 1055352"/>
                <a:gd name="connsiteX18" fmla="*/ 26903 w 1093374"/>
                <a:gd name="connsiteY18" fmla="*/ 1058832 h 1055352"/>
                <a:gd name="connsiteX19" fmla="*/ 1093836 w 1093374"/>
                <a:gd name="connsiteY19" fmla="*/ 1058466 h 1055352"/>
                <a:gd name="connsiteX20" fmla="*/ 1097049 w 1093374"/>
                <a:gd name="connsiteY20" fmla="*/ 1054631 h 1055352"/>
                <a:gd name="connsiteX21" fmla="*/ 1075377 w 1093374"/>
                <a:gd name="connsiteY21" fmla="*/ 942833 h 105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3374" h="1055352">
                  <a:moveTo>
                    <a:pt x="1075377" y="942833"/>
                  </a:moveTo>
                  <a:cubicBezTo>
                    <a:pt x="1072346" y="927397"/>
                    <a:pt x="1066378" y="878256"/>
                    <a:pt x="1066286" y="867022"/>
                  </a:cubicBezTo>
                  <a:lnTo>
                    <a:pt x="1066286" y="865744"/>
                  </a:lnTo>
                  <a:cubicBezTo>
                    <a:pt x="1066194" y="846196"/>
                    <a:pt x="1063990" y="817334"/>
                    <a:pt x="1059766" y="780068"/>
                  </a:cubicBezTo>
                  <a:cubicBezTo>
                    <a:pt x="1055450" y="742801"/>
                    <a:pt x="1049020" y="696128"/>
                    <a:pt x="1040480" y="641234"/>
                  </a:cubicBezTo>
                  <a:cubicBezTo>
                    <a:pt x="1040480" y="641234"/>
                    <a:pt x="1000899" y="431339"/>
                    <a:pt x="996307" y="414989"/>
                  </a:cubicBezTo>
                  <a:cubicBezTo>
                    <a:pt x="981707" y="374161"/>
                    <a:pt x="960492" y="328583"/>
                    <a:pt x="939462" y="285838"/>
                  </a:cubicBezTo>
                  <a:cubicBezTo>
                    <a:pt x="910259" y="219069"/>
                    <a:pt x="884361" y="212767"/>
                    <a:pt x="822557" y="193768"/>
                  </a:cubicBezTo>
                  <a:cubicBezTo>
                    <a:pt x="791058" y="190113"/>
                    <a:pt x="763048" y="191850"/>
                    <a:pt x="747894" y="164815"/>
                  </a:cubicBezTo>
                  <a:cubicBezTo>
                    <a:pt x="730814" y="137230"/>
                    <a:pt x="721722" y="88912"/>
                    <a:pt x="716120" y="59593"/>
                  </a:cubicBezTo>
                  <a:cubicBezTo>
                    <a:pt x="711252" y="42054"/>
                    <a:pt x="715936" y="35112"/>
                    <a:pt x="701887" y="25796"/>
                  </a:cubicBezTo>
                  <a:cubicBezTo>
                    <a:pt x="649723" y="-3066"/>
                    <a:pt x="580022" y="-3981"/>
                    <a:pt x="527126" y="23329"/>
                  </a:cubicBezTo>
                  <a:cubicBezTo>
                    <a:pt x="520787" y="27167"/>
                    <a:pt x="516288" y="32463"/>
                    <a:pt x="515922" y="37944"/>
                  </a:cubicBezTo>
                  <a:cubicBezTo>
                    <a:pt x="515371" y="47353"/>
                    <a:pt x="512063" y="62331"/>
                    <a:pt x="512063" y="62331"/>
                  </a:cubicBezTo>
                  <a:cubicBezTo>
                    <a:pt x="494248" y="165727"/>
                    <a:pt x="436668" y="150565"/>
                    <a:pt x="344925" y="171391"/>
                  </a:cubicBezTo>
                  <a:cubicBezTo>
                    <a:pt x="141696" y="245007"/>
                    <a:pt x="49862" y="475182"/>
                    <a:pt x="22677" y="575197"/>
                  </a:cubicBezTo>
                  <a:lnTo>
                    <a:pt x="14045" y="638128"/>
                  </a:lnTo>
                  <a:cubicBezTo>
                    <a:pt x="14045" y="638128"/>
                    <a:pt x="2106" y="735496"/>
                    <a:pt x="3944" y="816786"/>
                  </a:cubicBezTo>
                  <a:cubicBezTo>
                    <a:pt x="5781" y="898076"/>
                    <a:pt x="26903" y="1058832"/>
                    <a:pt x="26903" y="1058832"/>
                  </a:cubicBezTo>
                  <a:lnTo>
                    <a:pt x="1093836" y="1058466"/>
                  </a:lnTo>
                  <a:cubicBezTo>
                    <a:pt x="1095856" y="1058466"/>
                    <a:pt x="1097509" y="1056640"/>
                    <a:pt x="1097049" y="1054631"/>
                  </a:cubicBezTo>
                  <a:cubicBezTo>
                    <a:pt x="1093744" y="1037732"/>
                    <a:pt x="1080613" y="969777"/>
                    <a:pt x="1075377" y="942833"/>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180" name="Freeform: Shape 179">
              <a:extLst>
                <a:ext uri="{FF2B5EF4-FFF2-40B4-BE49-F238E27FC236}">
                  <a16:creationId xmlns:a16="http://schemas.microsoft.com/office/drawing/2014/main" id="{B56C1B05-9409-1E05-CECC-B1B06D5CD665}"/>
                </a:ext>
              </a:extLst>
            </p:cNvPr>
            <p:cNvSpPr/>
            <p:nvPr/>
          </p:nvSpPr>
          <p:spPr>
            <a:xfrm>
              <a:off x="7192382" y="3420073"/>
              <a:ext cx="1119708" cy="1039155"/>
            </a:xfrm>
            <a:custGeom>
              <a:avLst/>
              <a:gdLst>
                <a:gd name="connsiteX0" fmla="*/ 235672 w 1119708"/>
                <a:gd name="connsiteY0" fmla="*/ 1042634 h 1039155"/>
                <a:gd name="connsiteX1" fmla="*/ 213356 w 1119708"/>
                <a:gd name="connsiteY1" fmla="*/ 942619 h 1039155"/>
                <a:gd name="connsiteX2" fmla="*/ 219968 w 1119708"/>
                <a:gd name="connsiteY2" fmla="*/ 655178 h 1039155"/>
                <a:gd name="connsiteX3" fmla="*/ 219051 w 1119708"/>
                <a:gd name="connsiteY3" fmla="*/ 605856 h 1039155"/>
                <a:gd name="connsiteX4" fmla="*/ 35840 w 1119708"/>
                <a:gd name="connsiteY4" fmla="*/ 551325 h 1039155"/>
                <a:gd name="connsiteX5" fmla="*/ 51911 w 1119708"/>
                <a:gd name="connsiteY5" fmla="*/ 1021171 h 1039155"/>
                <a:gd name="connsiteX6" fmla="*/ 25647 w 1119708"/>
                <a:gd name="connsiteY6" fmla="*/ 1024732 h 1039155"/>
                <a:gd name="connsiteX7" fmla="*/ 4249 w 1119708"/>
                <a:gd name="connsiteY7" fmla="*/ 819495 h 1039155"/>
                <a:gd name="connsiteX8" fmla="*/ 30790 w 1119708"/>
                <a:gd name="connsiteY8" fmla="*/ 547033 h 1039155"/>
                <a:gd name="connsiteX9" fmla="*/ 24176 w 1119708"/>
                <a:gd name="connsiteY9" fmla="*/ 540000 h 1039155"/>
                <a:gd name="connsiteX10" fmla="*/ 32443 w 1119708"/>
                <a:gd name="connsiteY10" fmla="*/ 462362 h 1039155"/>
                <a:gd name="connsiteX11" fmla="*/ 396198 w 1119708"/>
                <a:gd name="connsiteY11" fmla="*/ 120118 h 1039155"/>
                <a:gd name="connsiteX12" fmla="*/ 423107 w 1119708"/>
                <a:gd name="connsiteY12" fmla="*/ 122950 h 1039155"/>
                <a:gd name="connsiteX13" fmla="*/ 425127 w 1119708"/>
                <a:gd name="connsiteY13" fmla="*/ 124411 h 1039155"/>
                <a:gd name="connsiteX14" fmla="*/ 430728 w 1119708"/>
                <a:gd name="connsiteY14" fmla="*/ 140303 h 1039155"/>
                <a:gd name="connsiteX15" fmla="*/ 490972 w 1119708"/>
                <a:gd name="connsiteY15" fmla="*/ 219038 h 1039155"/>
                <a:gd name="connsiteX16" fmla="*/ 769231 w 1119708"/>
                <a:gd name="connsiteY16" fmla="*/ 161586 h 1039155"/>
                <a:gd name="connsiteX17" fmla="*/ 768128 w 1119708"/>
                <a:gd name="connsiteY17" fmla="*/ 160491 h 1039155"/>
                <a:gd name="connsiteX18" fmla="*/ 722762 w 1119708"/>
                <a:gd name="connsiteY18" fmla="*/ 62575 h 1039155"/>
                <a:gd name="connsiteX19" fmla="*/ 734885 w 1119708"/>
                <a:gd name="connsiteY19" fmla="*/ 51980 h 1039155"/>
                <a:gd name="connsiteX20" fmla="*/ 734885 w 1119708"/>
                <a:gd name="connsiteY20" fmla="*/ 51980 h 1039155"/>
                <a:gd name="connsiteX21" fmla="*/ 738833 w 1119708"/>
                <a:gd name="connsiteY21" fmla="*/ 62666 h 1039155"/>
                <a:gd name="connsiteX22" fmla="*/ 738833 w 1119708"/>
                <a:gd name="connsiteY22" fmla="*/ 62666 h 1039155"/>
                <a:gd name="connsiteX23" fmla="*/ 768955 w 1119708"/>
                <a:gd name="connsiteY23" fmla="*/ 128886 h 1039155"/>
                <a:gd name="connsiteX24" fmla="*/ 768955 w 1119708"/>
                <a:gd name="connsiteY24" fmla="*/ 128886 h 1039155"/>
                <a:gd name="connsiteX25" fmla="*/ 768955 w 1119708"/>
                <a:gd name="connsiteY25" fmla="*/ 128886 h 1039155"/>
                <a:gd name="connsiteX26" fmla="*/ 771987 w 1119708"/>
                <a:gd name="connsiteY26" fmla="*/ 132175 h 1039155"/>
                <a:gd name="connsiteX27" fmla="*/ 776303 w 1119708"/>
                <a:gd name="connsiteY27" fmla="*/ 128248 h 1039155"/>
                <a:gd name="connsiteX28" fmla="*/ 848575 w 1119708"/>
                <a:gd name="connsiteY28" fmla="*/ 143044 h 1039155"/>
                <a:gd name="connsiteX29" fmla="*/ 922319 w 1119708"/>
                <a:gd name="connsiteY29" fmla="*/ 178850 h 1039155"/>
                <a:gd name="connsiteX30" fmla="*/ 1066315 w 1119708"/>
                <a:gd name="connsiteY30" fmla="*/ 454600 h 1039155"/>
                <a:gd name="connsiteX31" fmla="*/ 1118203 w 1119708"/>
                <a:gd name="connsiteY31" fmla="*/ 612341 h 1039155"/>
                <a:gd name="connsiteX32" fmla="*/ 1060530 w 1119708"/>
                <a:gd name="connsiteY32" fmla="*/ 648419 h 1039155"/>
                <a:gd name="connsiteX33" fmla="*/ 1110580 w 1119708"/>
                <a:gd name="connsiteY33" fmla="*/ 967006 h 1039155"/>
                <a:gd name="connsiteX34" fmla="*/ 1110580 w 1119708"/>
                <a:gd name="connsiteY34" fmla="*/ 967006 h 1039155"/>
                <a:gd name="connsiteX35" fmla="*/ 1122610 w 1119708"/>
                <a:gd name="connsiteY35" fmla="*/ 1017882 h 1039155"/>
                <a:gd name="connsiteX36" fmla="*/ 1094784 w 1119708"/>
                <a:gd name="connsiteY36" fmla="*/ 1018522 h 1039155"/>
                <a:gd name="connsiteX37" fmla="*/ 1053643 w 1119708"/>
                <a:gd name="connsiteY37" fmla="*/ 801228 h 1039155"/>
                <a:gd name="connsiteX38" fmla="*/ 1051531 w 1119708"/>
                <a:gd name="connsiteY38" fmla="*/ 651251 h 1039155"/>
                <a:gd name="connsiteX39" fmla="*/ 1022144 w 1119708"/>
                <a:gd name="connsiteY39" fmla="*/ 659745 h 1039155"/>
                <a:gd name="connsiteX40" fmla="*/ 1006349 w 1119708"/>
                <a:gd name="connsiteY40" fmla="*/ 662943 h 1039155"/>
                <a:gd name="connsiteX41" fmla="*/ 982011 w 1119708"/>
                <a:gd name="connsiteY41" fmla="*/ 665043 h 1039155"/>
                <a:gd name="connsiteX42" fmla="*/ 1018929 w 1119708"/>
                <a:gd name="connsiteY42" fmla="*/ 1028568 h 1039155"/>
                <a:gd name="connsiteX43" fmla="*/ 1018837 w 1119708"/>
                <a:gd name="connsiteY43" fmla="*/ 1028568 h 1039155"/>
                <a:gd name="connsiteX44" fmla="*/ 995143 w 1119708"/>
                <a:gd name="connsiteY44" fmla="*/ 1030030 h 1039155"/>
                <a:gd name="connsiteX45" fmla="*/ 921034 w 1119708"/>
                <a:gd name="connsiteY45" fmla="*/ 1032680 h 1039155"/>
                <a:gd name="connsiteX46" fmla="*/ 751416 w 1119708"/>
                <a:gd name="connsiteY46" fmla="*/ 1034963 h 1039155"/>
                <a:gd name="connsiteX47" fmla="*/ 242375 w 1119708"/>
                <a:gd name="connsiteY47" fmla="*/ 1038250 h 1039155"/>
                <a:gd name="connsiteX48" fmla="*/ 235672 w 1119708"/>
                <a:gd name="connsiteY48" fmla="*/ 1042634 h 1039155"/>
                <a:gd name="connsiteX49" fmla="*/ 459841 w 1119708"/>
                <a:gd name="connsiteY49" fmla="*/ 139849 h 1039155"/>
                <a:gd name="connsiteX50" fmla="*/ 455249 w 1119708"/>
                <a:gd name="connsiteY50" fmla="*/ 112539 h 1039155"/>
                <a:gd name="connsiteX51" fmla="*/ 520910 w 1119708"/>
                <a:gd name="connsiteY51" fmla="*/ 21383 h 1039155"/>
                <a:gd name="connsiteX52" fmla="*/ 520910 w 1119708"/>
                <a:gd name="connsiteY52" fmla="*/ 21383 h 1039155"/>
                <a:gd name="connsiteX53" fmla="*/ 527246 w 1119708"/>
                <a:gd name="connsiteY53" fmla="*/ 3479 h 1039155"/>
                <a:gd name="connsiteX54" fmla="*/ 532390 w 1119708"/>
                <a:gd name="connsiteY54" fmla="*/ 41203 h 1039155"/>
                <a:gd name="connsiteX55" fmla="*/ 459841 w 1119708"/>
                <a:gd name="connsiteY55" fmla="*/ 139849 h 103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19708" h="1039155">
                  <a:moveTo>
                    <a:pt x="235672" y="1042634"/>
                  </a:moveTo>
                  <a:cubicBezTo>
                    <a:pt x="214368" y="1036241"/>
                    <a:pt x="216572" y="961527"/>
                    <a:pt x="213356" y="942619"/>
                  </a:cubicBezTo>
                  <a:cubicBezTo>
                    <a:pt x="206928" y="847445"/>
                    <a:pt x="207112" y="747431"/>
                    <a:pt x="219968" y="655178"/>
                  </a:cubicBezTo>
                  <a:cubicBezTo>
                    <a:pt x="219876" y="639011"/>
                    <a:pt x="218867" y="622295"/>
                    <a:pt x="219051" y="605856"/>
                  </a:cubicBezTo>
                  <a:cubicBezTo>
                    <a:pt x="158072" y="592611"/>
                    <a:pt x="91216" y="583842"/>
                    <a:pt x="35840" y="551325"/>
                  </a:cubicBezTo>
                  <a:cubicBezTo>
                    <a:pt x="22616" y="715554"/>
                    <a:pt x="26199" y="866808"/>
                    <a:pt x="51911" y="1021171"/>
                  </a:cubicBezTo>
                  <a:cubicBezTo>
                    <a:pt x="53473" y="1036149"/>
                    <a:pt x="28952" y="1038707"/>
                    <a:pt x="25647" y="1024732"/>
                  </a:cubicBezTo>
                  <a:cubicBezTo>
                    <a:pt x="12881" y="958421"/>
                    <a:pt x="6453" y="887908"/>
                    <a:pt x="4249" y="819495"/>
                  </a:cubicBezTo>
                  <a:cubicBezTo>
                    <a:pt x="1402" y="729163"/>
                    <a:pt x="10861" y="638554"/>
                    <a:pt x="30790" y="547033"/>
                  </a:cubicBezTo>
                  <a:cubicBezTo>
                    <a:pt x="28403" y="544932"/>
                    <a:pt x="26107" y="542649"/>
                    <a:pt x="24176" y="540000"/>
                  </a:cubicBezTo>
                  <a:cubicBezTo>
                    <a:pt x="1126" y="536621"/>
                    <a:pt x="29228" y="476794"/>
                    <a:pt x="32443" y="462362"/>
                  </a:cubicBezTo>
                  <a:cubicBezTo>
                    <a:pt x="85156" y="310468"/>
                    <a:pt x="225020" y="134642"/>
                    <a:pt x="396198" y="120118"/>
                  </a:cubicBezTo>
                  <a:cubicBezTo>
                    <a:pt x="404557" y="115005"/>
                    <a:pt x="415484" y="117469"/>
                    <a:pt x="423107" y="122950"/>
                  </a:cubicBezTo>
                  <a:cubicBezTo>
                    <a:pt x="423107" y="122950"/>
                    <a:pt x="425127" y="124319"/>
                    <a:pt x="425127" y="124411"/>
                  </a:cubicBezTo>
                  <a:cubicBezTo>
                    <a:pt x="430360" y="127791"/>
                    <a:pt x="434311" y="134276"/>
                    <a:pt x="430728" y="140303"/>
                  </a:cubicBezTo>
                  <a:cubicBezTo>
                    <a:pt x="454606" y="163687"/>
                    <a:pt x="463054" y="198944"/>
                    <a:pt x="490972" y="219038"/>
                  </a:cubicBezTo>
                  <a:cubicBezTo>
                    <a:pt x="575092" y="292932"/>
                    <a:pt x="737916" y="282152"/>
                    <a:pt x="769231" y="161586"/>
                  </a:cubicBezTo>
                  <a:cubicBezTo>
                    <a:pt x="769415" y="160946"/>
                    <a:pt x="768864" y="160400"/>
                    <a:pt x="768128" y="160491"/>
                  </a:cubicBezTo>
                  <a:cubicBezTo>
                    <a:pt x="739753" y="164601"/>
                    <a:pt x="723774" y="83766"/>
                    <a:pt x="722762" y="62575"/>
                  </a:cubicBezTo>
                  <a:cubicBezTo>
                    <a:pt x="721753" y="45130"/>
                    <a:pt x="723957" y="17637"/>
                    <a:pt x="734885" y="51980"/>
                  </a:cubicBezTo>
                  <a:lnTo>
                    <a:pt x="734885" y="51980"/>
                  </a:lnTo>
                  <a:cubicBezTo>
                    <a:pt x="736262" y="55544"/>
                    <a:pt x="737457" y="58922"/>
                    <a:pt x="738833" y="62666"/>
                  </a:cubicBezTo>
                  <a:lnTo>
                    <a:pt x="738833" y="62666"/>
                  </a:lnTo>
                  <a:cubicBezTo>
                    <a:pt x="746640" y="84771"/>
                    <a:pt x="756649" y="107514"/>
                    <a:pt x="768955" y="128886"/>
                  </a:cubicBezTo>
                  <a:lnTo>
                    <a:pt x="768955" y="128886"/>
                  </a:lnTo>
                  <a:lnTo>
                    <a:pt x="768955" y="128886"/>
                  </a:lnTo>
                  <a:cubicBezTo>
                    <a:pt x="769507" y="130166"/>
                    <a:pt x="771435" y="133090"/>
                    <a:pt x="771987" y="132175"/>
                  </a:cubicBezTo>
                  <a:cubicBezTo>
                    <a:pt x="772812" y="130715"/>
                    <a:pt x="775292" y="128340"/>
                    <a:pt x="776303" y="128248"/>
                  </a:cubicBezTo>
                  <a:cubicBezTo>
                    <a:pt x="795862" y="126056"/>
                    <a:pt x="826628" y="136834"/>
                    <a:pt x="848575" y="143044"/>
                  </a:cubicBezTo>
                  <a:cubicBezTo>
                    <a:pt x="869238" y="149620"/>
                    <a:pt x="906248" y="163047"/>
                    <a:pt x="922319" y="178850"/>
                  </a:cubicBezTo>
                  <a:cubicBezTo>
                    <a:pt x="999735" y="252376"/>
                    <a:pt x="1036287" y="354948"/>
                    <a:pt x="1066315" y="454600"/>
                  </a:cubicBezTo>
                  <a:cubicBezTo>
                    <a:pt x="1083213" y="507485"/>
                    <a:pt x="1101028" y="559547"/>
                    <a:pt x="1118203" y="612341"/>
                  </a:cubicBezTo>
                  <a:cubicBezTo>
                    <a:pt x="1123711" y="638371"/>
                    <a:pt x="1076601" y="639834"/>
                    <a:pt x="1060530" y="648419"/>
                  </a:cubicBezTo>
                  <a:cubicBezTo>
                    <a:pt x="1089000" y="751632"/>
                    <a:pt x="1078529" y="865622"/>
                    <a:pt x="1110580" y="967006"/>
                  </a:cubicBezTo>
                  <a:lnTo>
                    <a:pt x="1110580" y="967006"/>
                  </a:lnTo>
                  <a:cubicBezTo>
                    <a:pt x="1112967" y="984087"/>
                    <a:pt x="1127018" y="1000437"/>
                    <a:pt x="1122610" y="1017882"/>
                  </a:cubicBezTo>
                  <a:cubicBezTo>
                    <a:pt x="1118938" y="1030670"/>
                    <a:pt x="1097264" y="1033226"/>
                    <a:pt x="1094784" y="1018522"/>
                  </a:cubicBezTo>
                  <a:cubicBezTo>
                    <a:pt x="1069438" y="948738"/>
                    <a:pt x="1056306" y="875576"/>
                    <a:pt x="1053643" y="801228"/>
                  </a:cubicBezTo>
                  <a:cubicBezTo>
                    <a:pt x="1049878" y="747794"/>
                    <a:pt x="1047490" y="699750"/>
                    <a:pt x="1051531" y="651251"/>
                  </a:cubicBezTo>
                  <a:cubicBezTo>
                    <a:pt x="1041336" y="654355"/>
                    <a:pt x="1032244" y="657187"/>
                    <a:pt x="1022144" y="659745"/>
                  </a:cubicBezTo>
                  <a:cubicBezTo>
                    <a:pt x="1017001" y="661297"/>
                    <a:pt x="1011765" y="662943"/>
                    <a:pt x="1006349" y="662943"/>
                  </a:cubicBezTo>
                  <a:cubicBezTo>
                    <a:pt x="998266" y="664220"/>
                    <a:pt x="990094" y="664952"/>
                    <a:pt x="982011" y="665043"/>
                  </a:cubicBezTo>
                  <a:cubicBezTo>
                    <a:pt x="987890" y="790542"/>
                    <a:pt x="1004237" y="908550"/>
                    <a:pt x="1018929" y="1028568"/>
                  </a:cubicBezTo>
                  <a:cubicBezTo>
                    <a:pt x="1018929" y="1028568"/>
                    <a:pt x="1018929" y="1028568"/>
                    <a:pt x="1018837" y="1028568"/>
                  </a:cubicBezTo>
                  <a:cubicBezTo>
                    <a:pt x="1016449" y="1039985"/>
                    <a:pt x="999185" y="1040716"/>
                    <a:pt x="995143" y="1030030"/>
                  </a:cubicBezTo>
                  <a:cubicBezTo>
                    <a:pt x="989542" y="1033866"/>
                    <a:pt x="928655" y="1031948"/>
                    <a:pt x="921034" y="1032680"/>
                  </a:cubicBezTo>
                  <a:cubicBezTo>
                    <a:pt x="868045" y="1033226"/>
                    <a:pt x="805781" y="1034140"/>
                    <a:pt x="751416" y="1034963"/>
                  </a:cubicBezTo>
                  <a:cubicBezTo>
                    <a:pt x="582991" y="1038067"/>
                    <a:pt x="410525" y="1039985"/>
                    <a:pt x="242375" y="1038250"/>
                  </a:cubicBezTo>
                  <a:cubicBezTo>
                    <a:pt x="241183" y="1040899"/>
                    <a:pt x="238611" y="1042543"/>
                    <a:pt x="235672" y="1042634"/>
                  </a:cubicBezTo>
                  <a:close/>
                  <a:moveTo>
                    <a:pt x="459841" y="139849"/>
                  </a:moveTo>
                  <a:cubicBezTo>
                    <a:pt x="446158" y="139483"/>
                    <a:pt x="440739" y="116283"/>
                    <a:pt x="455249" y="112539"/>
                  </a:cubicBezTo>
                  <a:cubicBezTo>
                    <a:pt x="489687" y="94362"/>
                    <a:pt x="510350" y="57553"/>
                    <a:pt x="520910" y="21383"/>
                  </a:cubicBezTo>
                  <a:lnTo>
                    <a:pt x="520910" y="21383"/>
                  </a:lnTo>
                  <a:cubicBezTo>
                    <a:pt x="522930" y="15628"/>
                    <a:pt x="523942" y="8503"/>
                    <a:pt x="527246" y="3479"/>
                  </a:cubicBezTo>
                  <a:cubicBezTo>
                    <a:pt x="533674" y="14441"/>
                    <a:pt x="533858" y="28688"/>
                    <a:pt x="532390" y="41203"/>
                  </a:cubicBezTo>
                  <a:cubicBezTo>
                    <a:pt x="526421" y="82214"/>
                    <a:pt x="497676" y="122676"/>
                    <a:pt x="459841" y="139849"/>
                  </a:cubicBezTo>
                  <a:close/>
                </a:path>
              </a:pathLst>
            </a:custGeom>
            <a:solidFill>
              <a:srgbClr val="EFB7C8"/>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81" name="Freeform: Shape 180">
              <a:extLst>
                <a:ext uri="{FF2B5EF4-FFF2-40B4-BE49-F238E27FC236}">
                  <a16:creationId xmlns:a16="http://schemas.microsoft.com/office/drawing/2014/main" id="{81D6BF61-FCE2-C632-B8D4-E5A7FC46CBA7}"/>
                </a:ext>
              </a:extLst>
            </p:cNvPr>
            <p:cNvSpPr/>
            <p:nvPr/>
          </p:nvSpPr>
          <p:spPr>
            <a:xfrm>
              <a:off x="7507693" y="2931718"/>
              <a:ext cx="527542" cy="546603"/>
            </a:xfrm>
            <a:custGeom>
              <a:avLst/>
              <a:gdLst>
                <a:gd name="connsiteX0" fmla="*/ 320846 w 527542"/>
                <a:gd name="connsiteY0" fmla="*/ 1322 h 546603"/>
                <a:gd name="connsiteX1" fmla="*/ 57061 w 527542"/>
                <a:gd name="connsiteY1" fmla="*/ 179057 h 546603"/>
                <a:gd name="connsiteX2" fmla="*/ 4090 w 527542"/>
                <a:gd name="connsiteY2" fmla="*/ 422482 h 546603"/>
                <a:gd name="connsiteX3" fmla="*/ 176739 w 527542"/>
                <a:gd name="connsiteY3" fmla="*/ 489707 h 546603"/>
                <a:gd name="connsiteX4" fmla="*/ 315658 w 527542"/>
                <a:gd name="connsiteY4" fmla="*/ 546328 h 546603"/>
                <a:gd name="connsiteX5" fmla="*/ 452978 w 527542"/>
                <a:gd name="connsiteY5" fmla="*/ 511628 h 546603"/>
                <a:gd name="connsiteX6" fmla="*/ 526133 w 527542"/>
                <a:gd name="connsiteY6" fmla="*/ 367624 h 546603"/>
                <a:gd name="connsiteX7" fmla="*/ 498693 w 527542"/>
                <a:gd name="connsiteY7" fmla="*/ 50644 h 546603"/>
                <a:gd name="connsiteX8" fmla="*/ 320846 w 527542"/>
                <a:gd name="connsiteY8" fmla="*/ 1322 h 54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542" h="546603">
                  <a:moveTo>
                    <a:pt x="320846" y="1322"/>
                  </a:moveTo>
                  <a:cubicBezTo>
                    <a:pt x="234044" y="8172"/>
                    <a:pt x="101215" y="119047"/>
                    <a:pt x="57061" y="179057"/>
                  </a:cubicBezTo>
                  <a:cubicBezTo>
                    <a:pt x="12907" y="239066"/>
                    <a:pt x="-9868" y="369871"/>
                    <a:pt x="4090" y="422482"/>
                  </a:cubicBezTo>
                  <a:cubicBezTo>
                    <a:pt x="18049" y="475093"/>
                    <a:pt x="176739" y="489707"/>
                    <a:pt x="176739" y="489707"/>
                  </a:cubicBezTo>
                  <a:cubicBezTo>
                    <a:pt x="176739" y="489707"/>
                    <a:pt x="223805" y="543112"/>
                    <a:pt x="315658" y="546328"/>
                  </a:cubicBezTo>
                  <a:cubicBezTo>
                    <a:pt x="354301" y="547679"/>
                    <a:pt x="416244" y="545241"/>
                    <a:pt x="452978" y="511628"/>
                  </a:cubicBezTo>
                  <a:cubicBezTo>
                    <a:pt x="489711" y="478016"/>
                    <a:pt x="523488" y="402397"/>
                    <a:pt x="526133" y="367624"/>
                  </a:cubicBezTo>
                  <a:cubicBezTo>
                    <a:pt x="528778" y="332852"/>
                    <a:pt x="531193" y="86540"/>
                    <a:pt x="498693" y="50644"/>
                  </a:cubicBezTo>
                  <a:cubicBezTo>
                    <a:pt x="466202" y="14748"/>
                    <a:pt x="407648" y="-5529"/>
                    <a:pt x="320846" y="1322"/>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190" name="Freeform: Shape 189">
              <a:extLst>
                <a:ext uri="{FF2B5EF4-FFF2-40B4-BE49-F238E27FC236}">
                  <a16:creationId xmlns:a16="http://schemas.microsoft.com/office/drawing/2014/main" id="{6AAC2235-12FB-F2E3-AB5C-DF7F0FF72D81}"/>
                </a:ext>
              </a:extLst>
            </p:cNvPr>
            <p:cNvSpPr/>
            <p:nvPr/>
          </p:nvSpPr>
          <p:spPr>
            <a:xfrm>
              <a:off x="7581438" y="3233218"/>
              <a:ext cx="39237" cy="47093"/>
            </a:xfrm>
            <a:custGeom>
              <a:avLst/>
              <a:gdLst>
                <a:gd name="connsiteX0" fmla="*/ 18902 w 39237"/>
                <a:gd name="connsiteY0" fmla="*/ 21350 h 47093"/>
                <a:gd name="connsiteX1" fmla="*/ 30216 w 39237"/>
                <a:gd name="connsiteY1" fmla="*/ 43892 h 47093"/>
                <a:gd name="connsiteX2" fmla="*/ 39161 w 39237"/>
                <a:gd name="connsiteY2" fmla="*/ 42687 h 47093"/>
                <a:gd name="connsiteX3" fmla="*/ 4567 w 39237"/>
                <a:gd name="connsiteY3" fmla="*/ 205 h 47093"/>
                <a:gd name="connsiteX4" fmla="*/ 1077 w 39237"/>
                <a:gd name="connsiteY4" fmla="*/ 6161 h 47093"/>
                <a:gd name="connsiteX5" fmla="*/ 18902 w 39237"/>
                <a:gd name="connsiteY5" fmla="*/ 21350 h 4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37" h="47093">
                  <a:moveTo>
                    <a:pt x="18902" y="21350"/>
                  </a:moveTo>
                  <a:cubicBezTo>
                    <a:pt x="25046" y="27908"/>
                    <a:pt x="27204" y="35718"/>
                    <a:pt x="30216" y="43892"/>
                  </a:cubicBezTo>
                  <a:cubicBezTo>
                    <a:pt x="32007" y="48742"/>
                    <a:pt x="38757" y="47875"/>
                    <a:pt x="39161" y="42687"/>
                  </a:cubicBezTo>
                  <a:cubicBezTo>
                    <a:pt x="40630" y="23698"/>
                    <a:pt x="20776" y="6499"/>
                    <a:pt x="4567" y="205"/>
                  </a:cubicBezTo>
                  <a:cubicBezTo>
                    <a:pt x="1279" y="-1073"/>
                    <a:pt x="-1650" y="3950"/>
                    <a:pt x="1077" y="6161"/>
                  </a:cubicBezTo>
                  <a:cubicBezTo>
                    <a:pt x="7221" y="11129"/>
                    <a:pt x="13465" y="15550"/>
                    <a:pt x="18902" y="21350"/>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83" name="Freeform: Shape 182">
              <a:extLst>
                <a:ext uri="{FF2B5EF4-FFF2-40B4-BE49-F238E27FC236}">
                  <a16:creationId xmlns:a16="http://schemas.microsoft.com/office/drawing/2014/main" id="{418B6C61-5908-85B2-7F30-97E0DA37AE5F}"/>
                </a:ext>
              </a:extLst>
            </p:cNvPr>
            <p:cNvSpPr/>
            <p:nvPr/>
          </p:nvSpPr>
          <p:spPr>
            <a:xfrm>
              <a:off x="7809199" y="3352496"/>
              <a:ext cx="114058" cy="67585"/>
            </a:xfrm>
            <a:custGeom>
              <a:avLst/>
              <a:gdLst>
                <a:gd name="connsiteX0" fmla="*/ 0 w 114058"/>
                <a:gd name="connsiteY0" fmla="*/ 11386 h 67585"/>
                <a:gd name="connsiteX1" fmla="*/ 53723 w 114058"/>
                <a:gd name="connsiteY1" fmla="*/ 700 h 67585"/>
                <a:gd name="connsiteX2" fmla="*/ 71355 w 114058"/>
                <a:gd name="connsiteY2" fmla="*/ 13579 h 67585"/>
                <a:gd name="connsiteX3" fmla="*/ 85131 w 114058"/>
                <a:gd name="connsiteY3" fmla="*/ 6454 h 67585"/>
                <a:gd name="connsiteX4" fmla="*/ 114058 w 114058"/>
                <a:gd name="connsiteY4" fmla="*/ 26731 h 67585"/>
                <a:gd name="connsiteX5" fmla="*/ 58682 w 114058"/>
                <a:gd name="connsiteY5" fmla="*/ 67285 h 67585"/>
                <a:gd name="connsiteX6" fmla="*/ 0 w 114058"/>
                <a:gd name="connsiteY6" fmla="*/ 11386 h 6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58" h="67585">
                  <a:moveTo>
                    <a:pt x="0" y="11386"/>
                  </a:moveTo>
                  <a:cubicBezTo>
                    <a:pt x="0" y="6509"/>
                    <a:pt x="41601" y="-2588"/>
                    <a:pt x="53723" y="700"/>
                  </a:cubicBezTo>
                  <a:cubicBezTo>
                    <a:pt x="63072" y="3239"/>
                    <a:pt x="69151" y="13579"/>
                    <a:pt x="71355" y="13579"/>
                  </a:cubicBezTo>
                  <a:cubicBezTo>
                    <a:pt x="73559" y="13579"/>
                    <a:pt x="80172" y="7002"/>
                    <a:pt x="85131" y="6454"/>
                  </a:cubicBezTo>
                  <a:cubicBezTo>
                    <a:pt x="90090" y="5906"/>
                    <a:pt x="114058" y="16867"/>
                    <a:pt x="114058" y="26731"/>
                  </a:cubicBezTo>
                  <a:cubicBezTo>
                    <a:pt x="114058" y="37144"/>
                    <a:pt x="93396" y="71122"/>
                    <a:pt x="58682" y="67285"/>
                  </a:cubicBezTo>
                  <a:cubicBezTo>
                    <a:pt x="23969" y="63449"/>
                    <a:pt x="0" y="26457"/>
                    <a:pt x="0" y="11386"/>
                  </a:cubicBezTo>
                  <a:close/>
                </a:path>
              </a:pathLst>
            </a:custGeom>
            <a:solidFill>
              <a:srgbClr val="FFFFFF"/>
            </a:solidFill>
            <a:ln w="9164" cap="flat">
              <a:noFill/>
              <a:prstDash val="solid"/>
              <a:miter/>
            </a:ln>
          </p:spPr>
          <p:txBody>
            <a:bodyPr rtlCol="0" anchor="ctr"/>
            <a:lstStyle/>
            <a:p>
              <a:endParaRPr lang="en-GB">
                <a:solidFill>
                  <a:schemeClr val="bg1"/>
                </a:solidFill>
              </a:endParaRPr>
            </a:p>
          </p:txBody>
        </p:sp>
        <p:sp>
          <p:nvSpPr>
            <p:cNvPr id="184" name="Freeform: Shape 183">
              <a:extLst>
                <a:ext uri="{FF2B5EF4-FFF2-40B4-BE49-F238E27FC236}">
                  <a16:creationId xmlns:a16="http://schemas.microsoft.com/office/drawing/2014/main" id="{C0AE077E-BE50-1E3C-3FC2-88C53A3EE30D}"/>
                </a:ext>
              </a:extLst>
            </p:cNvPr>
            <p:cNvSpPr/>
            <p:nvPr/>
          </p:nvSpPr>
          <p:spPr>
            <a:xfrm>
              <a:off x="7803097" y="3348243"/>
              <a:ext cx="125240" cy="74636"/>
            </a:xfrm>
            <a:custGeom>
              <a:avLst/>
              <a:gdLst>
                <a:gd name="connsiteX0" fmla="*/ 123034 w 125240"/>
                <a:gd name="connsiteY0" fmla="*/ 26106 h 74636"/>
                <a:gd name="connsiteX1" fmla="*/ 114476 w 125240"/>
                <a:gd name="connsiteY1" fmla="*/ 18105 h 74636"/>
                <a:gd name="connsiteX2" fmla="*/ 100654 w 125240"/>
                <a:gd name="connsiteY2" fmla="*/ 9401 h 74636"/>
                <a:gd name="connsiteX3" fmla="*/ 78550 w 125240"/>
                <a:gd name="connsiteY3" fmla="*/ 13547 h 74636"/>
                <a:gd name="connsiteX4" fmla="*/ 49760 w 125240"/>
                <a:gd name="connsiteY4" fmla="*/ 66 h 74636"/>
                <a:gd name="connsiteX5" fmla="*/ 3144 w 125240"/>
                <a:gd name="connsiteY5" fmla="*/ 11237 h 74636"/>
                <a:gd name="connsiteX6" fmla="*/ 2869 w 125240"/>
                <a:gd name="connsiteY6" fmla="*/ 11392 h 74636"/>
                <a:gd name="connsiteX7" fmla="*/ 1519 w 125240"/>
                <a:gd name="connsiteY7" fmla="*/ 17530 h 74636"/>
                <a:gd name="connsiteX8" fmla="*/ 43644 w 125240"/>
                <a:gd name="connsiteY8" fmla="*/ 69099 h 74636"/>
                <a:gd name="connsiteX9" fmla="*/ 116441 w 125240"/>
                <a:gd name="connsiteY9" fmla="*/ 49772 h 74636"/>
                <a:gd name="connsiteX10" fmla="*/ 123402 w 125240"/>
                <a:gd name="connsiteY10" fmla="*/ 36620 h 74636"/>
                <a:gd name="connsiteX11" fmla="*/ 124449 w 125240"/>
                <a:gd name="connsiteY11" fmla="*/ 31815 h 74636"/>
                <a:gd name="connsiteX12" fmla="*/ 124559 w 125240"/>
                <a:gd name="connsiteY12" fmla="*/ 31130 h 74636"/>
                <a:gd name="connsiteX13" fmla="*/ 124761 w 125240"/>
                <a:gd name="connsiteY13" fmla="*/ 30883 h 74636"/>
                <a:gd name="connsiteX14" fmla="*/ 123034 w 125240"/>
                <a:gd name="connsiteY14" fmla="*/ 26106 h 74636"/>
                <a:gd name="connsiteX15" fmla="*/ 60109 w 125240"/>
                <a:gd name="connsiteY15" fmla="*/ 12159 h 74636"/>
                <a:gd name="connsiteX16" fmla="*/ 75776 w 125240"/>
                <a:gd name="connsiteY16" fmla="*/ 22051 h 74636"/>
                <a:gd name="connsiteX17" fmla="*/ 80047 w 125240"/>
                <a:gd name="connsiteY17" fmla="*/ 20644 h 74636"/>
                <a:gd name="connsiteX18" fmla="*/ 104842 w 125240"/>
                <a:gd name="connsiteY18" fmla="*/ 20882 h 74636"/>
                <a:gd name="connsiteX19" fmla="*/ 114439 w 125240"/>
                <a:gd name="connsiteY19" fmla="*/ 27559 h 74636"/>
                <a:gd name="connsiteX20" fmla="*/ 104355 w 125240"/>
                <a:gd name="connsiteY20" fmla="*/ 30482 h 74636"/>
                <a:gd name="connsiteX21" fmla="*/ 84987 w 125240"/>
                <a:gd name="connsiteY21" fmla="*/ 32400 h 74636"/>
                <a:gd name="connsiteX22" fmla="*/ 47363 w 125240"/>
                <a:gd name="connsiteY22" fmla="*/ 26664 h 74636"/>
                <a:gd name="connsiteX23" fmla="*/ 16653 w 125240"/>
                <a:gd name="connsiteY23" fmla="*/ 16827 h 74636"/>
                <a:gd name="connsiteX24" fmla="*/ 16589 w 125240"/>
                <a:gd name="connsiteY24" fmla="*/ 16753 h 74636"/>
                <a:gd name="connsiteX25" fmla="*/ 16470 w 125240"/>
                <a:gd name="connsiteY25" fmla="*/ 16753 h 74636"/>
                <a:gd name="connsiteX26" fmla="*/ 14909 w 125240"/>
                <a:gd name="connsiteY26" fmla="*/ 16132 h 74636"/>
                <a:gd name="connsiteX27" fmla="*/ 42624 w 125240"/>
                <a:gd name="connsiteY27" fmla="*/ 11967 h 74636"/>
                <a:gd name="connsiteX28" fmla="*/ 60109 w 125240"/>
                <a:gd name="connsiteY28" fmla="*/ 12159 h 74636"/>
                <a:gd name="connsiteX29" fmla="*/ 108644 w 125240"/>
                <a:gd name="connsiteY29" fmla="*/ 46603 h 74636"/>
                <a:gd name="connsiteX30" fmla="*/ 67906 w 125240"/>
                <a:gd name="connsiteY30" fmla="*/ 66725 h 74636"/>
                <a:gd name="connsiteX31" fmla="*/ 10455 w 125240"/>
                <a:gd name="connsiteY31" fmla="*/ 22672 h 74636"/>
                <a:gd name="connsiteX32" fmla="*/ 47592 w 125240"/>
                <a:gd name="connsiteY32" fmla="*/ 38017 h 74636"/>
                <a:gd name="connsiteX33" fmla="*/ 88395 w 125240"/>
                <a:gd name="connsiteY33" fmla="*/ 43790 h 74636"/>
                <a:gd name="connsiteX34" fmla="*/ 113135 w 125240"/>
                <a:gd name="connsiteY34" fmla="*/ 39360 h 74636"/>
                <a:gd name="connsiteX35" fmla="*/ 108644 w 125240"/>
                <a:gd name="connsiteY35" fmla="*/ 46603 h 7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240" h="74636">
                  <a:moveTo>
                    <a:pt x="123034" y="26106"/>
                  </a:moveTo>
                  <a:cubicBezTo>
                    <a:pt x="120959" y="23001"/>
                    <a:pt x="117249" y="20279"/>
                    <a:pt x="114476" y="18105"/>
                  </a:cubicBezTo>
                  <a:cubicBezTo>
                    <a:pt x="110214" y="14781"/>
                    <a:pt x="105659" y="11511"/>
                    <a:pt x="100654" y="9401"/>
                  </a:cubicBezTo>
                  <a:cubicBezTo>
                    <a:pt x="92022" y="5775"/>
                    <a:pt x="84345" y="7620"/>
                    <a:pt x="78550" y="13547"/>
                  </a:cubicBezTo>
                  <a:cubicBezTo>
                    <a:pt x="73820" y="3400"/>
                    <a:pt x="60771" y="-573"/>
                    <a:pt x="49760" y="66"/>
                  </a:cubicBezTo>
                  <a:cubicBezTo>
                    <a:pt x="34295" y="970"/>
                    <a:pt x="17599" y="5912"/>
                    <a:pt x="3144" y="11237"/>
                  </a:cubicBezTo>
                  <a:cubicBezTo>
                    <a:pt x="3044" y="11273"/>
                    <a:pt x="2961" y="11337"/>
                    <a:pt x="2869" y="11392"/>
                  </a:cubicBezTo>
                  <a:cubicBezTo>
                    <a:pt x="187" y="11894"/>
                    <a:pt x="-1300" y="15648"/>
                    <a:pt x="1519" y="17530"/>
                  </a:cubicBezTo>
                  <a:cubicBezTo>
                    <a:pt x="7250" y="38939"/>
                    <a:pt x="23440" y="59874"/>
                    <a:pt x="43644" y="69099"/>
                  </a:cubicBezTo>
                  <a:cubicBezTo>
                    <a:pt x="69816" y="81046"/>
                    <a:pt x="100076" y="73237"/>
                    <a:pt x="116441" y="49772"/>
                  </a:cubicBezTo>
                  <a:cubicBezTo>
                    <a:pt x="119251" y="45744"/>
                    <a:pt x="121887" y="41305"/>
                    <a:pt x="123402" y="36620"/>
                  </a:cubicBezTo>
                  <a:cubicBezTo>
                    <a:pt x="123916" y="35021"/>
                    <a:pt x="124219" y="33468"/>
                    <a:pt x="124449" y="31815"/>
                  </a:cubicBezTo>
                  <a:cubicBezTo>
                    <a:pt x="124467" y="31696"/>
                    <a:pt x="124513" y="31431"/>
                    <a:pt x="124559" y="31130"/>
                  </a:cubicBezTo>
                  <a:cubicBezTo>
                    <a:pt x="124623" y="31048"/>
                    <a:pt x="124697" y="30966"/>
                    <a:pt x="124761" y="30883"/>
                  </a:cubicBezTo>
                  <a:cubicBezTo>
                    <a:pt x="125927" y="29276"/>
                    <a:pt x="124816" y="26755"/>
                    <a:pt x="123034" y="26106"/>
                  </a:cubicBezTo>
                  <a:close/>
                  <a:moveTo>
                    <a:pt x="60109" y="12159"/>
                  </a:moveTo>
                  <a:cubicBezTo>
                    <a:pt x="66281" y="13931"/>
                    <a:pt x="70386" y="18872"/>
                    <a:pt x="75776" y="22051"/>
                  </a:cubicBezTo>
                  <a:cubicBezTo>
                    <a:pt x="77218" y="22901"/>
                    <a:pt x="79422" y="22179"/>
                    <a:pt x="80047" y="20644"/>
                  </a:cubicBezTo>
                  <a:cubicBezTo>
                    <a:pt x="88532" y="12990"/>
                    <a:pt x="95723" y="14516"/>
                    <a:pt x="104842" y="20882"/>
                  </a:cubicBezTo>
                  <a:cubicBezTo>
                    <a:pt x="107386" y="22654"/>
                    <a:pt x="110821" y="25659"/>
                    <a:pt x="114439" y="27559"/>
                  </a:cubicBezTo>
                  <a:cubicBezTo>
                    <a:pt x="111059" y="28545"/>
                    <a:pt x="107680" y="29733"/>
                    <a:pt x="104355" y="30482"/>
                  </a:cubicBezTo>
                  <a:cubicBezTo>
                    <a:pt x="98037" y="31916"/>
                    <a:pt x="91453" y="32418"/>
                    <a:pt x="84987" y="32400"/>
                  </a:cubicBezTo>
                  <a:cubicBezTo>
                    <a:pt x="72259" y="32372"/>
                    <a:pt x="59623" y="29915"/>
                    <a:pt x="47363" y="26664"/>
                  </a:cubicBezTo>
                  <a:cubicBezTo>
                    <a:pt x="37142" y="23951"/>
                    <a:pt x="26654" y="20809"/>
                    <a:pt x="16653" y="16827"/>
                  </a:cubicBezTo>
                  <a:cubicBezTo>
                    <a:pt x="16653" y="16790"/>
                    <a:pt x="16635" y="16753"/>
                    <a:pt x="16589" y="16753"/>
                  </a:cubicBezTo>
                  <a:cubicBezTo>
                    <a:pt x="16552" y="16753"/>
                    <a:pt x="16516" y="16753"/>
                    <a:pt x="16470" y="16753"/>
                  </a:cubicBezTo>
                  <a:cubicBezTo>
                    <a:pt x="15946" y="16543"/>
                    <a:pt x="15423" y="16342"/>
                    <a:pt x="14909" y="16132"/>
                  </a:cubicBezTo>
                  <a:cubicBezTo>
                    <a:pt x="24211" y="15931"/>
                    <a:pt x="33716" y="13410"/>
                    <a:pt x="42624" y="11967"/>
                  </a:cubicBezTo>
                  <a:cubicBezTo>
                    <a:pt x="48373" y="11036"/>
                    <a:pt x="54434" y="10533"/>
                    <a:pt x="60109" y="12159"/>
                  </a:cubicBezTo>
                  <a:close/>
                  <a:moveTo>
                    <a:pt x="108644" y="46603"/>
                  </a:moveTo>
                  <a:cubicBezTo>
                    <a:pt x="98992" y="59774"/>
                    <a:pt x="84335" y="67072"/>
                    <a:pt x="67906" y="66725"/>
                  </a:cubicBezTo>
                  <a:cubicBezTo>
                    <a:pt x="40007" y="66140"/>
                    <a:pt x="22347" y="45306"/>
                    <a:pt x="10455" y="22672"/>
                  </a:cubicBezTo>
                  <a:cubicBezTo>
                    <a:pt x="22255" y="29057"/>
                    <a:pt x="34699" y="34236"/>
                    <a:pt x="47592" y="38017"/>
                  </a:cubicBezTo>
                  <a:cubicBezTo>
                    <a:pt x="60725" y="41871"/>
                    <a:pt x="74665" y="44155"/>
                    <a:pt x="88395" y="43790"/>
                  </a:cubicBezTo>
                  <a:cubicBezTo>
                    <a:pt x="95760" y="43589"/>
                    <a:pt x="105237" y="42593"/>
                    <a:pt x="113135" y="39360"/>
                  </a:cubicBezTo>
                  <a:cubicBezTo>
                    <a:pt x="111766" y="41844"/>
                    <a:pt x="110343" y="44292"/>
                    <a:pt x="108644" y="46603"/>
                  </a:cubicBezTo>
                  <a:close/>
                </a:path>
              </a:pathLst>
            </a:custGeom>
            <a:solidFill>
              <a:srgbClr val="191246"/>
            </a:solidFill>
            <a:ln w="9164" cap="flat">
              <a:noFill/>
              <a:prstDash val="solid"/>
              <a:miter/>
            </a:ln>
          </p:spPr>
          <p:txBody>
            <a:bodyPr rtlCol="0" anchor="ctr"/>
            <a:lstStyle/>
            <a:p>
              <a:endParaRPr lang="en-GB">
                <a:solidFill>
                  <a:schemeClr val="bg1"/>
                </a:solidFill>
              </a:endParaRPr>
            </a:p>
          </p:txBody>
        </p:sp>
        <p:sp>
          <p:nvSpPr>
            <p:cNvPr id="185" name="Freeform: Shape 184">
              <a:extLst>
                <a:ext uri="{FF2B5EF4-FFF2-40B4-BE49-F238E27FC236}">
                  <a16:creationId xmlns:a16="http://schemas.microsoft.com/office/drawing/2014/main" id="{A157EF97-E1E5-AC5F-BF33-B58EEBA6FDCD}"/>
                </a:ext>
              </a:extLst>
            </p:cNvPr>
            <p:cNvSpPr/>
            <p:nvPr/>
          </p:nvSpPr>
          <p:spPr>
            <a:xfrm>
              <a:off x="7859227" y="3245678"/>
              <a:ext cx="58539" cy="71856"/>
            </a:xfrm>
            <a:custGeom>
              <a:avLst/>
              <a:gdLst>
                <a:gd name="connsiteX0" fmla="*/ 4182 w 58539"/>
                <a:gd name="connsiteY0" fmla="*/ 66306 h 71856"/>
                <a:gd name="connsiteX1" fmla="*/ 57097 w 58539"/>
                <a:gd name="connsiteY1" fmla="*/ 55857 h 71856"/>
                <a:gd name="connsiteX2" fmla="*/ 54847 w 58539"/>
                <a:gd name="connsiteY2" fmla="*/ 41773 h 71856"/>
                <a:gd name="connsiteX3" fmla="*/ 46527 w 58539"/>
                <a:gd name="connsiteY3" fmla="*/ 26218 h 71856"/>
                <a:gd name="connsiteX4" fmla="*/ 33091 w 58539"/>
                <a:gd name="connsiteY4" fmla="*/ 1401 h 71856"/>
                <a:gd name="connsiteX5" fmla="*/ 28013 w 58539"/>
                <a:gd name="connsiteY5" fmla="*/ 1401 h 71856"/>
                <a:gd name="connsiteX6" fmla="*/ 29785 w 58539"/>
                <a:gd name="connsiteY6" fmla="*/ 17184 h 71856"/>
                <a:gd name="connsiteX7" fmla="*/ 41503 w 58539"/>
                <a:gd name="connsiteY7" fmla="*/ 40786 h 71856"/>
                <a:gd name="connsiteX8" fmla="*/ 41265 w 58539"/>
                <a:gd name="connsiteY8" fmla="*/ 48760 h 71856"/>
                <a:gd name="connsiteX9" fmla="*/ 32963 w 58539"/>
                <a:gd name="connsiteY9" fmla="*/ 53345 h 71856"/>
                <a:gd name="connsiteX10" fmla="*/ 12869 w 58539"/>
                <a:gd name="connsiteY10" fmla="*/ 51518 h 71856"/>
                <a:gd name="connsiteX11" fmla="*/ 4182 w 58539"/>
                <a:gd name="connsiteY11" fmla="*/ 66306 h 7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39" h="71856">
                  <a:moveTo>
                    <a:pt x="4182" y="66306"/>
                  </a:moveTo>
                  <a:cubicBezTo>
                    <a:pt x="20170" y="75595"/>
                    <a:pt x="47399" y="73942"/>
                    <a:pt x="57097" y="55857"/>
                  </a:cubicBezTo>
                  <a:cubicBezTo>
                    <a:pt x="60017" y="50413"/>
                    <a:pt x="58116" y="46303"/>
                    <a:pt x="54847" y="41773"/>
                  </a:cubicBezTo>
                  <a:cubicBezTo>
                    <a:pt x="51412" y="37014"/>
                    <a:pt x="49006" y="31497"/>
                    <a:pt x="46527" y="26218"/>
                  </a:cubicBezTo>
                  <a:cubicBezTo>
                    <a:pt x="42532" y="17678"/>
                    <a:pt x="38390" y="8827"/>
                    <a:pt x="33091" y="1401"/>
                  </a:cubicBezTo>
                  <a:cubicBezTo>
                    <a:pt x="31723" y="-517"/>
                    <a:pt x="29400" y="-416"/>
                    <a:pt x="28013" y="1401"/>
                  </a:cubicBezTo>
                  <a:cubicBezTo>
                    <a:pt x="24101" y="6516"/>
                    <a:pt x="27324" y="11905"/>
                    <a:pt x="29785" y="17184"/>
                  </a:cubicBezTo>
                  <a:cubicBezTo>
                    <a:pt x="33486" y="25149"/>
                    <a:pt x="37959" y="32748"/>
                    <a:pt x="41503" y="40786"/>
                  </a:cubicBezTo>
                  <a:cubicBezTo>
                    <a:pt x="43285" y="44842"/>
                    <a:pt x="44773" y="45983"/>
                    <a:pt x="41265" y="48760"/>
                  </a:cubicBezTo>
                  <a:cubicBezTo>
                    <a:pt x="38767" y="50733"/>
                    <a:pt x="36003" y="52359"/>
                    <a:pt x="32963" y="53345"/>
                  </a:cubicBezTo>
                  <a:cubicBezTo>
                    <a:pt x="26176" y="55537"/>
                    <a:pt x="19087" y="55008"/>
                    <a:pt x="12869" y="51518"/>
                  </a:cubicBezTo>
                  <a:cubicBezTo>
                    <a:pt x="3199" y="46111"/>
                    <a:pt x="-5406" y="60744"/>
                    <a:pt x="4182" y="6630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186" name="Freeform: Shape 185">
              <a:extLst>
                <a:ext uri="{FF2B5EF4-FFF2-40B4-BE49-F238E27FC236}">
                  <a16:creationId xmlns:a16="http://schemas.microsoft.com/office/drawing/2014/main" id="{13A8236B-DEB3-9B0A-F5F8-80A223B523D4}"/>
                </a:ext>
              </a:extLst>
            </p:cNvPr>
            <p:cNvSpPr/>
            <p:nvPr/>
          </p:nvSpPr>
          <p:spPr>
            <a:xfrm>
              <a:off x="7737416" y="3150760"/>
              <a:ext cx="90248" cy="35029"/>
            </a:xfrm>
            <a:custGeom>
              <a:avLst/>
              <a:gdLst>
                <a:gd name="connsiteX0" fmla="*/ 8785 w 90248"/>
                <a:gd name="connsiteY0" fmla="*/ 33688 h 35029"/>
                <a:gd name="connsiteX1" fmla="*/ 50092 w 90248"/>
                <a:gd name="connsiteY1" fmla="*/ 12333 h 35029"/>
                <a:gd name="connsiteX2" fmla="*/ 70452 w 90248"/>
                <a:gd name="connsiteY2" fmla="*/ 15850 h 35029"/>
                <a:gd name="connsiteX3" fmla="*/ 82620 w 90248"/>
                <a:gd name="connsiteY3" fmla="*/ 27888 h 35029"/>
                <a:gd name="connsiteX4" fmla="*/ 89590 w 90248"/>
                <a:gd name="connsiteY4" fmla="*/ 25066 h 35029"/>
                <a:gd name="connsiteX5" fmla="*/ 80003 w 90248"/>
                <a:gd name="connsiteY5" fmla="*/ 7273 h 35029"/>
                <a:gd name="connsiteX6" fmla="*/ 53655 w 90248"/>
                <a:gd name="connsiteY6" fmla="*/ 48 h 35029"/>
                <a:gd name="connsiteX7" fmla="*/ 1585 w 90248"/>
                <a:gd name="connsiteY7" fmla="*/ 26527 h 35029"/>
                <a:gd name="connsiteX8" fmla="*/ 8785 w 90248"/>
                <a:gd name="connsiteY8" fmla="*/ 33688 h 35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48" h="35029">
                  <a:moveTo>
                    <a:pt x="8785" y="33688"/>
                  </a:moveTo>
                  <a:cubicBezTo>
                    <a:pt x="20558" y="23367"/>
                    <a:pt x="33911" y="13657"/>
                    <a:pt x="50092" y="12333"/>
                  </a:cubicBezTo>
                  <a:cubicBezTo>
                    <a:pt x="56998" y="11776"/>
                    <a:pt x="64280" y="12516"/>
                    <a:pt x="70452" y="15850"/>
                  </a:cubicBezTo>
                  <a:cubicBezTo>
                    <a:pt x="76026" y="18864"/>
                    <a:pt x="77734" y="24481"/>
                    <a:pt x="82620" y="27888"/>
                  </a:cubicBezTo>
                  <a:cubicBezTo>
                    <a:pt x="85412" y="29833"/>
                    <a:pt x="88516" y="27614"/>
                    <a:pt x="89590" y="25066"/>
                  </a:cubicBezTo>
                  <a:cubicBezTo>
                    <a:pt x="92492" y="18170"/>
                    <a:pt x="85164" y="10890"/>
                    <a:pt x="80003" y="7273"/>
                  </a:cubicBezTo>
                  <a:cubicBezTo>
                    <a:pt x="72417" y="1957"/>
                    <a:pt x="62857" y="-372"/>
                    <a:pt x="53655" y="48"/>
                  </a:cubicBezTo>
                  <a:cubicBezTo>
                    <a:pt x="32891" y="1007"/>
                    <a:pt x="16168" y="12808"/>
                    <a:pt x="1585" y="26527"/>
                  </a:cubicBezTo>
                  <a:cubicBezTo>
                    <a:pt x="-3200" y="31048"/>
                    <a:pt x="3918" y="37963"/>
                    <a:pt x="8785" y="33688"/>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187" name="Freeform: Shape 186">
              <a:extLst>
                <a:ext uri="{FF2B5EF4-FFF2-40B4-BE49-F238E27FC236}">
                  <a16:creationId xmlns:a16="http://schemas.microsoft.com/office/drawing/2014/main" id="{2FAEF976-058B-8F69-3F16-C73583BB01B5}"/>
                </a:ext>
              </a:extLst>
            </p:cNvPr>
            <p:cNvSpPr/>
            <p:nvPr/>
          </p:nvSpPr>
          <p:spPr>
            <a:xfrm>
              <a:off x="7905787" y="3150691"/>
              <a:ext cx="78640" cy="45409"/>
            </a:xfrm>
            <a:custGeom>
              <a:avLst/>
              <a:gdLst>
                <a:gd name="connsiteX0" fmla="*/ 7506 w 78640"/>
                <a:gd name="connsiteY0" fmla="*/ 19801 h 45409"/>
                <a:gd name="connsiteX1" fmla="*/ 47023 w 78640"/>
                <a:gd name="connsiteY1" fmla="*/ 15682 h 45409"/>
                <a:gd name="connsiteX2" fmla="*/ 62524 w 78640"/>
                <a:gd name="connsiteY2" fmla="*/ 28350 h 45409"/>
                <a:gd name="connsiteX3" fmla="*/ 71451 w 78640"/>
                <a:gd name="connsiteY3" fmla="*/ 44864 h 45409"/>
                <a:gd name="connsiteX4" fmla="*/ 76557 w 78640"/>
                <a:gd name="connsiteY4" fmla="*/ 43531 h 45409"/>
                <a:gd name="connsiteX5" fmla="*/ 70615 w 78640"/>
                <a:gd name="connsiteY5" fmla="*/ 18239 h 45409"/>
                <a:gd name="connsiteX6" fmla="*/ 49153 w 78640"/>
                <a:gd name="connsiteY6" fmla="*/ 3260 h 45409"/>
                <a:gd name="connsiteX7" fmla="*/ 518 w 78640"/>
                <a:gd name="connsiteY7" fmla="*/ 14421 h 45409"/>
                <a:gd name="connsiteX8" fmla="*/ 7506 w 78640"/>
                <a:gd name="connsiteY8" fmla="*/ 19801 h 4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40" h="45409">
                  <a:moveTo>
                    <a:pt x="7506" y="19801"/>
                  </a:moveTo>
                  <a:cubicBezTo>
                    <a:pt x="15680" y="9443"/>
                    <a:pt x="36269" y="11151"/>
                    <a:pt x="47023" y="15682"/>
                  </a:cubicBezTo>
                  <a:cubicBezTo>
                    <a:pt x="53332" y="18340"/>
                    <a:pt x="58897" y="22486"/>
                    <a:pt x="62524" y="28350"/>
                  </a:cubicBezTo>
                  <a:cubicBezTo>
                    <a:pt x="65941" y="33876"/>
                    <a:pt x="65830" y="40946"/>
                    <a:pt x="71451" y="44864"/>
                  </a:cubicBezTo>
                  <a:cubicBezTo>
                    <a:pt x="73242" y="46116"/>
                    <a:pt x="75418" y="45020"/>
                    <a:pt x="76557" y="43531"/>
                  </a:cubicBezTo>
                  <a:cubicBezTo>
                    <a:pt x="82113" y="36278"/>
                    <a:pt x="75317" y="24341"/>
                    <a:pt x="70615" y="18239"/>
                  </a:cubicBezTo>
                  <a:cubicBezTo>
                    <a:pt x="65160" y="11179"/>
                    <a:pt x="57510" y="6292"/>
                    <a:pt x="49153" y="3260"/>
                  </a:cubicBezTo>
                  <a:cubicBezTo>
                    <a:pt x="33688" y="-2358"/>
                    <a:pt x="9518" y="-1947"/>
                    <a:pt x="518" y="14421"/>
                  </a:cubicBezTo>
                  <a:cubicBezTo>
                    <a:pt x="-1806" y="18641"/>
                    <a:pt x="4255" y="23911"/>
                    <a:pt x="7506" y="19801"/>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188" name="Freeform: Shape 187">
              <a:extLst>
                <a:ext uri="{FF2B5EF4-FFF2-40B4-BE49-F238E27FC236}">
                  <a16:creationId xmlns:a16="http://schemas.microsoft.com/office/drawing/2014/main" id="{8B3FA9E5-622C-E475-1F67-9E1336C4925C}"/>
                </a:ext>
              </a:extLst>
            </p:cNvPr>
            <p:cNvSpPr/>
            <p:nvPr/>
          </p:nvSpPr>
          <p:spPr>
            <a:xfrm>
              <a:off x="7739788" y="3215285"/>
              <a:ext cx="91938" cy="37394"/>
            </a:xfrm>
            <a:custGeom>
              <a:avLst/>
              <a:gdLst>
                <a:gd name="connsiteX0" fmla="*/ 91662 w 91938"/>
                <a:gd name="connsiteY0" fmla="*/ 32726 h 37394"/>
                <a:gd name="connsiteX1" fmla="*/ 50116 w 91938"/>
                <a:gd name="connsiteY1" fmla="*/ 11618 h 37394"/>
                <a:gd name="connsiteX2" fmla="*/ 32502 w 91938"/>
                <a:gd name="connsiteY2" fmla="*/ 15052 h 37394"/>
                <a:gd name="connsiteX3" fmla="*/ 30105 w 91938"/>
                <a:gd name="connsiteY3" fmla="*/ 13225 h 37394"/>
                <a:gd name="connsiteX4" fmla="*/ 24705 w 91938"/>
                <a:gd name="connsiteY4" fmla="*/ 3260 h 37394"/>
                <a:gd name="connsiteX5" fmla="*/ 15926 w 91938"/>
                <a:gd name="connsiteY5" fmla="*/ 5672 h 37394"/>
                <a:gd name="connsiteX6" fmla="*/ 20251 w 91938"/>
                <a:gd name="connsiteY6" fmla="*/ 15865 h 37394"/>
                <a:gd name="connsiteX7" fmla="*/ 6320 w 91938"/>
                <a:gd name="connsiteY7" fmla="*/ 5946 h 37394"/>
                <a:gd name="connsiteX8" fmla="*/ 213 w 91938"/>
                <a:gd name="connsiteY8" fmla="*/ 8503 h 37394"/>
                <a:gd name="connsiteX9" fmla="*/ 17368 w 91938"/>
                <a:gd name="connsiteY9" fmla="*/ 25218 h 37394"/>
                <a:gd name="connsiteX10" fmla="*/ 33705 w 91938"/>
                <a:gd name="connsiteY10" fmla="*/ 25802 h 37394"/>
                <a:gd name="connsiteX11" fmla="*/ 36607 w 91938"/>
                <a:gd name="connsiteY11" fmla="*/ 25327 h 37394"/>
                <a:gd name="connsiteX12" fmla="*/ 42503 w 91938"/>
                <a:gd name="connsiteY12" fmla="*/ 24295 h 37394"/>
                <a:gd name="connsiteX13" fmla="*/ 59088 w 91938"/>
                <a:gd name="connsiteY13" fmla="*/ 23154 h 37394"/>
                <a:gd name="connsiteX14" fmla="*/ 85968 w 91938"/>
                <a:gd name="connsiteY14" fmla="*/ 37074 h 37394"/>
                <a:gd name="connsiteX15" fmla="*/ 91662 w 91938"/>
                <a:gd name="connsiteY15" fmla="*/ 32726 h 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938" h="37394">
                  <a:moveTo>
                    <a:pt x="91662" y="32726"/>
                  </a:moveTo>
                  <a:cubicBezTo>
                    <a:pt x="85445" y="17463"/>
                    <a:pt x="65783" y="10001"/>
                    <a:pt x="50116" y="11618"/>
                  </a:cubicBezTo>
                  <a:cubicBezTo>
                    <a:pt x="44597" y="12184"/>
                    <a:pt x="38490" y="13928"/>
                    <a:pt x="32502" y="15052"/>
                  </a:cubicBezTo>
                  <a:cubicBezTo>
                    <a:pt x="31657" y="14513"/>
                    <a:pt x="30840" y="13938"/>
                    <a:pt x="30105" y="13225"/>
                  </a:cubicBezTo>
                  <a:cubicBezTo>
                    <a:pt x="27249" y="10467"/>
                    <a:pt x="25541" y="7096"/>
                    <a:pt x="24705" y="3260"/>
                  </a:cubicBezTo>
                  <a:cubicBezTo>
                    <a:pt x="23466" y="-2458"/>
                    <a:pt x="14806" y="-19"/>
                    <a:pt x="15926" y="5672"/>
                  </a:cubicBezTo>
                  <a:cubicBezTo>
                    <a:pt x="16652" y="9343"/>
                    <a:pt x="18148" y="12796"/>
                    <a:pt x="20251" y="15865"/>
                  </a:cubicBezTo>
                  <a:cubicBezTo>
                    <a:pt x="14686" y="15189"/>
                    <a:pt x="9792" y="12522"/>
                    <a:pt x="6320" y="5946"/>
                  </a:cubicBezTo>
                  <a:cubicBezTo>
                    <a:pt x="4594" y="2676"/>
                    <a:pt x="-1174" y="4950"/>
                    <a:pt x="213" y="8503"/>
                  </a:cubicBezTo>
                  <a:cubicBezTo>
                    <a:pt x="3262" y="16340"/>
                    <a:pt x="9296" y="22432"/>
                    <a:pt x="17368" y="25218"/>
                  </a:cubicBezTo>
                  <a:cubicBezTo>
                    <a:pt x="22556" y="27008"/>
                    <a:pt x="28177" y="26643"/>
                    <a:pt x="33705" y="25802"/>
                  </a:cubicBezTo>
                  <a:cubicBezTo>
                    <a:pt x="34679" y="25857"/>
                    <a:pt x="35652" y="25720"/>
                    <a:pt x="36607" y="25327"/>
                  </a:cubicBezTo>
                  <a:cubicBezTo>
                    <a:pt x="38609" y="24980"/>
                    <a:pt x="40584" y="24606"/>
                    <a:pt x="42503" y="24295"/>
                  </a:cubicBezTo>
                  <a:cubicBezTo>
                    <a:pt x="48059" y="23391"/>
                    <a:pt x="53431" y="22286"/>
                    <a:pt x="59088" y="23154"/>
                  </a:cubicBezTo>
                  <a:cubicBezTo>
                    <a:pt x="69833" y="24798"/>
                    <a:pt x="76427" y="33009"/>
                    <a:pt x="85968" y="37074"/>
                  </a:cubicBezTo>
                  <a:cubicBezTo>
                    <a:pt x="88622" y="38206"/>
                    <a:pt x="93095" y="36242"/>
                    <a:pt x="91662" y="32726"/>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189" name="Freeform: Shape 188">
              <a:extLst>
                <a:ext uri="{FF2B5EF4-FFF2-40B4-BE49-F238E27FC236}">
                  <a16:creationId xmlns:a16="http://schemas.microsoft.com/office/drawing/2014/main" id="{13FE4B13-FB16-19CA-EFBD-BBC7959A2E2F}"/>
                </a:ext>
              </a:extLst>
            </p:cNvPr>
            <p:cNvSpPr/>
            <p:nvPr/>
          </p:nvSpPr>
          <p:spPr>
            <a:xfrm>
              <a:off x="7908466" y="3217522"/>
              <a:ext cx="76286" cy="37535"/>
            </a:xfrm>
            <a:custGeom>
              <a:avLst/>
              <a:gdLst>
                <a:gd name="connsiteX0" fmla="*/ 70039 w 76286"/>
                <a:gd name="connsiteY0" fmla="*/ 5964 h 37535"/>
                <a:gd name="connsiteX1" fmla="*/ 59790 w 76286"/>
                <a:gd name="connsiteY1" fmla="*/ 16039 h 37535"/>
                <a:gd name="connsiteX2" fmla="*/ 63518 w 76286"/>
                <a:gd name="connsiteY2" fmla="*/ 5690 h 37535"/>
                <a:gd name="connsiteX3" fmla="*/ 54739 w 76286"/>
                <a:gd name="connsiteY3" fmla="*/ 3279 h 37535"/>
                <a:gd name="connsiteX4" fmla="*/ 50414 w 76286"/>
                <a:gd name="connsiteY4" fmla="*/ 13362 h 37535"/>
                <a:gd name="connsiteX5" fmla="*/ 49174 w 76286"/>
                <a:gd name="connsiteY5" fmla="*/ 14577 h 37535"/>
                <a:gd name="connsiteX6" fmla="*/ 46520 w 76286"/>
                <a:gd name="connsiteY6" fmla="*/ 13874 h 37535"/>
                <a:gd name="connsiteX7" fmla="*/ 34701 w 76286"/>
                <a:gd name="connsiteY7" fmla="*/ 11627 h 37535"/>
                <a:gd name="connsiteX8" fmla="*/ 125 w 76286"/>
                <a:gd name="connsiteY8" fmla="*/ 32744 h 37535"/>
                <a:gd name="connsiteX9" fmla="*/ 5819 w 76286"/>
                <a:gd name="connsiteY9" fmla="*/ 37092 h 37535"/>
                <a:gd name="connsiteX10" fmla="*/ 27528 w 76286"/>
                <a:gd name="connsiteY10" fmla="*/ 23200 h 37535"/>
                <a:gd name="connsiteX11" fmla="*/ 41193 w 76286"/>
                <a:gd name="connsiteY11" fmla="*/ 24405 h 37535"/>
                <a:gd name="connsiteX12" fmla="*/ 45216 w 76286"/>
                <a:gd name="connsiteY12" fmla="*/ 25209 h 37535"/>
                <a:gd name="connsiteX13" fmla="*/ 48402 w 76286"/>
                <a:gd name="connsiteY13" fmla="*/ 25821 h 37535"/>
                <a:gd name="connsiteX14" fmla="*/ 61305 w 76286"/>
                <a:gd name="connsiteY14" fmla="*/ 25510 h 37535"/>
                <a:gd name="connsiteX15" fmla="*/ 76155 w 76286"/>
                <a:gd name="connsiteY15" fmla="*/ 8522 h 37535"/>
                <a:gd name="connsiteX16" fmla="*/ 70039 w 76286"/>
                <a:gd name="connsiteY16" fmla="*/ 5964 h 3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86" h="37535">
                  <a:moveTo>
                    <a:pt x="70039" y="5964"/>
                  </a:moveTo>
                  <a:cubicBezTo>
                    <a:pt x="67963" y="10531"/>
                    <a:pt x="64850" y="14678"/>
                    <a:pt x="59790" y="16039"/>
                  </a:cubicBezTo>
                  <a:cubicBezTo>
                    <a:pt x="61663" y="12860"/>
                    <a:pt x="62921" y="9371"/>
                    <a:pt x="63518" y="5690"/>
                  </a:cubicBezTo>
                  <a:cubicBezTo>
                    <a:pt x="64428" y="18"/>
                    <a:pt x="55795" y="-2494"/>
                    <a:pt x="54739" y="3279"/>
                  </a:cubicBezTo>
                  <a:cubicBezTo>
                    <a:pt x="54069" y="6941"/>
                    <a:pt x="52810" y="10449"/>
                    <a:pt x="50414" y="13362"/>
                  </a:cubicBezTo>
                  <a:cubicBezTo>
                    <a:pt x="50055" y="13792"/>
                    <a:pt x="49633" y="14194"/>
                    <a:pt x="49174" y="14577"/>
                  </a:cubicBezTo>
                  <a:cubicBezTo>
                    <a:pt x="48301" y="14312"/>
                    <a:pt x="47420" y="14057"/>
                    <a:pt x="46520" y="13874"/>
                  </a:cubicBezTo>
                  <a:cubicBezTo>
                    <a:pt x="43443" y="13235"/>
                    <a:pt x="38594" y="12056"/>
                    <a:pt x="34701" y="11627"/>
                  </a:cubicBezTo>
                  <a:cubicBezTo>
                    <a:pt x="20962" y="10111"/>
                    <a:pt x="3587" y="18687"/>
                    <a:pt x="125" y="32744"/>
                  </a:cubicBezTo>
                  <a:cubicBezTo>
                    <a:pt x="-711" y="36151"/>
                    <a:pt x="2807" y="38572"/>
                    <a:pt x="5819" y="37092"/>
                  </a:cubicBezTo>
                  <a:cubicBezTo>
                    <a:pt x="13680" y="33238"/>
                    <a:pt x="18492" y="24972"/>
                    <a:pt x="27528" y="23200"/>
                  </a:cubicBezTo>
                  <a:cubicBezTo>
                    <a:pt x="32313" y="22259"/>
                    <a:pt x="36547" y="23547"/>
                    <a:pt x="41193" y="24405"/>
                  </a:cubicBezTo>
                  <a:cubicBezTo>
                    <a:pt x="42507" y="24652"/>
                    <a:pt x="43857" y="24926"/>
                    <a:pt x="45216" y="25209"/>
                  </a:cubicBezTo>
                  <a:cubicBezTo>
                    <a:pt x="46272" y="25748"/>
                    <a:pt x="47346" y="25921"/>
                    <a:pt x="48402" y="25821"/>
                  </a:cubicBezTo>
                  <a:cubicBezTo>
                    <a:pt x="52755" y="26579"/>
                    <a:pt x="57173" y="26944"/>
                    <a:pt x="61305" y="25510"/>
                  </a:cubicBezTo>
                  <a:cubicBezTo>
                    <a:pt x="68882" y="22871"/>
                    <a:pt x="73932" y="15892"/>
                    <a:pt x="76155" y="8522"/>
                  </a:cubicBezTo>
                  <a:cubicBezTo>
                    <a:pt x="77211" y="5005"/>
                    <a:pt x="71627" y="2475"/>
                    <a:pt x="70039" y="5964"/>
                  </a:cubicBezTo>
                  <a:close/>
                </a:path>
              </a:pathLst>
            </a:custGeom>
            <a:solidFill>
              <a:srgbClr val="16180A"/>
            </a:solidFill>
            <a:ln w="9164" cap="flat">
              <a:noFill/>
              <a:prstDash val="solid"/>
              <a:miter/>
            </a:ln>
          </p:spPr>
          <p:txBody>
            <a:bodyPr rtlCol="0" anchor="ctr"/>
            <a:lstStyle/>
            <a:p>
              <a:endParaRPr lang="en-GB">
                <a:solidFill>
                  <a:schemeClr val="bg1"/>
                </a:solidFill>
              </a:endParaRPr>
            </a:p>
          </p:txBody>
        </p:sp>
        <p:sp>
          <p:nvSpPr>
            <p:cNvPr id="193" name="TextBox 192">
              <a:extLst>
                <a:ext uri="{FF2B5EF4-FFF2-40B4-BE49-F238E27FC236}">
                  <a16:creationId xmlns:a16="http://schemas.microsoft.com/office/drawing/2014/main" id="{E074EF48-D9AB-18C0-755A-019342DFCA01}"/>
                </a:ext>
              </a:extLst>
            </p:cNvPr>
            <p:cNvSpPr txBox="1"/>
            <p:nvPr/>
          </p:nvSpPr>
          <p:spPr>
            <a:xfrm>
              <a:off x="234547" y="1150379"/>
              <a:ext cx="4256528"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4800">
                <a:solidFill>
                  <a:srgbClr val="27333D"/>
                </a:solidFill>
              </a:endParaRPr>
            </a:p>
          </p:txBody>
        </p:sp>
      </p:grpSp>
      <p:grpSp>
        <p:nvGrpSpPr>
          <p:cNvPr id="8" name="Group 7">
            <a:extLst>
              <a:ext uri="{FF2B5EF4-FFF2-40B4-BE49-F238E27FC236}">
                <a16:creationId xmlns:a16="http://schemas.microsoft.com/office/drawing/2014/main" id="{A85F904F-7DAA-405B-77A6-392C4F47AD3A}"/>
              </a:ext>
            </a:extLst>
          </p:cNvPr>
          <p:cNvGrpSpPr/>
          <p:nvPr/>
        </p:nvGrpSpPr>
        <p:grpSpPr>
          <a:xfrm>
            <a:off x="6082705" y="3178545"/>
            <a:ext cx="236520" cy="75240"/>
            <a:chOff x="6082705" y="3178545"/>
            <a:chExt cx="236520" cy="75240"/>
          </a:xfrm>
        </p:grpSpPr>
      </p:gr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061907F0-5635-6FBC-ECF6-CDC941192861}"/>
                  </a:ext>
                </a:extLst>
              </p14:cNvPr>
              <p14:cNvContentPartPr/>
              <p14:nvPr/>
            </p14:nvContentPartPr>
            <p14:xfrm>
              <a:off x="6090990" y="3150090"/>
              <a:ext cx="136440" cy="87120"/>
            </p14:xfrm>
          </p:contentPart>
        </mc:Choice>
        <mc:Fallback xmlns="">
          <p:pic>
            <p:nvPicPr>
              <p:cNvPr id="3" name="Ink 2">
                <a:extLst>
                  <a:ext uri="{FF2B5EF4-FFF2-40B4-BE49-F238E27FC236}">
                    <a16:creationId xmlns:a16="http://schemas.microsoft.com/office/drawing/2014/main" id="{061907F0-5635-6FBC-ECF6-CDC941192861}"/>
                  </a:ext>
                </a:extLst>
              </p:cNvPr>
              <p:cNvPicPr/>
              <p:nvPr/>
            </p:nvPicPr>
            <p:blipFill>
              <a:blip r:embed="rId6"/>
              <a:stretch>
                <a:fillRect/>
              </a:stretch>
            </p:blipFill>
            <p:spPr>
              <a:xfrm>
                <a:off x="6084870" y="3143970"/>
                <a:ext cx="14868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Ink 13">
                <a:extLst>
                  <a:ext uri="{FF2B5EF4-FFF2-40B4-BE49-F238E27FC236}">
                    <a16:creationId xmlns:a16="http://schemas.microsoft.com/office/drawing/2014/main" id="{403C7D7B-33DC-0744-3A0B-44264A1ABB41}"/>
                  </a:ext>
                </a:extLst>
              </p14:cNvPr>
              <p14:cNvContentPartPr/>
              <p14:nvPr/>
            </p14:nvContentPartPr>
            <p14:xfrm>
              <a:off x="6236280" y="3141246"/>
              <a:ext cx="98280" cy="95040"/>
            </p14:xfrm>
          </p:contentPart>
        </mc:Choice>
        <mc:Fallback xmlns="">
          <p:pic>
            <p:nvPicPr>
              <p:cNvPr id="14" name="Ink 13">
                <a:extLst>
                  <a:ext uri="{FF2B5EF4-FFF2-40B4-BE49-F238E27FC236}">
                    <a16:creationId xmlns:a16="http://schemas.microsoft.com/office/drawing/2014/main" id="{403C7D7B-33DC-0744-3A0B-44264A1ABB41}"/>
                  </a:ext>
                </a:extLst>
              </p:cNvPr>
              <p:cNvPicPr/>
              <p:nvPr/>
            </p:nvPicPr>
            <p:blipFill>
              <a:blip r:embed="rId8"/>
              <a:stretch>
                <a:fillRect/>
              </a:stretch>
            </p:blipFill>
            <p:spPr>
              <a:xfrm>
                <a:off x="6230160" y="3135126"/>
                <a:ext cx="11052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7" name="Ink 46">
                <a:extLst>
                  <a:ext uri="{FF2B5EF4-FFF2-40B4-BE49-F238E27FC236}">
                    <a16:creationId xmlns:a16="http://schemas.microsoft.com/office/drawing/2014/main" id="{B14F9A97-AF75-A2F2-5E53-6D6066F5C067}"/>
                  </a:ext>
                </a:extLst>
              </p14:cNvPr>
              <p14:cNvContentPartPr/>
              <p14:nvPr/>
            </p14:nvContentPartPr>
            <p14:xfrm>
              <a:off x="4402855" y="3031062"/>
              <a:ext cx="394560" cy="156960"/>
            </p14:xfrm>
          </p:contentPart>
        </mc:Choice>
        <mc:Fallback xmlns="">
          <p:pic>
            <p:nvPicPr>
              <p:cNvPr id="47" name="Ink 46">
                <a:extLst>
                  <a:ext uri="{FF2B5EF4-FFF2-40B4-BE49-F238E27FC236}">
                    <a16:creationId xmlns:a16="http://schemas.microsoft.com/office/drawing/2014/main" id="{B14F9A97-AF75-A2F2-5E53-6D6066F5C067}"/>
                  </a:ext>
                </a:extLst>
              </p:cNvPr>
              <p:cNvPicPr/>
              <p:nvPr/>
            </p:nvPicPr>
            <p:blipFill>
              <a:blip r:embed="rId10"/>
              <a:stretch>
                <a:fillRect/>
              </a:stretch>
            </p:blipFill>
            <p:spPr>
              <a:xfrm>
                <a:off x="4396735" y="3024942"/>
                <a:ext cx="406800" cy="1692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48" name="Ink 47">
                <a:extLst>
                  <a:ext uri="{FF2B5EF4-FFF2-40B4-BE49-F238E27FC236}">
                    <a16:creationId xmlns:a16="http://schemas.microsoft.com/office/drawing/2014/main" id="{CAEF758B-728B-8414-0085-6973AC0B6350}"/>
                  </a:ext>
                </a:extLst>
              </p14:cNvPr>
              <p14:cNvContentPartPr/>
              <p14:nvPr/>
            </p14:nvContentPartPr>
            <p14:xfrm>
              <a:off x="2526397" y="2883711"/>
              <a:ext cx="655200" cy="306000"/>
            </p14:xfrm>
          </p:contentPart>
        </mc:Choice>
        <mc:Fallback xmlns="">
          <p:pic>
            <p:nvPicPr>
              <p:cNvPr id="48" name="Ink 47">
                <a:extLst>
                  <a:ext uri="{FF2B5EF4-FFF2-40B4-BE49-F238E27FC236}">
                    <a16:creationId xmlns:a16="http://schemas.microsoft.com/office/drawing/2014/main" id="{CAEF758B-728B-8414-0085-6973AC0B6350}"/>
                  </a:ext>
                </a:extLst>
              </p:cNvPr>
              <p:cNvPicPr/>
              <p:nvPr/>
            </p:nvPicPr>
            <p:blipFill>
              <a:blip r:embed="rId12"/>
              <a:stretch>
                <a:fillRect/>
              </a:stretch>
            </p:blipFill>
            <p:spPr>
              <a:xfrm>
                <a:off x="2520274" y="2877591"/>
                <a:ext cx="667447" cy="318240"/>
              </a:xfrm>
              <a:prstGeom prst="rect">
                <a:avLst/>
              </a:prstGeom>
            </p:spPr>
          </p:pic>
        </mc:Fallback>
      </mc:AlternateContent>
      <p:sp>
        <p:nvSpPr>
          <p:cNvPr id="239" name="Rounded Rectangle 24">
            <a:extLst>
              <a:ext uri="{FF2B5EF4-FFF2-40B4-BE49-F238E27FC236}">
                <a16:creationId xmlns:a16="http://schemas.microsoft.com/office/drawing/2014/main" id="{2BA4AA7F-BE6B-7D0E-4B12-711DBE897C99}"/>
              </a:ext>
            </a:extLst>
          </p:cNvPr>
          <p:cNvSpPr/>
          <p:nvPr/>
        </p:nvSpPr>
        <p:spPr>
          <a:xfrm>
            <a:off x="486640" y="3309594"/>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mc:AlternateContent xmlns:mc="http://schemas.openxmlformats.org/markup-compatibility/2006" xmlns:p14="http://schemas.microsoft.com/office/powerpoint/2010/main">
        <mc:Choice Requires="p14">
          <p:contentPart p14:bwMode="auto" r:id="rId13">
            <p14:nvContentPartPr>
              <p14:cNvPr id="50" name="Ink 49">
                <a:extLst>
                  <a:ext uri="{FF2B5EF4-FFF2-40B4-BE49-F238E27FC236}">
                    <a16:creationId xmlns:a16="http://schemas.microsoft.com/office/drawing/2014/main" id="{8452FC6B-A623-8E6C-F8E5-FEE2EE86E785}"/>
                  </a:ext>
                </a:extLst>
              </p14:cNvPr>
              <p14:cNvContentPartPr/>
              <p14:nvPr/>
            </p14:nvContentPartPr>
            <p14:xfrm>
              <a:off x="2942917" y="2385748"/>
              <a:ext cx="546120" cy="506520"/>
            </p14:xfrm>
          </p:contentPart>
        </mc:Choice>
        <mc:Fallback xmlns="">
          <p:pic>
            <p:nvPicPr>
              <p:cNvPr id="50" name="Ink 49">
                <a:extLst>
                  <a:ext uri="{FF2B5EF4-FFF2-40B4-BE49-F238E27FC236}">
                    <a16:creationId xmlns:a16="http://schemas.microsoft.com/office/drawing/2014/main" id="{8452FC6B-A623-8E6C-F8E5-FEE2EE86E785}"/>
                  </a:ext>
                </a:extLst>
              </p:cNvPr>
              <p:cNvPicPr/>
              <p:nvPr/>
            </p:nvPicPr>
            <p:blipFill>
              <a:blip r:embed="rId14"/>
              <a:stretch>
                <a:fillRect/>
              </a:stretch>
            </p:blipFill>
            <p:spPr>
              <a:xfrm>
                <a:off x="2936797" y="2379628"/>
                <a:ext cx="558360" cy="5187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53" name="Ink 52">
                <a:extLst>
                  <a:ext uri="{FF2B5EF4-FFF2-40B4-BE49-F238E27FC236}">
                    <a16:creationId xmlns:a16="http://schemas.microsoft.com/office/drawing/2014/main" id="{28427C78-0263-600B-B148-30BDE79329E6}"/>
                  </a:ext>
                </a:extLst>
              </p14:cNvPr>
              <p14:cNvContentPartPr/>
              <p14:nvPr/>
            </p14:nvContentPartPr>
            <p14:xfrm>
              <a:off x="3049117" y="2177668"/>
              <a:ext cx="576360" cy="504360"/>
            </p14:xfrm>
          </p:contentPart>
        </mc:Choice>
        <mc:Fallback xmlns="">
          <p:pic>
            <p:nvPicPr>
              <p:cNvPr id="53" name="Ink 52">
                <a:extLst>
                  <a:ext uri="{FF2B5EF4-FFF2-40B4-BE49-F238E27FC236}">
                    <a16:creationId xmlns:a16="http://schemas.microsoft.com/office/drawing/2014/main" id="{28427C78-0263-600B-B148-30BDE79329E6}"/>
                  </a:ext>
                </a:extLst>
              </p:cNvPr>
              <p:cNvPicPr/>
              <p:nvPr/>
            </p:nvPicPr>
            <p:blipFill>
              <a:blip r:embed="rId16"/>
              <a:stretch>
                <a:fillRect/>
              </a:stretch>
            </p:blipFill>
            <p:spPr>
              <a:xfrm>
                <a:off x="3042997" y="2171548"/>
                <a:ext cx="588600" cy="516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4" name="Ink 53">
                <a:extLst>
                  <a:ext uri="{FF2B5EF4-FFF2-40B4-BE49-F238E27FC236}">
                    <a16:creationId xmlns:a16="http://schemas.microsoft.com/office/drawing/2014/main" id="{DD2211F4-6BEF-0CFD-C749-1EBFAEA5F539}"/>
                  </a:ext>
                </a:extLst>
              </p14:cNvPr>
              <p14:cNvContentPartPr/>
              <p14:nvPr/>
            </p14:nvContentPartPr>
            <p14:xfrm>
              <a:off x="2376055" y="3110926"/>
              <a:ext cx="991440" cy="65880"/>
            </p14:xfrm>
          </p:contentPart>
        </mc:Choice>
        <mc:Fallback xmlns="">
          <p:pic>
            <p:nvPicPr>
              <p:cNvPr id="54" name="Ink 53">
                <a:extLst>
                  <a:ext uri="{FF2B5EF4-FFF2-40B4-BE49-F238E27FC236}">
                    <a16:creationId xmlns:a16="http://schemas.microsoft.com/office/drawing/2014/main" id="{DD2211F4-6BEF-0CFD-C749-1EBFAEA5F539}"/>
                  </a:ext>
                </a:extLst>
              </p:cNvPr>
              <p:cNvPicPr/>
              <p:nvPr/>
            </p:nvPicPr>
            <p:blipFill>
              <a:blip r:embed="rId18"/>
              <a:stretch>
                <a:fillRect/>
              </a:stretch>
            </p:blipFill>
            <p:spPr>
              <a:xfrm>
                <a:off x="2369937" y="3104806"/>
                <a:ext cx="1003676" cy="78120"/>
              </a:xfrm>
              <a:prstGeom prst="rect">
                <a:avLst/>
              </a:prstGeom>
            </p:spPr>
          </p:pic>
        </mc:Fallback>
      </mc:AlternateContent>
      <p:sp>
        <p:nvSpPr>
          <p:cNvPr id="232" name="Freeform: Shape 57">
            <a:extLst>
              <a:ext uri="{FF2B5EF4-FFF2-40B4-BE49-F238E27FC236}">
                <a16:creationId xmlns:a16="http://schemas.microsoft.com/office/drawing/2014/main" id="{D049FD96-AFF1-1354-A52D-009E1F5D1CD6}"/>
              </a:ext>
            </a:extLst>
          </p:cNvPr>
          <p:cNvSpPr/>
          <p:nvPr/>
        </p:nvSpPr>
        <p:spPr>
          <a:xfrm>
            <a:off x="596909" y="3545161"/>
            <a:ext cx="1115774" cy="1010020"/>
          </a:xfrm>
          <a:custGeom>
            <a:avLst/>
            <a:gdLst>
              <a:gd name="connsiteX0" fmla="*/ 644100 w 1115774"/>
              <a:gd name="connsiteY0" fmla="*/ 1011793 h 1010020"/>
              <a:gd name="connsiteX1" fmla="*/ 496821 w 1115774"/>
              <a:gd name="connsiteY1" fmla="*/ 1007551 h 1010020"/>
              <a:gd name="connsiteX2" fmla="*/ 385890 w 1115774"/>
              <a:gd name="connsiteY2" fmla="*/ 1002948 h 1010020"/>
              <a:gd name="connsiteX3" fmla="*/ 297904 w 1115774"/>
              <a:gd name="connsiteY3" fmla="*/ 1002858 h 1010020"/>
              <a:gd name="connsiteX4" fmla="*/ 282339 w 1115774"/>
              <a:gd name="connsiteY4" fmla="*/ 1001865 h 1010020"/>
              <a:gd name="connsiteX5" fmla="*/ 64885 w 1115774"/>
              <a:gd name="connsiteY5" fmla="*/ 990763 h 1010020"/>
              <a:gd name="connsiteX6" fmla="*/ 40775 w 1115774"/>
              <a:gd name="connsiteY6" fmla="*/ 996269 h 1010020"/>
              <a:gd name="connsiteX7" fmla="*/ 10364 w 1115774"/>
              <a:gd name="connsiteY7" fmla="*/ 902308 h 1010020"/>
              <a:gd name="connsiteX8" fmla="*/ 12794 w 1115774"/>
              <a:gd name="connsiteY8" fmla="*/ 637666 h 1010020"/>
              <a:gd name="connsiteX9" fmla="*/ 90077 w 1115774"/>
              <a:gd name="connsiteY9" fmla="*/ 307495 h 1010020"/>
              <a:gd name="connsiteX10" fmla="*/ 155304 w 1115774"/>
              <a:gd name="connsiteY10" fmla="*/ 202341 h 1010020"/>
              <a:gd name="connsiteX11" fmla="*/ 212972 w 1115774"/>
              <a:gd name="connsiteY11" fmla="*/ 160281 h 1010020"/>
              <a:gd name="connsiteX12" fmla="*/ 236185 w 1115774"/>
              <a:gd name="connsiteY12" fmla="*/ 131037 h 1010020"/>
              <a:gd name="connsiteX13" fmla="*/ 271992 w 1115774"/>
              <a:gd name="connsiteY13" fmla="*/ 116866 h 1010020"/>
              <a:gd name="connsiteX14" fmla="*/ 298802 w 1115774"/>
              <a:gd name="connsiteY14" fmla="*/ 93489 h 1010020"/>
              <a:gd name="connsiteX15" fmla="*/ 327771 w 1115774"/>
              <a:gd name="connsiteY15" fmla="*/ 84643 h 1010020"/>
              <a:gd name="connsiteX16" fmla="*/ 440051 w 1115774"/>
              <a:gd name="connsiteY16" fmla="*/ 46463 h 1010020"/>
              <a:gd name="connsiteX17" fmla="*/ 473699 w 1115774"/>
              <a:gd name="connsiteY17" fmla="*/ 36444 h 1010020"/>
              <a:gd name="connsiteX18" fmla="*/ 499521 w 1115774"/>
              <a:gd name="connsiteY18" fmla="*/ 13879 h 1010020"/>
              <a:gd name="connsiteX19" fmla="*/ 546484 w 1115774"/>
              <a:gd name="connsiteY19" fmla="*/ 11803 h 1010020"/>
              <a:gd name="connsiteX20" fmla="*/ 737576 w 1115774"/>
              <a:gd name="connsiteY20" fmla="*/ 33194 h 1010020"/>
              <a:gd name="connsiteX21" fmla="*/ 780671 w 1115774"/>
              <a:gd name="connsiteY21" fmla="*/ 35541 h 1010020"/>
              <a:gd name="connsiteX22" fmla="*/ 803073 w 1115774"/>
              <a:gd name="connsiteY22" fmla="*/ 86087 h 1010020"/>
              <a:gd name="connsiteX23" fmla="*/ 826195 w 1115774"/>
              <a:gd name="connsiteY23" fmla="*/ 91593 h 1010020"/>
              <a:gd name="connsiteX24" fmla="*/ 846976 w 1115774"/>
              <a:gd name="connsiteY24" fmla="*/ 102334 h 1010020"/>
              <a:gd name="connsiteX25" fmla="*/ 859393 w 1115774"/>
              <a:gd name="connsiteY25" fmla="*/ 109915 h 1010020"/>
              <a:gd name="connsiteX26" fmla="*/ 1042836 w 1115774"/>
              <a:gd name="connsiteY26" fmla="*/ 313452 h 1010020"/>
              <a:gd name="connsiteX27" fmla="*/ 1062899 w 1115774"/>
              <a:gd name="connsiteY27" fmla="*/ 384938 h 1010020"/>
              <a:gd name="connsiteX28" fmla="*/ 1078555 w 1115774"/>
              <a:gd name="connsiteY28" fmla="*/ 492527 h 1010020"/>
              <a:gd name="connsiteX29" fmla="*/ 1077655 w 1115774"/>
              <a:gd name="connsiteY29" fmla="*/ 553453 h 1010020"/>
              <a:gd name="connsiteX30" fmla="*/ 1088270 w 1115774"/>
              <a:gd name="connsiteY30" fmla="*/ 586579 h 1010020"/>
              <a:gd name="connsiteX31" fmla="*/ 1085213 w 1115774"/>
              <a:gd name="connsiteY31" fmla="*/ 640373 h 1010020"/>
              <a:gd name="connsiteX32" fmla="*/ 1106264 w 1115774"/>
              <a:gd name="connsiteY32" fmla="*/ 807354 h 1010020"/>
              <a:gd name="connsiteX33" fmla="*/ 1106264 w 1115774"/>
              <a:gd name="connsiteY33" fmla="*/ 911965 h 1010020"/>
              <a:gd name="connsiteX34" fmla="*/ 1107615 w 1115774"/>
              <a:gd name="connsiteY34" fmla="*/ 921895 h 1010020"/>
              <a:gd name="connsiteX35" fmla="*/ 1112381 w 1115774"/>
              <a:gd name="connsiteY35" fmla="*/ 930740 h 1010020"/>
              <a:gd name="connsiteX36" fmla="*/ 1112381 w 1115774"/>
              <a:gd name="connsiteY36" fmla="*/ 930740 h 1010020"/>
              <a:gd name="connsiteX37" fmla="*/ 1091510 w 1115774"/>
              <a:gd name="connsiteY37" fmla="*/ 977313 h 1010020"/>
              <a:gd name="connsiteX38" fmla="*/ 994434 w 1115774"/>
              <a:gd name="connsiteY38" fmla="*/ 990852 h 1010020"/>
              <a:gd name="connsiteX39" fmla="*/ 979859 w 1115774"/>
              <a:gd name="connsiteY39" fmla="*/ 992568 h 1010020"/>
              <a:gd name="connsiteX40" fmla="*/ 949270 w 1115774"/>
              <a:gd name="connsiteY40" fmla="*/ 996449 h 1010020"/>
              <a:gd name="connsiteX41" fmla="*/ 949270 w 1115774"/>
              <a:gd name="connsiteY41" fmla="*/ 996449 h 1010020"/>
              <a:gd name="connsiteX42" fmla="*/ 883864 w 1115774"/>
              <a:gd name="connsiteY42" fmla="*/ 996900 h 1010020"/>
              <a:gd name="connsiteX43" fmla="*/ 819447 w 1115774"/>
              <a:gd name="connsiteY43" fmla="*/ 999066 h 1010020"/>
              <a:gd name="connsiteX44" fmla="*/ 819447 w 1115774"/>
              <a:gd name="connsiteY44" fmla="*/ 999066 h 1010020"/>
              <a:gd name="connsiteX45" fmla="*/ 644100 w 1115774"/>
              <a:gd name="connsiteY45" fmla="*/ 1011793 h 10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5774" h="1010020">
                <a:moveTo>
                  <a:pt x="644100" y="1011793"/>
                </a:moveTo>
                <a:cubicBezTo>
                  <a:pt x="595966" y="1011793"/>
                  <a:pt x="549454" y="1009898"/>
                  <a:pt x="496821" y="1007551"/>
                </a:cubicBezTo>
                <a:cubicBezTo>
                  <a:pt x="455976" y="1007551"/>
                  <a:pt x="424577" y="996178"/>
                  <a:pt x="385890" y="1002948"/>
                </a:cubicBezTo>
                <a:cubicBezTo>
                  <a:pt x="355482" y="1011793"/>
                  <a:pt x="329660" y="1004843"/>
                  <a:pt x="297904" y="1002858"/>
                </a:cubicBezTo>
                <a:cubicBezTo>
                  <a:pt x="297453" y="1002767"/>
                  <a:pt x="283058" y="1001955"/>
                  <a:pt x="282339" y="1001865"/>
                </a:cubicBezTo>
                <a:cubicBezTo>
                  <a:pt x="209645" y="999066"/>
                  <a:pt x="137760" y="991846"/>
                  <a:pt x="64885" y="990763"/>
                </a:cubicBezTo>
                <a:cubicBezTo>
                  <a:pt x="63086" y="1001955"/>
                  <a:pt x="46442" y="1007732"/>
                  <a:pt x="40775" y="996269"/>
                </a:cubicBezTo>
                <a:cubicBezTo>
                  <a:pt x="26739" y="965580"/>
                  <a:pt x="16664" y="935163"/>
                  <a:pt x="10364" y="902308"/>
                </a:cubicBezTo>
                <a:cubicBezTo>
                  <a:pt x="-5380" y="814936"/>
                  <a:pt x="11805" y="725670"/>
                  <a:pt x="12794" y="637666"/>
                </a:cubicBezTo>
                <a:cubicBezTo>
                  <a:pt x="13784" y="520960"/>
                  <a:pt x="35105" y="412286"/>
                  <a:pt x="90077" y="307495"/>
                </a:cubicBezTo>
                <a:cubicBezTo>
                  <a:pt x="107890" y="270579"/>
                  <a:pt x="125974" y="231857"/>
                  <a:pt x="155304" y="202341"/>
                </a:cubicBezTo>
                <a:cubicBezTo>
                  <a:pt x="171949" y="184922"/>
                  <a:pt x="192549" y="172647"/>
                  <a:pt x="212972" y="160281"/>
                </a:cubicBezTo>
                <a:cubicBezTo>
                  <a:pt x="223500" y="152970"/>
                  <a:pt x="227188" y="139792"/>
                  <a:pt x="236185" y="131037"/>
                </a:cubicBezTo>
                <a:cubicBezTo>
                  <a:pt x="245452" y="120476"/>
                  <a:pt x="260115" y="121650"/>
                  <a:pt x="271992" y="116866"/>
                </a:cubicBezTo>
                <a:cubicBezTo>
                  <a:pt x="282427" y="110818"/>
                  <a:pt x="288366" y="99806"/>
                  <a:pt x="298802" y="93489"/>
                </a:cubicBezTo>
                <a:cubicBezTo>
                  <a:pt x="307529" y="87802"/>
                  <a:pt x="317876" y="86177"/>
                  <a:pt x="327771" y="84643"/>
                </a:cubicBezTo>
                <a:cubicBezTo>
                  <a:pt x="366728" y="78595"/>
                  <a:pt x="404064" y="62259"/>
                  <a:pt x="440051" y="46463"/>
                </a:cubicBezTo>
                <a:cubicBezTo>
                  <a:pt x="450759" y="41950"/>
                  <a:pt x="461645" y="35541"/>
                  <a:pt x="473699" y="36444"/>
                </a:cubicBezTo>
                <a:cubicBezTo>
                  <a:pt x="488815" y="40145"/>
                  <a:pt x="488815" y="19655"/>
                  <a:pt x="499521" y="13879"/>
                </a:cubicBezTo>
                <a:cubicBezTo>
                  <a:pt x="508968" y="1694"/>
                  <a:pt x="537487" y="-4895"/>
                  <a:pt x="546484" y="11803"/>
                </a:cubicBezTo>
                <a:cubicBezTo>
                  <a:pt x="608831" y="27057"/>
                  <a:pt x="673069" y="41228"/>
                  <a:pt x="737576" y="33194"/>
                </a:cubicBezTo>
                <a:cubicBezTo>
                  <a:pt x="745762" y="13609"/>
                  <a:pt x="776172" y="11803"/>
                  <a:pt x="780671" y="35541"/>
                </a:cubicBezTo>
                <a:cubicBezTo>
                  <a:pt x="794346" y="48900"/>
                  <a:pt x="791827" y="71645"/>
                  <a:pt x="803073" y="86087"/>
                </a:cubicBezTo>
                <a:cubicBezTo>
                  <a:pt x="809010" y="91322"/>
                  <a:pt x="818817" y="89247"/>
                  <a:pt x="826195" y="91593"/>
                </a:cubicBezTo>
                <a:cubicBezTo>
                  <a:pt x="833661" y="93939"/>
                  <a:pt x="840408" y="98182"/>
                  <a:pt x="846976" y="102334"/>
                </a:cubicBezTo>
                <a:cubicBezTo>
                  <a:pt x="847516" y="102695"/>
                  <a:pt x="858852" y="109645"/>
                  <a:pt x="859393" y="109915"/>
                </a:cubicBezTo>
                <a:cubicBezTo>
                  <a:pt x="936766" y="154324"/>
                  <a:pt x="1029251" y="218137"/>
                  <a:pt x="1042836" y="313452"/>
                </a:cubicBezTo>
                <a:cubicBezTo>
                  <a:pt x="1041668" y="339808"/>
                  <a:pt x="1061640" y="359394"/>
                  <a:pt x="1062899" y="384938"/>
                </a:cubicBezTo>
                <a:cubicBezTo>
                  <a:pt x="1067757" y="421042"/>
                  <a:pt x="1058400" y="460395"/>
                  <a:pt x="1078555" y="492527"/>
                </a:cubicBezTo>
                <a:cubicBezTo>
                  <a:pt x="1086922" y="512295"/>
                  <a:pt x="1077745" y="533235"/>
                  <a:pt x="1077655" y="553453"/>
                </a:cubicBezTo>
                <a:cubicBezTo>
                  <a:pt x="1077655" y="565458"/>
                  <a:pt x="1084853" y="575567"/>
                  <a:pt x="1088270" y="586579"/>
                </a:cubicBezTo>
                <a:cubicBezTo>
                  <a:pt x="1093759" y="604450"/>
                  <a:pt x="1086021" y="622412"/>
                  <a:pt x="1085213" y="640373"/>
                </a:cubicBezTo>
                <a:cubicBezTo>
                  <a:pt x="1087372" y="696245"/>
                  <a:pt x="1104285" y="753198"/>
                  <a:pt x="1106264" y="807354"/>
                </a:cubicBezTo>
                <a:cubicBezTo>
                  <a:pt x="1108603" y="842375"/>
                  <a:pt x="1108693" y="877306"/>
                  <a:pt x="1106264" y="911965"/>
                </a:cubicBezTo>
                <a:cubicBezTo>
                  <a:pt x="1106264" y="912507"/>
                  <a:pt x="1106264" y="918103"/>
                  <a:pt x="1107615" y="921895"/>
                </a:cubicBezTo>
                <a:cubicBezTo>
                  <a:pt x="1108783" y="925053"/>
                  <a:pt x="1110582" y="927941"/>
                  <a:pt x="1112381" y="930740"/>
                </a:cubicBezTo>
                <a:lnTo>
                  <a:pt x="1112381" y="930740"/>
                </a:lnTo>
                <a:cubicBezTo>
                  <a:pt x="1127858" y="951680"/>
                  <a:pt x="1116970" y="974787"/>
                  <a:pt x="1091510" y="977313"/>
                </a:cubicBezTo>
                <a:cubicBezTo>
                  <a:pt x="1058761" y="983361"/>
                  <a:pt x="1024662" y="987333"/>
                  <a:pt x="994434" y="990852"/>
                </a:cubicBezTo>
                <a:cubicBezTo>
                  <a:pt x="993804" y="990943"/>
                  <a:pt x="980489" y="992477"/>
                  <a:pt x="979859" y="992568"/>
                </a:cubicBezTo>
                <a:cubicBezTo>
                  <a:pt x="971312" y="993560"/>
                  <a:pt x="958447" y="995095"/>
                  <a:pt x="949270" y="996449"/>
                </a:cubicBezTo>
                <a:lnTo>
                  <a:pt x="949270" y="996449"/>
                </a:lnTo>
                <a:cubicBezTo>
                  <a:pt x="927589" y="999969"/>
                  <a:pt x="905455" y="1001684"/>
                  <a:pt x="883864" y="996900"/>
                </a:cubicBezTo>
                <a:cubicBezTo>
                  <a:pt x="862720" y="991665"/>
                  <a:pt x="840498" y="995005"/>
                  <a:pt x="819447" y="999066"/>
                </a:cubicBezTo>
                <a:lnTo>
                  <a:pt x="819447" y="999066"/>
                </a:lnTo>
                <a:cubicBezTo>
                  <a:pt x="760518" y="1009266"/>
                  <a:pt x="706627" y="1011522"/>
                  <a:pt x="644100" y="1011793"/>
                </a:cubicBezTo>
                <a:close/>
              </a:path>
            </a:pathLst>
          </a:custGeom>
          <a:solidFill>
            <a:srgbClr val="B2C5F4"/>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30" name="Freeform: Shape 112">
            <a:extLst>
              <a:ext uri="{FF2B5EF4-FFF2-40B4-BE49-F238E27FC236}">
                <a16:creationId xmlns:a16="http://schemas.microsoft.com/office/drawing/2014/main" id="{2639030F-5439-5686-FD50-0B8726ED1011}"/>
              </a:ext>
            </a:extLst>
          </p:cNvPr>
          <p:cNvSpPr/>
          <p:nvPr/>
        </p:nvSpPr>
        <p:spPr>
          <a:xfrm>
            <a:off x="1006651" y="3054526"/>
            <a:ext cx="483710" cy="567188"/>
          </a:xfrm>
          <a:custGeom>
            <a:avLst/>
            <a:gdLst>
              <a:gd name="connsiteX0" fmla="*/ 249846 w 483710"/>
              <a:gd name="connsiteY0" fmla="*/ 2095 h 567188"/>
              <a:gd name="connsiteX1" fmla="*/ 419071 w 483710"/>
              <a:gd name="connsiteY1" fmla="*/ 58467 h 567188"/>
              <a:gd name="connsiteX2" fmla="*/ 429787 w 483710"/>
              <a:gd name="connsiteY2" fmla="*/ 99586 h 567188"/>
              <a:gd name="connsiteX3" fmla="*/ 483280 w 483710"/>
              <a:gd name="connsiteY3" fmla="*/ 447533 h 567188"/>
              <a:gd name="connsiteX4" fmla="*/ 304141 w 483710"/>
              <a:gd name="connsiteY4" fmla="*/ 569284 h 567188"/>
              <a:gd name="connsiteX5" fmla="*/ 106874 w 483710"/>
              <a:gd name="connsiteY5" fmla="*/ 494003 h 567188"/>
              <a:gd name="connsiteX6" fmla="*/ 54186 w 483710"/>
              <a:gd name="connsiteY6" fmla="*/ 405077 h 567188"/>
              <a:gd name="connsiteX7" fmla="*/ 29896 w 483710"/>
              <a:gd name="connsiteY7" fmla="*/ 408377 h 567188"/>
              <a:gd name="connsiteX8" fmla="*/ 1229 w 483710"/>
              <a:gd name="connsiteY8" fmla="*/ 353879 h 567188"/>
              <a:gd name="connsiteX9" fmla="*/ 37039 w 483710"/>
              <a:gd name="connsiteY9" fmla="*/ 292781 h 567188"/>
              <a:gd name="connsiteX10" fmla="*/ 56597 w 483710"/>
              <a:gd name="connsiteY10" fmla="*/ 69705 h 567188"/>
              <a:gd name="connsiteX11" fmla="*/ 249846 w 483710"/>
              <a:gd name="connsiteY11" fmla="*/ 2095 h 56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10" h="567188">
                <a:moveTo>
                  <a:pt x="249846" y="2095"/>
                </a:moveTo>
                <a:cubicBezTo>
                  <a:pt x="311196" y="2095"/>
                  <a:pt x="387637" y="20916"/>
                  <a:pt x="419071" y="58467"/>
                </a:cubicBezTo>
                <a:cubicBezTo>
                  <a:pt x="426662" y="67475"/>
                  <a:pt x="428180" y="90131"/>
                  <a:pt x="429787" y="99586"/>
                </a:cubicBezTo>
                <a:cubicBezTo>
                  <a:pt x="439701" y="157116"/>
                  <a:pt x="495157" y="376803"/>
                  <a:pt x="483280" y="447533"/>
                </a:cubicBezTo>
                <a:cubicBezTo>
                  <a:pt x="471313" y="518354"/>
                  <a:pt x="407016" y="569284"/>
                  <a:pt x="304141" y="569284"/>
                </a:cubicBezTo>
                <a:cubicBezTo>
                  <a:pt x="201265" y="569284"/>
                  <a:pt x="124466" y="513270"/>
                  <a:pt x="106874" y="494003"/>
                </a:cubicBezTo>
                <a:cubicBezTo>
                  <a:pt x="89281" y="474738"/>
                  <a:pt x="54186" y="405077"/>
                  <a:pt x="54186" y="405077"/>
                </a:cubicBezTo>
                <a:cubicBezTo>
                  <a:pt x="54186" y="405077"/>
                  <a:pt x="40612" y="412926"/>
                  <a:pt x="29896" y="408377"/>
                </a:cubicBezTo>
                <a:cubicBezTo>
                  <a:pt x="14982" y="402044"/>
                  <a:pt x="1408" y="380013"/>
                  <a:pt x="1229" y="353879"/>
                </a:cubicBezTo>
                <a:cubicBezTo>
                  <a:pt x="962" y="309015"/>
                  <a:pt x="37039" y="292781"/>
                  <a:pt x="37039" y="292781"/>
                </a:cubicBezTo>
                <a:cubicBezTo>
                  <a:pt x="37039" y="292781"/>
                  <a:pt x="24181" y="115729"/>
                  <a:pt x="56597" y="69705"/>
                </a:cubicBezTo>
                <a:cubicBezTo>
                  <a:pt x="88924" y="23592"/>
                  <a:pt x="173850" y="2095"/>
                  <a:pt x="249846" y="2095"/>
                </a:cubicBezTo>
                <a:close/>
              </a:path>
            </a:pathLst>
          </a:custGeom>
          <a:solidFill>
            <a:srgbClr val="FFFFFF"/>
          </a:solidFill>
          <a:ln w="8890" cap="flat">
            <a:noFill/>
            <a:prstDash val="solid"/>
            <a:miter/>
          </a:ln>
        </p:spPr>
        <p:txBody>
          <a:bodyPr rtlCol="0" anchor="ctr"/>
          <a:lstStyle/>
          <a:p>
            <a:endParaRPr lang="en-GB">
              <a:solidFill>
                <a:schemeClr val="bg1"/>
              </a:solidFill>
            </a:endParaRPr>
          </a:p>
        </p:txBody>
      </p:sp>
      <p:sp>
        <p:nvSpPr>
          <p:cNvPr id="234" name="Freeform: Shape 134">
            <a:extLst>
              <a:ext uri="{FF2B5EF4-FFF2-40B4-BE49-F238E27FC236}">
                <a16:creationId xmlns:a16="http://schemas.microsoft.com/office/drawing/2014/main" id="{14948912-6A28-F711-AD1B-825925A383EE}"/>
              </a:ext>
            </a:extLst>
          </p:cNvPr>
          <p:cNvSpPr/>
          <p:nvPr/>
        </p:nvSpPr>
        <p:spPr>
          <a:xfrm>
            <a:off x="1143203" y="3267495"/>
            <a:ext cx="114172" cy="45719"/>
          </a:xfrm>
          <a:custGeom>
            <a:avLst/>
            <a:gdLst>
              <a:gd name="connsiteX0" fmla="*/ 61958 w 114172"/>
              <a:gd name="connsiteY0" fmla="*/ 48140 h 47313"/>
              <a:gd name="connsiteX1" fmla="*/ 51603 w 114172"/>
              <a:gd name="connsiteY1" fmla="*/ 40291 h 47313"/>
              <a:gd name="connsiteX2" fmla="*/ 52458 w 114172"/>
              <a:gd name="connsiteY2" fmla="*/ 19662 h 47313"/>
              <a:gd name="connsiteX3" fmla="*/ 52801 w 114172"/>
              <a:gd name="connsiteY3" fmla="*/ 19208 h 47313"/>
              <a:gd name="connsiteX4" fmla="*/ 52715 w 114172"/>
              <a:gd name="connsiteY4" fmla="*/ 18084 h 47313"/>
              <a:gd name="connsiteX5" fmla="*/ 25244 w 114172"/>
              <a:gd name="connsiteY5" fmla="*/ 15340 h 47313"/>
              <a:gd name="connsiteX6" fmla="*/ 2136 w 114172"/>
              <a:gd name="connsiteY6" fmla="*/ 9524 h 47313"/>
              <a:gd name="connsiteX7" fmla="*/ 2050 w 114172"/>
              <a:gd name="connsiteY7" fmla="*/ 9250 h 47313"/>
              <a:gd name="connsiteX8" fmla="*/ 2221 w 114172"/>
              <a:gd name="connsiteY8" fmla="*/ 8958 h 47313"/>
              <a:gd name="connsiteX9" fmla="*/ 23960 w 114172"/>
              <a:gd name="connsiteY9" fmla="*/ 6693 h 47313"/>
              <a:gd name="connsiteX10" fmla="*/ 62044 w 114172"/>
              <a:gd name="connsiteY10" fmla="*/ 5004 h 47313"/>
              <a:gd name="connsiteX11" fmla="*/ 71972 w 114172"/>
              <a:gd name="connsiteY11" fmla="*/ 4317 h 47313"/>
              <a:gd name="connsiteX12" fmla="*/ 90201 w 114172"/>
              <a:gd name="connsiteY12" fmla="*/ 2739 h 47313"/>
              <a:gd name="connsiteX13" fmla="*/ 106205 w 114172"/>
              <a:gd name="connsiteY13" fmla="*/ 827 h 47313"/>
              <a:gd name="connsiteX14" fmla="*/ 114079 w 114172"/>
              <a:gd name="connsiteY14" fmla="*/ 14396 h 47313"/>
              <a:gd name="connsiteX15" fmla="*/ 100470 w 114172"/>
              <a:gd name="connsiteY15" fmla="*/ 18445 h 47313"/>
              <a:gd name="connsiteX16" fmla="*/ 82327 w 114172"/>
              <a:gd name="connsiteY16" fmla="*/ 18873 h 47313"/>
              <a:gd name="connsiteX17" fmla="*/ 66751 w 114172"/>
              <a:gd name="connsiteY17" fmla="*/ 46459 h 47313"/>
              <a:gd name="connsiteX18" fmla="*/ 61958 w 114172"/>
              <a:gd name="connsiteY18" fmla="*/ 48140 h 47313"/>
              <a:gd name="connsiteX19" fmla="*/ 61958 w 114172"/>
              <a:gd name="connsiteY19" fmla="*/ 48140 h 4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172" h="47313">
                <a:moveTo>
                  <a:pt x="61958" y="48140"/>
                </a:moveTo>
                <a:cubicBezTo>
                  <a:pt x="57337" y="48140"/>
                  <a:pt x="53058" y="44151"/>
                  <a:pt x="51603" y="40291"/>
                </a:cubicBezTo>
                <a:cubicBezTo>
                  <a:pt x="49463" y="33695"/>
                  <a:pt x="48950" y="25873"/>
                  <a:pt x="52458" y="19662"/>
                </a:cubicBezTo>
                <a:lnTo>
                  <a:pt x="52801" y="19208"/>
                </a:lnTo>
                <a:cubicBezTo>
                  <a:pt x="52715" y="18899"/>
                  <a:pt x="52715" y="18385"/>
                  <a:pt x="52715" y="18084"/>
                </a:cubicBezTo>
                <a:cubicBezTo>
                  <a:pt x="44329" y="17578"/>
                  <a:pt x="34658" y="16609"/>
                  <a:pt x="25244" y="15340"/>
                </a:cubicBezTo>
                <a:cubicBezTo>
                  <a:pt x="17712" y="14362"/>
                  <a:pt x="7956" y="14096"/>
                  <a:pt x="2136" y="9524"/>
                </a:cubicBezTo>
                <a:cubicBezTo>
                  <a:pt x="2050" y="9455"/>
                  <a:pt x="2050" y="9352"/>
                  <a:pt x="2050" y="9250"/>
                </a:cubicBezTo>
                <a:cubicBezTo>
                  <a:pt x="2050" y="9130"/>
                  <a:pt x="2136" y="9018"/>
                  <a:pt x="2221" y="8958"/>
                </a:cubicBezTo>
                <a:cubicBezTo>
                  <a:pt x="8983" y="6067"/>
                  <a:pt x="16771" y="7448"/>
                  <a:pt x="23960" y="6693"/>
                </a:cubicBezTo>
                <a:cubicBezTo>
                  <a:pt x="37140" y="6316"/>
                  <a:pt x="49977" y="5732"/>
                  <a:pt x="62044" y="5004"/>
                </a:cubicBezTo>
                <a:cubicBezTo>
                  <a:pt x="65125" y="3700"/>
                  <a:pt x="68719" y="3262"/>
                  <a:pt x="71972" y="4317"/>
                </a:cubicBezTo>
                <a:cubicBezTo>
                  <a:pt x="77877" y="3880"/>
                  <a:pt x="84210" y="3237"/>
                  <a:pt x="90201" y="2739"/>
                </a:cubicBezTo>
                <a:cubicBezTo>
                  <a:pt x="95593" y="2602"/>
                  <a:pt x="100813" y="1221"/>
                  <a:pt x="106205" y="827"/>
                </a:cubicBezTo>
                <a:cubicBezTo>
                  <a:pt x="112966" y="758"/>
                  <a:pt x="119812" y="7697"/>
                  <a:pt x="114079" y="14396"/>
                </a:cubicBezTo>
                <a:cubicBezTo>
                  <a:pt x="110056" y="19148"/>
                  <a:pt x="105606" y="18264"/>
                  <a:pt x="100470" y="18445"/>
                </a:cubicBezTo>
                <a:cubicBezTo>
                  <a:pt x="94394" y="18685"/>
                  <a:pt x="88318" y="18873"/>
                  <a:pt x="82327" y="18873"/>
                </a:cubicBezTo>
                <a:cubicBezTo>
                  <a:pt x="82669" y="30136"/>
                  <a:pt x="75481" y="40017"/>
                  <a:pt x="66751" y="46459"/>
                </a:cubicBezTo>
                <a:cubicBezTo>
                  <a:pt x="65382" y="47539"/>
                  <a:pt x="63670" y="48131"/>
                  <a:pt x="61958" y="48140"/>
                </a:cubicBezTo>
                <a:lnTo>
                  <a:pt x="61958" y="48140"/>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235" name="Freeform: Shape 134">
            <a:extLst>
              <a:ext uri="{FF2B5EF4-FFF2-40B4-BE49-F238E27FC236}">
                <a16:creationId xmlns:a16="http://schemas.microsoft.com/office/drawing/2014/main" id="{2E2E049B-0426-0FC0-9DE4-132746B5893D}"/>
              </a:ext>
            </a:extLst>
          </p:cNvPr>
          <p:cNvSpPr/>
          <p:nvPr/>
        </p:nvSpPr>
        <p:spPr>
          <a:xfrm>
            <a:off x="1309228" y="3257361"/>
            <a:ext cx="114172" cy="45719"/>
          </a:xfrm>
          <a:custGeom>
            <a:avLst/>
            <a:gdLst>
              <a:gd name="connsiteX0" fmla="*/ 61958 w 114172"/>
              <a:gd name="connsiteY0" fmla="*/ 48140 h 47313"/>
              <a:gd name="connsiteX1" fmla="*/ 51603 w 114172"/>
              <a:gd name="connsiteY1" fmla="*/ 40291 h 47313"/>
              <a:gd name="connsiteX2" fmla="*/ 52458 w 114172"/>
              <a:gd name="connsiteY2" fmla="*/ 19662 h 47313"/>
              <a:gd name="connsiteX3" fmla="*/ 52801 w 114172"/>
              <a:gd name="connsiteY3" fmla="*/ 19208 h 47313"/>
              <a:gd name="connsiteX4" fmla="*/ 52715 w 114172"/>
              <a:gd name="connsiteY4" fmla="*/ 18084 h 47313"/>
              <a:gd name="connsiteX5" fmla="*/ 25244 w 114172"/>
              <a:gd name="connsiteY5" fmla="*/ 15340 h 47313"/>
              <a:gd name="connsiteX6" fmla="*/ 2136 w 114172"/>
              <a:gd name="connsiteY6" fmla="*/ 9524 h 47313"/>
              <a:gd name="connsiteX7" fmla="*/ 2050 w 114172"/>
              <a:gd name="connsiteY7" fmla="*/ 9250 h 47313"/>
              <a:gd name="connsiteX8" fmla="*/ 2221 w 114172"/>
              <a:gd name="connsiteY8" fmla="*/ 8958 h 47313"/>
              <a:gd name="connsiteX9" fmla="*/ 23960 w 114172"/>
              <a:gd name="connsiteY9" fmla="*/ 6693 h 47313"/>
              <a:gd name="connsiteX10" fmla="*/ 62044 w 114172"/>
              <a:gd name="connsiteY10" fmla="*/ 5004 h 47313"/>
              <a:gd name="connsiteX11" fmla="*/ 71972 w 114172"/>
              <a:gd name="connsiteY11" fmla="*/ 4317 h 47313"/>
              <a:gd name="connsiteX12" fmla="*/ 90201 w 114172"/>
              <a:gd name="connsiteY12" fmla="*/ 2739 h 47313"/>
              <a:gd name="connsiteX13" fmla="*/ 106205 w 114172"/>
              <a:gd name="connsiteY13" fmla="*/ 827 h 47313"/>
              <a:gd name="connsiteX14" fmla="*/ 114079 w 114172"/>
              <a:gd name="connsiteY14" fmla="*/ 14396 h 47313"/>
              <a:gd name="connsiteX15" fmla="*/ 100470 w 114172"/>
              <a:gd name="connsiteY15" fmla="*/ 18445 h 47313"/>
              <a:gd name="connsiteX16" fmla="*/ 82327 w 114172"/>
              <a:gd name="connsiteY16" fmla="*/ 18873 h 47313"/>
              <a:gd name="connsiteX17" fmla="*/ 66751 w 114172"/>
              <a:gd name="connsiteY17" fmla="*/ 46459 h 47313"/>
              <a:gd name="connsiteX18" fmla="*/ 61958 w 114172"/>
              <a:gd name="connsiteY18" fmla="*/ 48140 h 47313"/>
              <a:gd name="connsiteX19" fmla="*/ 61958 w 114172"/>
              <a:gd name="connsiteY19" fmla="*/ 48140 h 4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172" h="47313">
                <a:moveTo>
                  <a:pt x="61958" y="48140"/>
                </a:moveTo>
                <a:cubicBezTo>
                  <a:pt x="57337" y="48140"/>
                  <a:pt x="53058" y="44151"/>
                  <a:pt x="51603" y="40291"/>
                </a:cubicBezTo>
                <a:cubicBezTo>
                  <a:pt x="49463" y="33695"/>
                  <a:pt x="48950" y="25873"/>
                  <a:pt x="52458" y="19662"/>
                </a:cubicBezTo>
                <a:lnTo>
                  <a:pt x="52801" y="19208"/>
                </a:lnTo>
                <a:cubicBezTo>
                  <a:pt x="52715" y="18899"/>
                  <a:pt x="52715" y="18385"/>
                  <a:pt x="52715" y="18084"/>
                </a:cubicBezTo>
                <a:cubicBezTo>
                  <a:pt x="44329" y="17578"/>
                  <a:pt x="34658" y="16609"/>
                  <a:pt x="25244" y="15340"/>
                </a:cubicBezTo>
                <a:cubicBezTo>
                  <a:pt x="17712" y="14362"/>
                  <a:pt x="7956" y="14096"/>
                  <a:pt x="2136" y="9524"/>
                </a:cubicBezTo>
                <a:cubicBezTo>
                  <a:pt x="2050" y="9455"/>
                  <a:pt x="2050" y="9352"/>
                  <a:pt x="2050" y="9250"/>
                </a:cubicBezTo>
                <a:cubicBezTo>
                  <a:pt x="2050" y="9130"/>
                  <a:pt x="2136" y="9018"/>
                  <a:pt x="2221" y="8958"/>
                </a:cubicBezTo>
                <a:cubicBezTo>
                  <a:pt x="8983" y="6067"/>
                  <a:pt x="16771" y="7448"/>
                  <a:pt x="23960" y="6693"/>
                </a:cubicBezTo>
                <a:cubicBezTo>
                  <a:pt x="37140" y="6316"/>
                  <a:pt x="49977" y="5732"/>
                  <a:pt x="62044" y="5004"/>
                </a:cubicBezTo>
                <a:cubicBezTo>
                  <a:pt x="65125" y="3700"/>
                  <a:pt x="68719" y="3262"/>
                  <a:pt x="71972" y="4317"/>
                </a:cubicBezTo>
                <a:cubicBezTo>
                  <a:pt x="77877" y="3880"/>
                  <a:pt x="84210" y="3237"/>
                  <a:pt x="90201" y="2739"/>
                </a:cubicBezTo>
                <a:cubicBezTo>
                  <a:pt x="95593" y="2602"/>
                  <a:pt x="100813" y="1221"/>
                  <a:pt x="106205" y="827"/>
                </a:cubicBezTo>
                <a:cubicBezTo>
                  <a:pt x="112966" y="758"/>
                  <a:pt x="119812" y="7697"/>
                  <a:pt x="114079" y="14396"/>
                </a:cubicBezTo>
                <a:cubicBezTo>
                  <a:pt x="110056" y="19148"/>
                  <a:pt x="105606" y="18264"/>
                  <a:pt x="100470" y="18445"/>
                </a:cubicBezTo>
                <a:cubicBezTo>
                  <a:pt x="94394" y="18685"/>
                  <a:pt x="88318" y="18873"/>
                  <a:pt x="82327" y="18873"/>
                </a:cubicBezTo>
                <a:cubicBezTo>
                  <a:pt x="82669" y="30136"/>
                  <a:pt x="75481" y="40017"/>
                  <a:pt x="66751" y="46459"/>
                </a:cubicBezTo>
                <a:cubicBezTo>
                  <a:pt x="65382" y="47539"/>
                  <a:pt x="63670" y="48131"/>
                  <a:pt x="61958" y="48140"/>
                </a:cubicBezTo>
                <a:lnTo>
                  <a:pt x="61958" y="48140"/>
                </a:lnTo>
                <a:close/>
              </a:path>
            </a:pathLst>
          </a:custGeom>
          <a:solidFill>
            <a:srgbClr val="16180A"/>
          </a:solidFill>
          <a:ln w="8552" cap="flat">
            <a:noFill/>
            <a:prstDash val="solid"/>
            <a:miter/>
          </a:ln>
        </p:spPr>
        <p:txBody>
          <a:bodyPr rtlCol="0" anchor="ctr"/>
          <a:lstStyle/>
          <a:p>
            <a:endParaRPr lang="en-GB">
              <a:solidFill>
                <a:schemeClr val="bg1"/>
              </a:solidFill>
            </a:endParaRPr>
          </a:p>
        </p:txBody>
      </p:sp>
      <p:sp>
        <p:nvSpPr>
          <p:cNvPr id="236" name="Freeform: Shape 62">
            <a:extLst>
              <a:ext uri="{FF2B5EF4-FFF2-40B4-BE49-F238E27FC236}">
                <a16:creationId xmlns:a16="http://schemas.microsoft.com/office/drawing/2014/main" id="{E3F1F835-6229-8CB2-197E-3F25DFC4D49F}"/>
              </a:ext>
            </a:extLst>
          </p:cNvPr>
          <p:cNvSpPr/>
          <p:nvPr/>
        </p:nvSpPr>
        <p:spPr>
          <a:xfrm>
            <a:off x="1217327" y="3441803"/>
            <a:ext cx="190112" cy="45719"/>
          </a:xfrm>
          <a:custGeom>
            <a:avLst/>
            <a:gdLst>
              <a:gd name="connsiteX0" fmla="*/ 49122 w 93873"/>
              <a:gd name="connsiteY0" fmla="*/ 47549 h 46313"/>
              <a:gd name="connsiteX1" fmla="*/ 9734 w 93873"/>
              <a:gd name="connsiteY1" fmla="*/ 29317 h 46313"/>
              <a:gd name="connsiteX2" fmla="*/ 4489 w 93873"/>
              <a:gd name="connsiteY2" fmla="*/ 1246 h 46313"/>
              <a:gd name="connsiteX3" fmla="*/ 7979 w 93873"/>
              <a:gd name="connsiteY3" fmla="*/ 3322 h 46313"/>
              <a:gd name="connsiteX4" fmla="*/ 75932 w 93873"/>
              <a:gd name="connsiteY4" fmla="*/ 14244 h 46313"/>
              <a:gd name="connsiteX5" fmla="*/ 82914 w 93873"/>
              <a:gd name="connsiteY5" fmla="*/ 10724 h 46313"/>
              <a:gd name="connsiteX6" fmla="*/ 82977 w 93873"/>
              <a:gd name="connsiteY6" fmla="*/ 10724 h 46313"/>
              <a:gd name="connsiteX7" fmla="*/ 90399 w 93873"/>
              <a:gd name="connsiteY7" fmla="*/ 14063 h 46313"/>
              <a:gd name="connsiteX8" fmla="*/ 93872 w 93873"/>
              <a:gd name="connsiteY8" fmla="*/ 21645 h 46313"/>
              <a:gd name="connsiteX9" fmla="*/ 91002 w 93873"/>
              <a:gd name="connsiteY9" fmla="*/ 29045 h 46313"/>
              <a:gd name="connsiteX10" fmla="*/ 49122 w 93873"/>
              <a:gd name="connsiteY10" fmla="*/ 47549 h 4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73" h="46313">
                <a:moveTo>
                  <a:pt x="49122" y="47549"/>
                </a:moveTo>
                <a:cubicBezTo>
                  <a:pt x="34097" y="47730"/>
                  <a:pt x="19513" y="40599"/>
                  <a:pt x="9734" y="29317"/>
                </a:cubicBezTo>
                <a:cubicBezTo>
                  <a:pt x="4354" y="23811"/>
                  <a:pt x="-5930" y="2871"/>
                  <a:pt x="4489" y="1246"/>
                </a:cubicBezTo>
                <a:cubicBezTo>
                  <a:pt x="5937" y="1155"/>
                  <a:pt x="7377" y="1968"/>
                  <a:pt x="7979" y="3322"/>
                </a:cubicBezTo>
                <a:cubicBezTo>
                  <a:pt x="24093" y="28685"/>
                  <a:pt x="54727" y="38975"/>
                  <a:pt x="75932" y="14244"/>
                </a:cubicBezTo>
                <a:cubicBezTo>
                  <a:pt x="77633" y="12077"/>
                  <a:pt x="80188" y="10814"/>
                  <a:pt x="82914" y="10724"/>
                </a:cubicBezTo>
                <a:lnTo>
                  <a:pt x="82977" y="10724"/>
                </a:lnTo>
                <a:cubicBezTo>
                  <a:pt x="85784" y="10814"/>
                  <a:pt x="88456" y="11987"/>
                  <a:pt x="90399" y="14063"/>
                </a:cubicBezTo>
                <a:cubicBezTo>
                  <a:pt x="92450" y="16049"/>
                  <a:pt x="93692" y="18757"/>
                  <a:pt x="93872" y="21645"/>
                </a:cubicBezTo>
                <a:cubicBezTo>
                  <a:pt x="93971" y="24443"/>
                  <a:pt x="92936" y="27060"/>
                  <a:pt x="91002" y="29045"/>
                </a:cubicBezTo>
                <a:cubicBezTo>
                  <a:pt x="80323" y="40599"/>
                  <a:pt x="64830" y="47549"/>
                  <a:pt x="49122" y="4754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p:sp>
        <p:nvSpPr>
          <p:cNvPr id="238" name="Freeform: Shape 125">
            <a:extLst>
              <a:ext uri="{FF2B5EF4-FFF2-40B4-BE49-F238E27FC236}">
                <a16:creationId xmlns:a16="http://schemas.microsoft.com/office/drawing/2014/main" id="{924FF02D-90F6-3356-99A2-8F0ECD9A7D2D}"/>
              </a:ext>
            </a:extLst>
          </p:cNvPr>
          <p:cNvSpPr/>
          <p:nvPr/>
        </p:nvSpPr>
        <p:spPr>
          <a:xfrm>
            <a:off x="747252" y="3554695"/>
            <a:ext cx="853817" cy="940390"/>
          </a:xfrm>
          <a:custGeom>
            <a:avLst/>
            <a:gdLst>
              <a:gd name="connsiteX0" fmla="*/ 541147 w 764539"/>
              <a:gd name="connsiteY0" fmla="*/ 887199 h 940390"/>
              <a:gd name="connsiteX1" fmla="*/ 534984 w 764539"/>
              <a:gd name="connsiteY1" fmla="*/ 580401 h 940390"/>
              <a:gd name="connsiteX2" fmla="*/ 573925 w 764539"/>
              <a:gd name="connsiteY2" fmla="*/ 135283 h 940390"/>
              <a:gd name="connsiteX3" fmla="*/ 577776 w 764539"/>
              <a:gd name="connsiteY3" fmla="*/ 108307 h 940390"/>
              <a:gd name="connsiteX4" fmla="*/ 572555 w 764539"/>
              <a:gd name="connsiteY4" fmla="*/ 62486 h 940390"/>
              <a:gd name="connsiteX5" fmla="*/ 575979 w 764539"/>
              <a:gd name="connsiteY5" fmla="*/ 45640 h 940390"/>
              <a:gd name="connsiteX6" fmla="*/ 736790 w 764539"/>
              <a:gd name="connsiteY6" fmla="*/ 40614 h 940390"/>
              <a:gd name="connsiteX7" fmla="*/ 739785 w 764539"/>
              <a:gd name="connsiteY7" fmla="*/ 41789 h 940390"/>
              <a:gd name="connsiteX8" fmla="*/ 765460 w 764539"/>
              <a:gd name="connsiteY8" fmla="*/ 62983 h 940390"/>
              <a:gd name="connsiteX9" fmla="*/ 760325 w 764539"/>
              <a:gd name="connsiteY9" fmla="*/ 83887 h 940390"/>
              <a:gd name="connsiteX10" fmla="*/ 753478 w 764539"/>
              <a:gd name="connsiteY10" fmla="*/ 108170 h 940390"/>
              <a:gd name="connsiteX11" fmla="*/ 748257 w 764539"/>
              <a:gd name="connsiteY11" fmla="*/ 123909 h 940390"/>
              <a:gd name="connsiteX12" fmla="*/ 742352 w 764539"/>
              <a:gd name="connsiteY12" fmla="*/ 134811 h 940390"/>
              <a:gd name="connsiteX13" fmla="*/ 729600 w 764539"/>
              <a:gd name="connsiteY13" fmla="*/ 170742 h 940390"/>
              <a:gd name="connsiteX14" fmla="*/ 633149 w 764539"/>
              <a:gd name="connsiteY14" fmla="*/ 482858 h 940390"/>
              <a:gd name="connsiteX15" fmla="*/ 572727 w 764539"/>
              <a:gd name="connsiteY15" fmla="*/ 934950 h 940390"/>
              <a:gd name="connsiteX16" fmla="*/ 565024 w 764539"/>
              <a:gd name="connsiteY16" fmla="*/ 938621 h 940390"/>
              <a:gd name="connsiteX17" fmla="*/ 541147 w 764539"/>
              <a:gd name="connsiteY17" fmla="*/ 887199 h 940390"/>
              <a:gd name="connsiteX18" fmla="*/ 348756 w 764539"/>
              <a:gd name="connsiteY18" fmla="*/ 552696 h 940390"/>
              <a:gd name="connsiteX19" fmla="*/ 331982 w 764539"/>
              <a:gd name="connsiteY19" fmla="*/ 553579 h 940390"/>
              <a:gd name="connsiteX20" fmla="*/ 309388 w 764539"/>
              <a:gd name="connsiteY20" fmla="*/ 369593 h 940390"/>
              <a:gd name="connsiteX21" fmla="*/ 300658 w 764539"/>
              <a:gd name="connsiteY21" fmla="*/ 334614 h 940390"/>
              <a:gd name="connsiteX22" fmla="*/ 211653 w 764539"/>
              <a:gd name="connsiteY22" fmla="*/ 133293 h 940390"/>
              <a:gd name="connsiteX23" fmla="*/ 75832 w 764539"/>
              <a:gd name="connsiteY23" fmla="*/ 150808 h 940390"/>
              <a:gd name="connsiteX24" fmla="*/ 15325 w 764539"/>
              <a:gd name="connsiteY24" fmla="*/ 158219 h 940390"/>
              <a:gd name="connsiteX25" fmla="*/ 7965 w 764539"/>
              <a:gd name="connsiteY25" fmla="*/ 105365 h 940390"/>
              <a:gd name="connsiteX26" fmla="*/ 60342 w 764539"/>
              <a:gd name="connsiteY26" fmla="*/ 60590 h 940390"/>
              <a:gd name="connsiteX27" fmla="*/ 68729 w 764539"/>
              <a:gd name="connsiteY27" fmla="*/ 26006 h 940390"/>
              <a:gd name="connsiteX28" fmla="*/ 164068 w 764539"/>
              <a:gd name="connsiteY28" fmla="*/ 68 h 940390"/>
              <a:gd name="connsiteX29" fmla="*/ 243490 w 764539"/>
              <a:gd name="connsiteY29" fmla="*/ 19573 h 940390"/>
              <a:gd name="connsiteX30" fmla="*/ 271903 w 764539"/>
              <a:gd name="connsiteY30" fmla="*/ 47501 h 940390"/>
              <a:gd name="connsiteX31" fmla="*/ 443838 w 764539"/>
              <a:gd name="connsiteY31" fmla="*/ 89359 h 940390"/>
              <a:gd name="connsiteX32" fmla="*/ 449487 w 764539"/>
              <a:gd name="connsiteY32" fmla="*/ 99661 h 940390"/>
              <a:gd name="connsiteX33" fmla="*/ 348756 w 764539"/>
              <a:gd name="connsiteY33" fmla="*/ 552696 h 94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4539" h="940390">
                <a:moveTo>
                  <a:pt x="541147" y="887199"/>
                </a:moveTo>
                <a:cubicBezTo>
                  <a:pt x="541317" y="879385"/>
                  <a:pt x="530877" y="675122"/>
                  <a:pt x="534984" y="580401"/>
                </a:cubicBezTo>
                <a:cubicBezTo>
                  <a:pt x="538322" y="430956"/>
                  <a:pt x="569132" y="297337"/>
                  <a:pt x="573925" y="135283"/>
                </a:cubicBezTo>
                <a:lnTo>
                  <a:pt x="577776" y="108307"/>
                </a:lnTo>
                <a:cubicBezTo>
                  <a:pt x="576663" y="94669"/>
                  <a:pt x="573069" y="76056"/>
                  <a:pt x="572555" y="62486"/>
                </a:cubicBezTo>
                <a:cubicBezTo>
                  <a:pt x="571957" y="45949"/>
                  <a:pt x="575722" y="46489"/>
                  <a:pt x="575979" y="45640"/>
                </a:cubicBezTo>
                <a:cubicBezTo>
                  <a:pt x="637684" y="30123"/>
                  <a:pt x="680989" y="27825"/>
                  <a:pt x="736790" y="40614"/>
                </a:cubicBezTo>
                <a:cubicBezTo>
                  <a:pt x="737217" y="40716"/>
                  <a:pt x="739356" y="41583"/>
                  <a:pt x="739785" y="41789"/>
                </a:cubicBezTo>
                <a:cubicBezTo>
                  <a:pt x="745005" y="44542"/>
                  <a:pt x="746375" y="50229"/>
                  <a:pt x="765460" y="62983"/>
                </a:cubicBezTo>
                <a:cubicBezTo>
                  <a:pt x="768198" y="69571"/>
                  <a:pt x="764604" y="77582"/>
                  <a:pt x="760325" y="83887"/>
                </a:cubicBezTo>
                <a:cubicBezTo>
                  <a:pt x="756131" y="90234"/>
                  <a:pt x="753478" y="107209"/>
                  <a:pt x="753478" y="108170"/>
                </a:cubicBezTo>
                <a:cubicBezTo>
                  <a:pt x="753307" y="113822"/>
                  <a:pt x="751510" y="119277"/>
                  <a:pt x="748257" y="123909"/>
                </a:cubicBezTo>
                <a:cubicBezTo>
                  <a:pt x="744577" y="129176"/>
                  <a:pt x="742352" y="134811"/>
                  <a:pt x="742352" y="134811"/>
                </a:cubicBezTo>
                <a:cubicBezTo>
                  <a:pt x="742352" y="134811"/>
                  <a:pt x="734906" y="159248"/>
                  <a:pt x="729600" y="170742"/>
                </a:cubicBezTo>
                <a:cubicBezTo>
                  <a:pt x="685610" y="269597"/>
                  <a:pt x="658738" y="374868"/>
                  <a:pt x="633149" y="482858"/>
                </a:cubicBezTo>
                <a:cubicBezTo>
                  <a:pt x="597803" y="632218"/>
                  <a:pt x="570587" y="784956"/>
                  <a:pt x="572727" y="934950"/>
                </a:cubicBezTo>
                <a:cubicBezTo>
                  <a:pt x="572812" y="939273"/>
                  <a:pt x="566479" y="942721"/>
                  <a:pt x="565024" y="938621"/>
                </a:cubicBezTo>
                <a:cubicBezTo>
                  <a:pt x="560831" y="926115"/>
                  <a:pt x="542687" y="890802"/>
                  <a:pt x="541147" y="887199"/>
                </a:cubicBezTo>
                <a:close/>
                <a:moveTo>
                  <a:pt x="348756" y="552696"/>
                </a:moveTo>
                <a:lnTo>
                  <a:pt x="331982" y="553579"/>
                </a:lnTo>
                <a:cubicBezTo>
                  <a:pt x="327190" y="499027"/>
                  <a:pt x="321370" y="423322"/>
                  <a:pt x="309388" y="369593"/>
                </a:cubicBezTo>
                <a:cubicBezTo>
                  <a:pt x="306393" y="356006"/>
                  <a:pt x="304082" y="345748"/>
                  <a:pt x="300658" y="334614"/>
                </a:cubicBezTo>
                <a:cubicBezTo>
                  <a:pt x="281574" y="262838"/>
                  <a:pt x="251791" y="195822"/>
                  <a:pt x="211653" y="133293"/>
                </a:cubicBezTo>
                <a:cubicBezTo>
                  <a:pt x="164582" y="119586"/>
                  <a:pt x="124443" y="136406"/>
                  <a:pt x="75832" y="150808"/>
                </a:cubicBezTo>
                <a:cubicBezTo>
                  <a:pt x="54180" y="156143"/>
                  <a:pt x="36550" y="161324"/>
                  <a:pt x="15325" y="158219"/>
                </a:cubicBezTo>
                <a:cubicBezTo>
                  <a:pt x="-5985" y="151700"/>
                  <a:pt x="3258" y="123103"/>
                  <a:pt x="7965" y="105365"/>
                </a:cubicBezTo>
                <a:cubicBezTo>
                  <a:pt x="14384" y="80893"/>
                  <a:pt x="44681" y="59492"/>
                  <a:pt x="60342" y="60590"/>
                </a:cubicBezTo>
                <a:cubicBezTo>
                  <a:pt x="65477" y="60264"/>
                  <a:pt x="61967" y="35707"/>
                  <a:pt x="68729" y="26006"/>
                </a:cubicBezTo>
                <a:cubicBezTo>
                  <a:pt x="92948" y="8019"/>
                  <a:pt x="133943" y="840"/>
                  <a:pt x="164068" y="68"/>
                </a:cubicBezTo>
                <a:cubicBezTo>
                  <a:pt x="192140" y="-26"/>
                  <a:pt x="218156" y="7444"/>
                  <a:pt x="243490" y="19573"/>
                </a:cubicBezTo>
                <a:cubicBezTo>
                  <a:pt x="254016" y="23510"/>
                  <a:pt x="271903" y="37731"/>
                  <a:pt x="271903" y="47501"/>
                </a:cubicBezTo>
                <a:cubicBezTo>
                  <a:pt x="308618" y="79915"/>
                  <a:pt x="391633" y="84907"/>
                  <a:pt x="443838" y="89359"/>
                </a:cubicBezTo>
                <a:cubicBezTo>
                  <a:pt x="448889" y="89788"/>
                  <a:pt x="451798" y="95115"/>
                  <a:pt x="449487" y="99661"/>
                </a:cubicBezTo>
                <a:cubicBezTo>
                  <a:pt x="386841" y="226504"/>
                  <a:pt x="366472" y="411631"/>
                  <a:pt x="348756" y="552696"/>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p:sp>
        <p:nvSpPr>
          <p:cNvPr id="237" name="Freeform: Shape 127">
            <a:extLst>
              <a:ext uri="{FF2B5EF4-FFF2-40B4-BE49-F238E27FC236}">
                <a16:creationId xmlns:a16="http://schemas.microsoft.com/office/drawing/2014/main" id="{698B3578-86D8-09B0-D615-D6DA6BD4BA2D}"/>
              </a:ext>
            </a:extLst>
          </p:cNvPr>
          <p:cNvSpPr/>
          <p:nvPr/>
        </p:nvSpPr>
        <p:spPr>
          <a:xfrm>
            <a:off x="542277" y="3536153"/>
            <a:ext cx="1225038" cy="1035207"/>
          </a:xfrm>
          <a:custGeom>
            <a:avLst/>
            <a:gdLst>
              <a:gd name="connsiteX0" fmla="*/ 1089886 w 1088717"/>
              <a:gd name="connsiteY0" fmla="*/ 954454 h 1035207"/>
              <a:gd name="connsiteX1" fmla="*/ 1087404 w 1088717"/>
              <a:gd name="connsiteY1" fmla="*/ 948862 h 1035207"/>
              <a:gd name="connsiteX2" fmla="*/ 1033829 w 1088717"/>
              <a:gd name="connsiteY2" fmla="*/ 643710 h 1035207"/>
              <a:gd name="connsiteX3" fmla="*/ 912472 w 1088717"/>
              <a:gd name="connsiteY3" fmla="*/ 204956 h 1035207"/>
              <a:gd name="connsiteX4" fmla="*/ 928990 w 1088717"/>
              <a:gd name="connsiteY4" fmla="*/ 147093 h 1035207"/>
              <a:gd name="connsiteX5" fmla="*/ 953038 w 1088717"/>
              <a:gd name="connsiteY5" fmla="*/ 98107 h 1035207"/>
              <a:gd name="connsiteX6" fmla="*/ 840839 w 1088717"/>
              <a:gd name="connsiteY6" fmla="*/ 63926 h 1035207"/>
              <a:gd name="connsiteX7" fmla="*/ 841780 w 1088717"/>
              <a:gd name="connsiteY7" fmla="*/ 64870 h 1035207"/>
              <a:gd name="connsiteX8" fmla="*/ 937891 w 1088717"/>
              <a:gd name="connsiteY8" fmla="*/ 75334 h 1035207"/>
              <a:gd name="connsiteX9" fmla="*/ 937891 w 1088717"/>
              <a:gd name="connsiteY9" fmla="*/ 75334 h 1035207"/>
              <a:gd name="connsiteX10" fmla="*/ 940030 w 1088717"/>
              <a:gd name="connsiteY10" fmla="*/ 79957 h 1035207"/>
              <a:gd name="connsiteX11" fmla="*/ 921201 w 1088717"/>
              <a:gd name="connsiteY11" fmla="*/ 86039 h 1035207"/>
              <a:gd name="connsiteX12" fmla="*/ 927021 w 1088717"/>
              <a:gd name="connsiteY12" fmla="*/ 109464 h 1035207"/>
              <a:gd name="connsiteX13" fmla="*/ 928305 w 1088717"/>
              <a:gd name="connsiteY13" fmla="*/ 110707 h 1035207"/>
              <a:gd name="connsiteX14" fmla="*/ 927791 w 1088717"/>
              <a:gd name="connsiteY14" fmla="*/ 113212 h 1035207"/>
              <a:gd name="connsiteX15" fmla="*/ 904684 w 1088717"/>
              <a:gd name="connsiteY15" fmla="*/ 126052 h 1035207"/>
              <a:gd name="connsiteX16" fmla="*/ 779562 w 1088717"/>
              <a:gd name="connsiteY16" fmla="*/ 81501 h 1035207"/>
              <a:gd name="connsiteX17" fmla="*/ 779562 w 1088717"/>
              <a:gd name="connsiteY17" fmla="*/ 81501 h 1035207"/>
              <a:gd name="connsiteX18" fmla="*/ 754829 w 1088717"/>
              <a:gd name="connsiteY18" fmla="*/ 71586 h 1035207"/>
              <a:gd name="connsiteX19" fmla="*/ 749351 w 1088717"/>
              <a:gd name="connsiteY19" fmla="*/ 70368 h 1035207"/>
              <a:gd name="connsiteX20" fmla="*/ 749266 w 1088717"/>
              <a:gd name="connsiteY20" fmla="*/ 71148 h 1035207"/>
              <a:gd name="connsiteX21" fmla="*/ 742847 w 1088717"/>
              <a:gd name="connsiteY21" fmla="*/ 176951 h 1035207"/>
              <a:gd name="connsiteX22" fmla="*/ 735058 w 1088717"/>
              <a:gd name="connsiteY22" fmla="*/ 226966 h 1035207"/>
              <a:gd name="connsiteX23" fmla="*/ 726243 w 1088717"/>
              <a:gd name="connsiteY23" fmla="*/ 227970 h 1035207"/>
              <a:gd name="connsiteX24" fmla="*/ 593932 w 1088717"/>
              <a:gd name="connsiteY24" fmla="*/ 242243 h 1035207"/>
              <a:gd name="connsiteX25" fmla="*/ 622517 w 1088717"/>
              <a:gd name="connsiteY25" fmla="*/ 146870 h 1035207"/>
              <a:gd name="connsiteX26" fmla="*/ 642458 w 1088717"/>
              <a:gd name="connsiteY26" fmla="*/ 106041 h 1035207"/>
              <a:gd name="connsiteX27" fmla="*/ 641859 w 1088717"/>
              <a:gd name="connsiteY27" fmla="*/ 95036 h 1035207"/>
              <a:gd name="connsiteX28" fmla="*/ 614901 w 1088717"/>
              <a:gd name="connsiteY28" fmla="*/ 91588 h 1035207"/>
              <a:gd name="connsiteX29" fmla="*/ 475828 w 1088717"/>
              <a:gd name="connsiteY29" fmla="*/ 77624 h 1035207"/>
              <a:gd name="connsiteX30" fmla="*/ 475057 w 1088717"/>
              <a:gd name="connsiteY30" fmla="*/ 80601 h 1035207"/>
              <a:gd name="connsiteX31" fmla="*/ 615842 w 1088717"/>
              <a:gd name="connsiteY31" fmla="*/ 109043 h 1035207"/>
              <a:gd name="connsiteX32" fmla="*/ 568343 w 1088717"/>
              <a:gd name="connsiteY32" fmla="*/ 247252 h 1035207"/>
              <a:gd name="connsiteX33" fmla="*/ 520246 w 1088717"/>
              <a:gd name="connsiteY33" fmla="*/ 542325 h 1035207"/>
              <a:gd name="connsiteX34" fmla="*/ 519732 w 1088717"/>
              <a:gd name="connsiteY34" fmla="*/ 542333 h 1035207"/>
              <a:gd name="connsiteX35" fmla="*/ 493115 w 1088717"/>
              <a:gd name="connsiteY35" fmla="*/ 382270 h 1035207"/>
              <a:gd name="connsiteX36" fmla="*/ 483359 w 1088717"/>
              <a:gd name="connsiteY36" fmla="*/ 345266 h 1035207"/>
              <a:gd name="connsiteX37" fmla="*/ 399574 w 1088717"/>
              <a:gd name="connsiteY37" fmla="*/ 145952 h 1035207"/>
              <a:gd name="connsiteX38" fmla="*/ 396749 w 1088717"/>
              <a:gd name="connsiteY38" fmla="*/ 141449 h 1035207"/>
              <a:gd name="connsiteX39" fmla="*/ 388619 w 1088717"/>
              <a:gd name="connsiteY39" fmla="*/ 131010 h 1035207"/>
              <a:gd name="connsiteX40" fmla="*/ 387849 w 1088717"/>
              <a:gd name="connsiteY40" fmla="*/ 137409 h 1035207"/>
              <a:gd name="connsiteX41" fmla="*/ 223273 w 1088717"/>
              <a:gd name="connsiteY41" fmla="*/ 164308 h 1035207"/>
              <a:gd name="connsiteX42" fmla="*/ 189553 w 1088717"/>
              <a:gd name="connsiteY42" fmla="*/ 162627 h 1035207"/>
              <a:gd name="connsiteX43" fmla="*/ 208039 w 1088717"/>
              <a:gd name="connsiteY43" fmla="*/ 142555 h 1035207"/>
              <a:gd name="connsiteX44" fmla="*/ 202476 w 1088717"/>
              <a:gd name="connsiteY44" fmla="*/ 115605 h 1035207"/>
              <a:gd name="connsiteX45" fmla="*/ 201106 w 1088717"/>
              <a:gd name="connsiteY45" fmla="*/ 113830 h 1035207"/>
              <a:gd name="connsiteX46" fmla="*/ 212318 w 1088717"/>
              <a:gd name="connsiteY46" fmla="*/ 97361 h 1035207"/>
              <a:gd name="connsiteX47" fmla="*/ 251686 w 1088717"/>
              <a:gd name="connsiteY47" fmla="*/ 85961 h 1035207"/>
              <a:gd name="connsiteX48" fmla="*/ 265551 w 1088717"/>
              <a:gd name="connsiteY48" fmla="*/ 85104 h 1035207"/>
              <a:gd name="connsiteX49" fmla="*/ 264352 w 1088717"/>
              <a:gd name="connsiteY49" fmla="*/ 63952 h 1035207"/>
              <a:gd name="connsiteX50" fmla="*/ 254681 w 1088717"/>
              <a:gd name="connsiteY50" fmla="*/ 56060 h 1035207"/>
              <a:gd name="connsiteX51" fmla="*/ 273253 w 1088717"/>
              <a:gd name="connsiteY51" fmla="*/ 36881 h 1035207"/>
              <a:gd name="connsiteX52" fmla="*/ 424992 w 1088717"/>
              <a:gd name="connsiteY52" fmla="*/ 43846 h 1035207"/>
              <a:gd name="connsiteX53" fmla="*/ 446730 w 1088717"/>
              <a:gd name="connsiteY53" fmla="*/ 60495 h 1035207"/>
              <a:gd name="connsiteX54" fmla="*/ 450495 w 1088717"/>
              <a:gd name="connsiteY54" fmla="*/ 47569 h 1035207"/>
              <a:gd name="connsiteX55" fmla="*/ 295762 w 1088717"/>
              <a:gd name="connsiteY55" fmla="*/ 3335 h 1035207"/>
              <a:gd name="connsiteX56" fmla="*/ 228494 w 1088717"/>
              <a:gd name="connsiteY56" fmla="*/ 59817 h 1035207"/>
              <a:gd name="connsiteX57" fmla="*/ 177400 w 1088717"/>
              <a:gd name="connsiteY57" fmla="*/ 128163 h 1035207"/>
              <a:gd name="connsiteX58" fmla="*/ 186044 w 1088717"/>
              <a:gd name="connsiteY58" fmla="*/ 192656 h 1035207"/>
              <a:gd name="connsiteX59" fmla="*/ 60237 w 1088717"/>
              <a:gd name="connsiteY59" fmla="*/ 536835 h 1035207"/>
              <a:gd name="connsiteX60" fmla="*/ 33450 w 1088717"/>
              <a:gd name="connsiteY60" fmla="*/ 774242 h 1035207"/>
              <a:gd name="connsiteX61" fmla="*/ 33450 w 1088717"/>
              <a:gd name="connsiteY61" fmla="*/ 774250 h 1035207"/>
              <a:gd name="connsiteX62" fmla="*/ 14792 w 1088717"/>
              <a:gd name="connsiteY62" fmla="*/ 982520 h 1035207"/>
              <a:gd name="connsiteX63" fmla="*/ 23779 w 1088717"/>
              <a:gd name="connsiteY63" fmla="*/ 987160 h 1035207"/>
              <a:gd name="connsiteX64" fmla="*/ 121857 w 1088717"/>
              <a:gd name="connsiteY64" fmla="*/ 1034362 h 1035207"/>
              <a:gd name="connsiteX65" fmla="*/ 230205 w 1088717"/>
              <a:gd name="connsiteY65" fmla="*/ 1030116 h 1035207"/>
              <a:gd name="connsiteX66" fmla="*/ 255623 w 1088717"/>
              <a:gd name="connsiteY66" fmla="*/ 1029009 h 1035207"/>
              <a:gd name="connsiteX67" fmla="*/ 541384 w 1088717"/>
              <a:gd name="connsiteY67" fmla="*/ 1017936 h 1035207"/>
              <a:gd name="connsiteX68" fmla="*/ 543182 w 1088717"/>
              <a:gd name="connsiteY68" fmla="*/ 953571 h 1035207"/>
              <a:gd name="connsiteX69" fmla="*/ 591023 w 1088717"/>
              <a:gd name="connsiteY69" fmla="*/ 254586 h 1035207"/>
              <a:gd name="connsiteX70" fmla="*/ 731721 w 1088717"/>
              <a:gd name="connsiteY70" fmla="*/ 251352 h 1035207"/>
              <a:gd name="connsiteX71" fmla="*/ 699028 w 1088717"/>
              <a:gd name="connsiteY71" fmla="*/ 737170 h 1035207"/>
              <a:gd name="connsiteX72" fmla="*/ 705190 w 1088717"/>
              <a:gd name="connsiteY72" fmla="*/ 872291 h 1035207"/>
              <a:gd name="connsiteX73" fmla="*/ 713834 w 1088717"/>
              <a:gd name="connsiteY73" fmla="*/ 917520 h 1035207"/>
              <a:gd name="connsiteX74" fmla="*/ 719140 w 1088717"/>
              <a:gd name="connsiteY74" fmla="*/ 923258 h 1035207"/>
              <a:gd name="connsiteX75" fmla="*/ 784526 w 1088717"/>
              <a:gd name="connsiteY75" fmla="*/ 1021899 h 1035207"/>
              <a:gd name="connsiteX76" fmla="*/ 951327 w 1088717"/>
              <a:gd name="connsiteY76" fmla="*/ 1009865 h 1035207"/>
              <a:gd name="connsiteX77" fmla="*/ 1030919 w 1088717"/>
              <a:gd name="connsiteY77" fmla="*/ 1003586 h 1035207"/>
              <a:gd name="connsiteX78" fmla="*/ 1077049 w 1088717"/>
              <a:gd name="connsiteY78" fmla="*/ 996132 h 1035207"/>
              <a:gd name="connsiteX79" fmla="*/ 1089886 w 1088717"/>
              <a:gd name="connsiteY79" fmla="*/ 954454 h 1035207"/>
              <a:gd name="connsiteX80" fmla="*/ 901347 w 1088717"/>
              <a:gd name="connsiteY80" fmla="*/ 180485 h 1035207"/>
              <a:gd name="connsiteX81" fmla="*/ 897752 w 1088717"/>
              <a:gd name="connsiteY81" fmla="*/ 187664 h 1035207"/>
              <a:gd name="connsiteX82" fmla="*/ 895099 w 1088717"/>
              <a:gd name="connsiteY82" fmla="*/ 193377 h 1035207"/>
              <a:gd name="connsiteX83" fmla="*/ 875929 w 1088717"/>
              <a:gd name="connsiteY83" fmla="*/ 241076 h 1035207"/>
              <a:gd name="connsiteX84" fmla="*/ 875929 w 1088717"/>
              <a:gd name="connsiteY84" fmla="*/ 241093 h 1035207"/>
              <a:gd name="connsiteX85" fmla="*/ 745928 w 1088717"/>
              <a:gd name="connsiteY85" fmla="*/ 937231 h 1035207"/>
              <a:gd name="connsiteX86" fmla="*/ 745329 w 1088717"/>
              <a:gd name="connsiteY86" fmla="*/ 939435 h 1035207"/>
              <a:gd name="connsiteX87" fmla="*/ 740279 w 1088717"/>
              <a:gd name="connsiteY87" fmla="*/ 922666 h 1035207"/>
              <a:gd name="connsiteX88" fmla="*/ 740279 w 1088717"/>
              <a:gd name="connsiteY88" fmla="*/ 922658 h 1035207"/>
              <a:gd name="connsiteX89" fmla="*/ 731549 w 1088717"/>
              <a:gd name="connsiteY89" fmla="*/ 897586 h 1035207"/>
              <a:gd name="connsiteX90" fmla="*/ 752089 w 1088717"/>
              <a:gd name="connsiteY90" fmla="*/ 276655 h 1035207"/>
              <a:gd name="connsiteX91" fmla="*/ 761932 w 1088717"/>
              <a:gd name="connsiteY91" fmla="*/ 144048 h 1035207"/>
              <a:gd name="connsiteX92" fmla="*/ 756369 w 1088717"/>
              <a:gd name="connsiteY92" fmla="*/ 78430 h 1035207"/>
              <a:gd name="connsiteX93" fmla="*/ 758252 w 1088717"/>
              <a:gd name="connsiteY93" fmla="*/ 77255 h 1035207"/>
              <a:gd name="connsiteX94" fmla="*/ 833393 w 1088717"/>
              <a:gd name="connsiteY94" fmla="*/ 120194 h 1035207"/>
              <a:gd name="connsiteX95" fmla="*/ 893387 w 1088717"/>
              <a:gd name="connsiteY95" fmla="*/ 150121 h 1035207"/>
              <a:gd name="connsiteX96" fmla="*/ 915211 w 1088717"/>
              <a:gd name="connsiteY96" fmla="*/ 153226 h 1035207"/>
              <a:gd name="connsiteX97" fmla="*/ 915211 w 1088717"/>
              <a:gd name="connsiteY97" fmla="*/ 153629 h 1035207"/>
              <a:gd name="connsiteX98" fmla="*/ 915211 w 1088717"/>
              <a:gd name="connsiteY98" fmla="*/ 153638 h 1035207"/>
              <a:gd name="connsiteX99" fmla="*/ 903400 w 1088717"/>
              <a:gd name="connsiteY99" fmla="*/ 178023 h 1035207"/>
              <a:gd name="connsiteX100" fmla="*/ 901347 w 1088717"/>
              <a:gd name="connsiteY100" fmla="*/ 180485 h 103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88717" h="1035207">
                <a:moveTo>
                  <a:pt x="1089886" y="954454"/>
                </a:moveTo>
                <a:cubicBezTo>
                  <a:pt x="1089286" y="952481"/>
                  <a:pt x="1088516" y="950594"/>
                  <a:pt x="1087404" y="948862"/>
                </a:cubicBezTo>
                <a:cubicBezTo>
                  <a:pt x="1101952" y="845040"/>
                  <a:pt x="1051288" y="745044"/>
                  <a:pt x="1033829" y="643710"/>
                </a:cubicBezTo>
                <a:cubicBezTo>
                  <a:pt x="1008752" y="494403"/>
                  <a:pt x="1020734" y="324415"/>
                  <a:pt x="912472" y="204956"/>
                </a:cubicBezTo>
                <a:cubicBezTo>
                  <a:pt x="918549" y="185691"/>
                  <a:pt x="925139" y="167593"/>
                  <a:pt x="928990" y="147093"/>
                </a:cubicBezTo>
                <a:cubicBezTo>
                  <a:pt x="948074" y="139862"/>
                  <a:pt x="962966" y="118196"/>
                  <a:pt x="953038" y="98107"/>
                </a:cubicBezTo>
                <a:cubicBezTo>
                  <a:pt x="995316" y="46600"/>
                  <a:pt x="865145" y="41256"/>
                  <a:pt x="840839" y="63926"/>
                </a:cubicBezTo>
                <a:cubicBezTo>
                  <a:pt x="839556" y="65067"/>
                  <a:pt x="841096" y="64947"/>
                  <a:pt x="841780" y="64870"/>
                </a:cubicBezTo>
                <a:cubicBezTo>
                  <a:pt x="873618" y="61164"/>
                  <a:pt x="908193" y="58076"/>
                  <a:pt x="937891" y="75334"/>
                </a:cubicBezTo>
                <a:lnTo>
                  <a:pt x="937891" y="75334"/>
                </a:lnTo>
                <a:cubicBezTo>
                  <a:pt x="940543" y="76475"/>
                  <a:pt x="942597" y="77710"/>
                  <a:pt x="940030" y="79957"/>
                </a:cubicBezTo>
                <a:cubicBezTo>
                  <a:pt x="934724" y="83834"/>
                  <a:pt x="926250" y="81141"/>
                  <a:pt x="921201" y="86039"/>
                </a:cubicBezTo>
                <a:cubicBezTo>
                  <a:pt x="912900" y="92618"/>
                  <a:pt x="916665" y="107517"/>
                  <a:pt x="927021" y="109464"/>
                </a:cubicBezTo>
                <a:cubicBezTo>
                  <a:pt x="927021" y="109472"/>
                  <a:pt x="928048" y="109670"/>
                  <a:pt x="928305" y="110707"/>
                </a:cubicBezTo>
                <a:cubicBezTo>
                  <a:pt x="928647" y="111900"/>
                  <a:pt x="927877" y="113152"/>
                  <a:pt x="927791" y="113212"/>
                </a:cubicBezTo>
                <a:cubicBezTo>
                  <a:pt x="923427" y="120692"/>
                  <a:pt x="911445" y="121069"/>
                  <a:pt x="904684" y="126052"/>
                </a:cubicBezTo>
                <a:cubicBezTo>
                  <a:pt x="862235" y="110416"/>
                  <a:pt x="820641" y="99437"/>
                  <a:pt x="779562" y="81501"/>
                </a:cubicBezTo>
                <a:lnTo>
                  <a:pt x="779562" y="81501"/>
                </a:lnTo>
                <a:cubicBezTo>
                  <a:pt x="771517" y="78216"/>
                  <a:pt x="763130" y="74819"/>
                  <a:pt x="754829" y="71586"/>
                </a:cubicBezTo>
                <a:cubicBezTo>
                  <a:pt x="752518" y="63060"/>
                  <a:pt x="750378" y="55863"/>
                  <a:pt x="749351" y="70368"/>
                </a:cubicBezTo>
                <a:cubicBezTo>
                  <a:pt x="749266" y="70616"/>
                  <a:pt x="749266" y="70891"/>
                  <a:pt x="749266" y="71148"/>
                </a:cubicBezTo>
                <a:cubicBezTo>
                  <a:pt x="747810" y="106556"/>
                  <a:pt x="745756" y="141629"/>
                  <a:pt x="742847" y="176951"/>
                </a:cubicBezTo>
                <a:cubicBezTo>
                  <a:pt x="740023" y="193180"/>
                  <a:pt x="737369" y="210009"/>
                  <a:pt x="735058" y="226966"/>
                </a:cubicBezTo>
                <a:cubicBezTo>
                  <a:pt x="732149" y="226048"/>
                  <a:pt x="728897" y="226503"/>
                  <a:pt x="726243" y="227970"/>
                </a:cubicBezTo>
                <a:cubicBezTo>
                  <a:pt x="685934" y="249645"/>
                  <a:pt x="637922" y="252501"/>
                  <a:pt x="593932" y="242243"/>
                </a:cubicBezTo>
                <a:cubicBezTo>
                  <a:pt x="602662" y="206715"/>
                  <a:pt x="609423" y="178924"/>
                  <a:pt x="622517" y="146870"/>
                </a:cubicBezTo>
                <a:cubicBezTo>
                  <a:pt x="628422" y="132794"/>
                  <a:pt x="635697" y="119576"/>
                  <a:pt x="642458" y="106041"/>
                </a:cubicBezTo>
                <a:cubicBezTo>
                  <a:pt x="644084" y="102507"/>
                  <a:pt x="643912" y="98382"/>
                  <a:pt x="641859" y="95036"/>
                </a:cubicBezTo>
                <a:cubicBezTo>
                  <a:pt x="635782" y="86768"/>
                  <a:pt x="623801" y="93098"/>
                  <a:pt x="614901" y="91588"/>
                </a:cubicBezTo>
                <a:cubicBezTo>
                  <a:pt x="569284" y="90405"/>
                  <a:pt x="518449" y="83971"/>
                  <a:pt x="475828" y="77624"/>
                </a:cubicBezTo>
                <a:cubicBezTo>
                  <a:pt x="474031" y="77204"/>
                  <a:pt x="473089" y="80077"/>
                  <a:pt x="475057" y="80601"/>
                </a:cubicBezTo>
                <a:cubicBezTo>
                  <a:pt x="521101" y="97721"/>
                  <a:pt x="567744" y="105424"/>
                  <a:pt x="615842" y="109043"/>
                </a:cubicBezTo>
                <a:cubicBezTo>
                  <a:pt x="590766" y="151322"/>
                  <a:pt x="580496" y="197700"/>
                  <a:pt x="568343" y="247252"/>
                </a:cubicBezTo>
                <a:cubicBezTo>
                  <a:pt x="545492" y="343980"/>
                  <a:pt x="529318" y="443590"/>
                  <a:pt x="520246" y="542325"/>
                </a:cubicBezTo>
                <a:cubicBezTo>
                  <a:pt x="520246" y="542694"/>
                  <a:pt x="519732" y="542702"/>
                  <a:pt x="519732" y="542333"/>
                </a:cubicBezTo>
                <a:cubicBezTo>
                  <a:pt x="514854" y="489127"/>
                  <a:pt x="505953" y="434103"/>
                  <a:pt x="493115" y="382270"/>
                </a:cubicBezTo>
                <a:cubicBezTo>
                  <a:pt x="489777" y="368503"/>
                  <a:pt x="487125" y="357112"/>
                  <a:pt x="483359" y="345266"/>
                </a:cubicBezTo>
                <a:cubicBezTo>
                  <a:pt x="464702" y="275009"/>
                  <a:pt x="438257" y="207641"/>
                  <a:pt x="399574" y="145952"/>
                </a:cubicBezTo>
                <a:cubicBezTo>
                  <a:pt x="398974" y="144254"/>
                  <a:pt x="398033" y="142710"/>
                  <a:pt x="396749" y="141449"/>
                </a:cubicBezTo>
                <a:cubicBezTo>
                  <a:pt x="393925" y="138207"/>
                  <a:pt x="392641" y="132417"/>
                  <a:pt x="388619" y="131010"/>
                </a:cubicBezTo>
                <a:cubicBezTo>
                  <a:pt x="384597" y="131216"/>
                  <a:pt x="386908" y="135170"/>
                  <a:pt x="387849" y="137409"/>
                </a:cubicBezTo>
                <a:cubicBezTo>
                  <a:pt x="331449" y="123248"/>
                  <a:pt x="277618" y="153852"/>
                  <a:pt x="223273" y="164308"/>
                </a:cubicBezTo>
                <a:cubicBezTo>
                  <a:pt x="213088" y="165715"/>
                  <a:pt x="197427" y="170518"/>
                  <a:pt x="189553" y="162627"/>
                </a:cubicBezTo>
                <a:cubicBezTo>
                  <a:pt x="187071" y="152651"/>
                  <a:pt x="200165" y="145721"/>
                  <a:pt x="208039" y="142555"/>
                </a:cubicBezTo>
                <a:cubicBezTo>
                  <a:pt x="230719" y="139305"/>
                  <a:pt x="223700" y="106727"/>
                  <a:pt x="202476" y="115605"/>
                </a:cubicBezTo>
                <a:cubicBezTo>
                  <a:pt x="202048" y="114696"/>
                  <a:pt x="201620" y="113684"/>
                  <a:pt x="201106" y="113830"/>
                </a:cubicBezTo>
                <a:cubicBezTo>
                  <a:pt x="200765" y="107414"/>
                  <a:pt x="207012" y="101530"/>
                  <a:pt x="212318" y="97361"/>
                </a:cubicBezTo>
                <a:cubicBezTo>
                  <a:pt x="223273" y="88818"/>
                  <a:pt x="237736" y="82891"/>
                  <a:pt x="251686" y="85961"/>
                </a:cubicBezTo>
                <a:cubicBezTo>
                  <a:pt x="256308" y="87488"/>
                  <a:pt x="261700" y="88826"/>
                  <a:pt x="265551" y="85104"/>
                </a:cubicBezTo>
                <a:cubicBezTo>
                  <a:pt x="271798" y="79708"/>
                  <a:pt x="271456" y="68472"/>
                  <a:pt x="264352" y="63952"/>
                </a:cubicBezTo>
                <a:cubicBezTo>
                  <a:pt x="261015" y="61713"/>
                  <a:pt x="257421" y="59165"/>
                  <a:pt x="254681" y="56060"/>
                </a:cubicBezTo>
                <a:cubicBezTo>
                  <a:pt x="244925" y="44627"/>
                  <a:pt x="264952" y="40329"/>
                  <a:pt x="273253" y="36881"/>
                </a:cubicBezTo>
                <a:cubicBezTo>
                  <a:pt x="321864" y="16939"/>
                  <a:pt x="378092" y="20833"/>
                  <a:pt x="424992" y="43846"/>
                </a:cubicBezTo>
                <a:cubicBezTo>
                  <a:pt x="433807" y="47320"/>
                  <a:pt x="445789" y="52072"/>
                  <a:pt x="446730" y="60495"/>
                </a:cubicBezTo>
                <a:cubicBezTo>
                  <a:pt x="452293" y="68764"/>
                  <a:pt x="452635" y="50579"/>
                  <a:pt x="450495" y="47569"/>
                </a:cubicBezTo>
                <a:cubicBezTo>
                  <a:pt x="423451" y="2915"/>
                  <a:pt x="342832" y="-5843"/>
                  <a:pt x="295762" y="3335"/>
                </a:cubicBezTo>
                <a:cubicBezTo>
                  <a:pt x="261272" y="11629"/>
                  <a:pt x="218908" y="22231"/>
                  <a:pt x="228494" y="59817"/>
                </a:cubicBezTo>
                <a:cubicBezTo>
                  <a:pt x="199310" y="64724"/>
                  <a:pt x="160797" y="95937"/>
                  <a:pt x="177400" y="128163"/>
                </a:cubicBezTo>
                <a:cubicBezTo>
                  <a:pt x="153095" y="145120"/>
                  <a:pt x="155320" y="184722"/>
                  <a:pt x="186044" y="192656"/>
                </a:cubicBezTo>
                <a:cubicBezTo>
                  <a:pt x="100034" y="281562"/>
                  <a:pt x="65030" y="412291"/>
                  <a:pt x="60237" y="536835"/>
                </a:cubicBezTo>
                <a:cubicBezTo>
                  <a:pt x="60922" y="617000"/>
                  <a:pt x="60836" y="697808"/>
                  <a:pt x="33450" y="774242"/>
                </a:cubicBezTo>
                <a:lnTo>
                  <a:pt x="33450" y="774250"/>
                </a:lnTo>
                <a:cubicBezTo>
                  <a:pt x="16076" y="841026"/>
                  <a:pt x="-16189" y="915315"/>
                  <a:pt x="14792" y="982520"/>
                </a:cubicBezTo>
                <a:cubicBezTo>
                  <a:pt x="15991" y="986131"/>
                  <a:pt x="20184" y="988078"/>
                  <a:pt x="23779" y="987160"/>
                </a:cubicBezTo>
                <a:cubicBezTo>
                  <a:pt x="30026" y="1034010"/>
                  <a:pt x="84371" y="1037690"/>
                  <a:pt x="121857" y="1034362"/>
                </a:cubicBezTo>
                <a:cubicBezTo>
                  <a:pt x="156604" y="1033221"/>
                  <a:pt x="195886" y="1031600"/>
                  <a:pt x="230205" y="1030116"/>
                </a:cubicBezTo>
                <a:cubicBezTo>
                  <a:pt x="233200" y="1029987"/>
                  <a:pt x="253655" y="1029095"/>
                  <a:pt x="255623" y="1029009"/>
                </a:cubicBezTo>
                <a:cubicBezTo>
                  <a:pt x="341977" y="1025184"/>
                  <a:pt x="454774" y="1021015"/>
                  <a:pt x="541384" y="1017936"/>
                </a:cubicBezTo>
                <a:cubicBezTo>
                  <a:pt x="569113" y="1014445"/>
                  <a:pt x="556276" y="967209"/>
                  <a:pt x="543182" y="953571"/>
                </a:cubicBezTo>
                <a:cubicBezTo>
                  <a:pt x="527349" y="717802"/>
                  <a:pt x="535651" y="484384"/>
                  <a:pt x="591023" y="254586"/>
                </a:cubicBezTo>
                <a:cubicBezTo>
                  <a:pt x="639890" y="276604"/>
                  <a:pt x="686105" y="271123"/>
                  <a:pt x="731721" y="251352"/>
                </a:cubicBezTo>
                <a:cubicBezTo>
                  <a:pt x="712293" y="403670"/>
                  <a:pt x="697060" y="595008"/>
                  <a:pt x="699028" y="737170"/>
                </a:cubicBezTo>
                <a:cubicBezTo>
                  <a:pt x="699970" y="789295"/>
                  <a:pt x="700654" y="825261"/>
                  <a:pt x="705190" y="872291"/>
                </a:cubicBezTo>
                <a:cubicBezTo>
                  <a:pt x="706817" y="887576"/>
                  <a:pt x="709726" y="902706"/>
                  <a:pt x="713834" y="917520"/>
                </a:cubicBezTo>
                <a:cubicBezTo>
                  <a:pt x="714433" y="920256"/>
                  <a:pt x="716488" y="922443"/>
                  <a:pt x="719140" y="923258"/>
                </a:cubicBezTo>
                <a:cubicBezTo>
                  <a:pt x="720424" y="968333"/>
                  <a:pt x="726243" y="1023674"/>
                  <a:pt x="784526" y="1021899"/>
                </a:cubicBezTo>
                <a:cubicBezTo>
                  <a:pt x="839983" y="1019300"/>
                  <a:pt x="896553" y="1014016"/>
                  <a:pt x="951327" y="1009865"/>
                </a:cubicBezTo>
                <a:cubicBezTo>
                  <a:pt x="977430" y="1007780"/>
                  <a:pt x="1004473" y="1005593"/>
                  <a:pt x="1030919" y="1003586"/>
                </a:cubicBezTo>
                <a:cubicBezTo>
                  <a:pt x="1046238" y="1001656"/>
                  <a:pt x="1063013" y="1003603"/>
                  <a:pt x="1077049" y="996132"/>
                </a:cubicBezTo>
                <a:cubicBezTo>
                  <a:pt x="1085948" y="990162"/>
                  <a:pt x="1092881" y="967063"/>
                  <a:pt x="1089886" y="954454"/>
                </a:cubicBezTo>
                <a:close/>
                <a:moveTo>
                  <a:pt x="901347" y="180485"/>
                </a:moveTo>
                <a:cubicBezTo>
                  <a:pt x="900063" y="182870"/>
                  <a:pt x="898864" y="185280"/>
                  <a:pt x="897752" y="187664"/>
                </a:cubicBezTo>
                <a:cubicBezTo>
                  <a:pt x="897495" y="188136"/>
                  <a:pt x="895355" y="192794"/>
                  <a:pt x="895099" y="193377"/>
                </a:cubicBezTo>
                <a:cubicBezTo>
                  <a:pt x="887995" y="208928"/>
                  <a:pt x="881833" y="225268"/>
                  <a:pt x="875929" y="241076"/>
                </a:cubicBezTo>
                <a:lnTo>
                  <a:pt x="875929" y="241093"/>
                </a:lnTo>
                <a:cubicBezTo>
                  <a:pt x="790602" y="462374"/>
                  <a:pt x="747126" y="700390"/>
                  <a:pt x="745928" y="937231"/>
                </a:cubicBezTo>
                <a:cubicBezTo>
                  <a:pt x="745928" y="938552"/>
                  <a:pt x="745671" y="940610"/>
                  <a:pt x="745329" y="939435"/>
                </a:cubicBezTo>
                <a:cubicBezTo>
                  <a:pt x="743531" y="933551"/>
                  <a:pt x="741734" y="928507"/>
                  <a:pt x="740279" y="922666"/>
                </a:cubicBezTo>
                <a:lnTo>
                  <a:pt x="740279" y="922658"/>
                </a:lnTo>
                <a:cubicBezTo>
                  <a:pt x="738225" y="914029"/>
                  <a:pt x="734973" y="905700"/>
                  <a:pt x="731549" y="897586"/>
                </a:cubicBezTo>
                <a:cubicBezTo>
                  <a:pt x="721451" y="692276"/>
                  <a:pt x="730352" y="479418"/>
                  <a:pt x="752089" y="276655"/>
                </a:cubicBezTo>
                <a:cubicBezTo>
                  <a:pt x="756540" y="229960"/>
                  <a:pt x="760306" y="189431"/>
                  <a:pt x="761932" y="144048"/>
                </a:cubicBezTo>
                <a:cubicBezTo>
                  <a:pt x="762446" y="130487"/>
                  <a:pt x="758252" y="90550"/>
                  <a:pt x="756369" y="78430"/>
                </a:cubicBezTo>
                <a:cubicBezTo>
                  <a:pt x="756197" y="77384"/>
                  <a:pt x="757310" y="76689"/>
                  <a:pt x="758252" y="77255"/>
                </a:cubicBezTo>
                <a:cubicBezTo>
                  <a:pt x="782814" y="92755"/>
                  <a:pt x="808232" y="105947"/>
                  <a:pt x="833393" y="120194"/>
                </a:cubicBezTo>
                <a:cubicBezTo>
                  <a:pt x="852735" y="131345"/>
                  <a:pt x="872334" y="141586"/>
                  <a:pt x="893387" y="150121"/>
                </a:cubicBezTo>
                <a:cubicBezTo>
                  <a:pt x="900148" y="153166"/>
                  <a:pt x="908022" y="156399"/>
                  <a:pt x="915211" y="153226"/>
                </a:cubicBezTo>
                <a:cubicBezTo>
                  <a:pt x="915297" y="153183"/>
                  <a:pt x="915211" y="153629"/>
                  <a:pt x="915211" y="153629"/>
                </a:cubicBezTo>
                <a:lnTo>
                  <a:pt x="915211" y="153638"/>
                </a:lnTo>
                <a:cubicBezTo>
                  <a:pt x="911017" y="161666"/>
                  <a:pt x="907337" y="169300"/>
                  <a:pt x="903400" y="178023"/>
                </a:cubicBezTo>
                <a:cubicBezTo>
                  <a:pt x="902459" y="178684"/>
                  <a:pt x="901774" y="179524"/>
                  <a:pt x="901347" y="180485"/>
                </a:cubicBezTo>
                <a:close/>
              </a:path>
            </a:pathLst>
          </a:custGeom>
          <a:solidFill>
            <a:schemeClr val="tx1"/>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41" name="TextBox 240">
            <a:extLst>
              <a:ext uri="{FF2B5EF4-FFF2-40B4-BE49-F238E27FC236}">
                <a16:creationId xmlns:a16="http://schemas.microsoft.com/office/drawing/2014/main" id="{0AD810CE-6B17-342E-3632-8E52C72038E0}"/>
              </a:ext>
            </a:extLst>
          </p:cNvPr>
          <p:cNvSpPr txBox="1"/>
          <p:nvPr/>
        </p:nvSpPr>
        <p:spPr>
          <a:xfrm>
            <a:off x="965495" y="4736566"/>
            <a:ext cx="503664" cy="275717"/>
          </a:xfrm>
          <a:prstGeom prst="rect">
            <a:avLst/>
          </a:prstGeom>
          <a:noFill/>
        </p:spPr>
        <p:txBody>
          <a:bodyPr wrap="none" rtlCol="0">
            <a:spAutoFit/>
          </a:bodyPr>
          <a:lstStyle/>
          <a:p>
            <a:pPr algn="ctr">
              <a:lnSpc>
                <a:spcPct val="70000"/>
              </a:lnSpc>
            </a:pPr>
            <a:r>
              <a:rPr lang="en-US" sz="1600">
                <a:solidFill>
                  <a:srgbClr val="27333D"/>
                </a:solidFill>
                <a:latin typeface="+mj-lt"/>
              </a:rPr>
              <a:t>Bao</a:t>
            </a:r>
            <a:endParaRPr lang="en-GB" sz="1600">
              <a:solidFill>
                <a:srgbClr val="27333D"/>
              </a:solidFill>
              <a:latin typeface="+mj-lt"/>
            </a:endParaRPr>
          </a:p>
        </p:txBody>
      </p:sp>
      <p:sp>
        <p:nvSpPr>
          <p:cNvPr id="242" name="Freeform: Shape 63">
            <a:extLst>
              <a:ext uri="{FF2B5EF4-FFF2-40B4-BE49-F238E27FC236}">
                <a16:creationId xmlns:a16="http://schemas.microsoft.com/office/drawing/2014/main" id="{1B25D3F5-20F3-BB25-1AD8-0B35926D6703}"/>
              </a:ext>
            </a:extLst>
          </p:cNvPr>
          <p:cNvSpPr/>
          <p:nvPr/>
        </p:nvSpPr>
        <p:spPr>
          <a:xfrm>
            <a:off x="1254446" y="3320741"/>
            <a:ext cx="81406" cy="86248"/>
          </a:xfrm>
          <a:custGeom>
            <a:avLst/>
            <a:gdLst>
              <a:gd name="connsiteX0" fmla="*/ 38563 w 69784"/>
              <a:gd name="connsiteY0" fmla="*/ 63879 h 62666"/>
              <a:gd name="connsiteX1" fmla="*/ 3755 w 69784"/>
              <a:gd name="connsiteY1" fmla="*/ 35718 h 62666"/>
              <a:gd name="connsiteX2" fmla="*/ 8820 w 69784"/>
              <a:gd name="connsiteY2" fmla="*/ 33732 h 62666"/>
              <a:gd name="connsiteX3" fmla="*/ 12743 w 69784"/>
              <a:gd name="connsiteY3" fmla="*/ 34996 h 62666"/>
              <a:gd name="connsiteX4" fmla="*/ 52481 w 69784"/>
              <a:gd name="connsiteY4" fmla="*/ 43751 h 62666"/>
              <a:gd name="connsiteX5" fmla="*/ 38051 w 69784"/>
              <a:gd name="connsiteY5" fmla="*/ 8459 h 62666"/>
              <a:gd name="connsiteX6" fmla="*/ 37151 w 69784"/>
              <a:gd name="connsiteY6" fmla="*/ 4669 h 62666"/>
              <a:gd name="connsiteX7" fmla="*/ 41955 w 69784"/>
              <a:gd name="connsiteY7" fmla="*/ 1239 h 62666"/>
              <a:gd name="connsiteX8" fmla="*/ 69575 w 69784"/>
              <a:gd name="connsiteY8" fmla="*/ 34544 h 62666"/>
              <a:gd name="connsiteX9" fmla="*/ 38563 w 69784"/>
              <a:gd name="connsiteY9" fmla="*/ 63879 h 6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4" h="62666">
                <a:moveTo>
                  <a:pt x="38563" y="63879"/>
                </a:moveTo>
                <a:cubicBezTo>
                  <a:pt x="27524" y="64331"/>
                  <a:pt x="-12260" y="50611"/>
                  <a:pt x="3755" y="35718"/>
                </a:cubicBezTo>
                <a:cubicBezTo>
                  <a:pt x="5158" y="34454"/>
                  <a:pt x="6949" y="33823"/>
                  <a:pt x="8820" y="33732"/>
                </a:cubicBezTo>
                <a:cubicBezTo>
                  <a:pt x="10214" y="33732"/>
                  <a:pt x="11582" y="34184"/>
                  <a:pt x="12743" y="34996"/>
                </a:cubicBezTo>
                <a:cubicBezTo>
                  <a:pt x="22513" y="42849"/>
                  <a:pt x="40732" y="56659"/>
                  <a:pt x="52481" y="43751"/>
                </a:cubicBezTo>
                <a:cubicBezTo>
                  <a:pt x="63934" y="29851"/>
                  <a:pt x="46058" y="12431"/>
                  <a:pt x="38051" y="8459"/>
                </a:cubicBezTo>
                <a:cubicBezTo>
                  <a:pt x="36953" y="7557"/>
                  <a:pt x="36593" y="6023"/>
                  <a:pt x="37151" y="4669"/>
                </a:cubicBezTo>
                <a:cubicBezTo>
                  <a:pt x="37817" y="2593"/>
                  <a:pt x="39769" y="1239"/>
                  <a:pt x="41955" y="1239"/>
                </a:cubicBezTo>
                <a:cubicBezTo>
                  <a:pt x="58428" y="2503"/>
                  <a:pt x="71645" y="17937"/>
                  <a:pt x="69575" y="34544"/>
                </a:cubicBezTo>
                <a:cubicBezTo>
                  <a:pt x="68649" y="50521"/>
                  <a:pt x="54803" y="64602"/>
                  <a:pt x="38563" y="63879"/>
                </a:cubicBezTo>
                <a:close/>
              </a:path>
            </a:pathLst>
          </a:custGeom>
          <a:solidFill>
            <a:srgbClr val="16180A"/>
          </a:solidFill>
          <a:ln w="8956" cap="flat">
            <a:noFill/>
            <a:prstDash val="solid"/>
            <a:miter/>
          </a:ln>
        </p:spPr>
        <p:txBody>
          <a:bodyPr rtlCol="0" anchor="ctr"/>
          <a:lstStyle/>
          <a:p>
            <a:endParaRPr lang="en-GB">
              <a:solidFill>
                <a:schemeClr val="bg1"/>
              </a:solidFill>
            </a:endParaRPr>
          </a:p>
        </p:txBody>
      </p:sp>
      <mc:AlternateContent xmlns:mc="http://schemas.openxmlformats.org/markup-compatibility/2006" xmlns:p14="http://schemas.microsoft.com/office/powerpoint/2010/main">
        <mc:Choice Requires="p14">
          <p:contentPart p14:bwMode="auto" r:id="rId19">
            <p14:nvContentPartPr>
              <p14:cNvPr id="251" name="Ink 250">
                <a:extLst>
                  <a:ext uri="{FF2B5EF4-FFF2-40B4-BE49-F238E27FC236}">
                    <a16:creationId xmlns:a16="http://schemas.microsoft.com/office/drawing/2014/main" id="{E4FC987E-0523-D745-105B-8A34E8B41944}"/>
                  </a:ext>
                </a:extLst>
              </p14:cNvPr>
              <p14:cNvContentPartPr/>
              <p14:nvPr/>
            </p14:nvContentPartPr>
            <p14:xfrm>
              <a:off x="4413715" y="3071729"/>
              <a:ext cx="381240" cy="126360"/>
            </p14:xfrm>
          </p:contentPart>
        </mc:Choice>
        <mc:Fallback xmlns="">
          <p:pic>
            <p:nvPicPr>
              <p:cNvPr id="251" name="Ink 250">
                <a:extLst>
                  <a:ext uri="{FF2B5EF4-FFF2-40B4-BE49-F238E27FC236}">
                    <a16:creationId xmlns:a16="http://schemas.microsoft.com/office/drawing/2014/main" id="{E4FC987E-0523-D745-105B-8A34E8B41944}"/>
                  </a:ext>
                </a:extLst>
              </p:cNvPr>
              <p:cNvPicPr/>
              <p:nvPr/>
            </p:nvPicPr>
            <p:blipFill>
              <a:blip r:embed="rId20"/>
              <a:stretch>
                <a:fillRect/>
              </a:stretch>
            </p:blipFill>
            <p:spPr>
              <a:xfrm>
                <a:off x="4407601" y="3065592"/>
                <a:ext cx="393468" cy="138635"/>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52" name="Ink 251">
                <a:extLst>
                  <a:ext uri="{FF2B5EF4-FFF2-40B4-BE49-F238E27FC236}">
                    <a16:creationId xmlns:a16="http://schemas.microsoft.com/office/drawing/2014/main" id="{D00E4D3D-11CF-93FA-7F53-18CD67EE9408}"/>
                  </a:ext>
                </a:extLst>
              </p14:cNvPr>
              <p14:cNvContentPartPr/>
              <p14:nvPr/>
            </p14:nvContentPartPr>
            <p14:xfrm>
              <a:off x="4394275" y="3066689"/>
              <a:ext cx="80280" cy="123840"/>
            </p14:xfrm>
          </p:contentPart>
        </mc:Choice>
        <mc:Fallback xmlns="">
          <p:pic>
            <p:nvPicPr>
              <p:cNvPr id="252" name="Ink 251">
                <a:extLst>
                  <a:ext uri="{FF2B5EF4-FFF2-40B4-BE49-F238E27FC236}">
                    <a16:creationId xmlns:a16="http://schemas.microsoft.com/office/drawing/2014/main" id="{D00E4D3D-11CF-93FA-7F53-18CD67EE9408}"/>
                  </a:ext>
                </a:extLst>
              </p:cNvPr>
              <p:cNvPicPr/>
              <p:nvPr/>
            </p:nvPicPr>
            <p:blipFill>
              <a:blip r:embed="rId22"/>
              <a:stretch>
                <a:fillRect/>
              </a:stretch>
            </p:blipFill>
            <p:spPr>
              <a:xfrm>
                <a:off x="4388155" y="3060569"/>
                <a:ext cx="9252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53" name="Ink 252">
                <a:extLst>
                  <a:ext uri="{FF2B5EF4-FFF2-40B4-BE49-F238E27FC236}">
                    <a16:creationId xmlns:a16="http://schemas.microsoft.com/office/drawing/2014/main" id="{D8FC7F3C-D3B3-5A16-D583-C53E14A4250E}"/>
                  </a:ext>
                </a:extLst>
              </p14:cNvPr>
              <p14:cNvContentPartPr/>
              <p14:nvPr/>
            </p14:nvContentPartPr>
            <p14:xfrm>
              <a:off x="7386595" y="3029969"/>
              <a:ext cx="790560" cy="764640"/>
            </p14:xfrm>
          </p:contentPart>
        </mc:Choice>
        <mc:Fallback xmlns="">
          <p:pic>
            <p:nvPicPr>
              <p:cNvPr id="253" name="Ink 252">
                <a:extLst>
                  <a:ext uri="{FF2B5EF4-FFF2-40B4-BE49-F238E27FC236}">
                    <a16:creationId xmlns:a16="http://schemas.microsoft.com/office/drawing/2014/main" id="{D8FC7F3C-D3B3-5A16-D583-C53E14A4250E}"/>
                  </a:ext>
                </a:extLst>
              </p:cNvPr>
              <p:cNvPicPr/>
              <p:nvPr/>
            </p:nvPicPr>
            <p:blipFill>
              <a:blip r:embed="rId24"/>
              <a:stretch>
                <a:fillRect/>
              </a:stretch>
            </p:blipFill>
            <p:spPr>
              <a:xfrm>
                <a:off x="7380475" y="3023849"/>
                <a:ext cx="802800" cy="7768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56" name="Ink 255">
                <a:extLst>
                  <a:ext uri="{FF2B5EF4-FFF2-40B4-BE49-F238E27FC236}">
                    <a16:creationId xmlns:a16="http://schemas.microsoft.com/office/drawing/2014/main" id="{68BA2577-F881-DA5C-35AE-98B5B23DD3D5}"/>
                  </a:ext>
                </a:extLst>
              </p14:cNvPr>
              <p14:cNvContentPartPr/>
              <p14:nvPr/>
            </p14:nvContentPartPr>
            <p14:xfrm>
              <a:off x="7558315" y="2967689"/>
              <a:ext cx="518400" cy="279000"/>
            </p14:xfrm>
          </p:contentPart>
        </mc:Choice>
        <mc:Fallback xmlns="">
          <p:pic>
            <p:nvPicPr>
              <p:cNvPr id="256" name="Ink 255">
                <a:extLst>
                  <a:ext uri="{FF2B5EF4-FFF2-40B4-BE49-F238E27FC236}">
                    <a16:creationId xmlns:a16="http://schemas.microsoft.com/office/drawing/2014/main" id="{68BA2577-F881-DA5C-35AE-98B5B23DD3D5}"/>
                  </a:ext>
                </a:extLst>
              </p:cNvPr>
              <p:cNvPicPr/>
              <p:nvPr/>
            </p:nvPicPr>
            <p:blipFill>
              <a:blip r:embed="rId26"/>
              <a:stretch>
                <a:fillRect/>
              </a:stretch>
            </p:blipFill>
            <p:spPr>
              <a:xfrm>
                <a:off x="7552195" y="2961569"/>
                <a:ext cx="530640" cy="29124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6" name="Ink 15">
                <a:extLst>
                  <a:ext uri="{FF2B5EF4-FFF2-40B4-BE49-F238E27FC236}">
                    <a16:creationId xmlns:a16="http://schemas.microsoft.com/office/drawing/2014/main" id="{AAD74A97-30E2-BFFF-565D-5401AFC5943D}"/>
                  </a:ext>
                </a:extLst>
              </p14:cNvPr>
              <p14:cNvContentPartPr/>
              <p14:nvPr/>
            </p14:nvContentPartPr>
            <p14:xfrm>
              <a:off x="5731615" y="2932062"/>
              <a:ext cx="582840" cy="776880"/>
            </p14:xfrm>
          </p:contentPart>
        </mc:Choice>
        <mc:Fallback xmlns="">
          <p:pic>
            <p:nvPicPr>
              <p:cNvPr id="16" name="Ink 15">
                <a:extLst>
                  <a:ext uri="{FF2B5EF4-FFF2-40B4-BE49-F238E27FC236}">
                    <a16:creationId xmlns:a16="http://schemas.microsoft.com/office/drawing/2014/main" id="{AAD74A97-30E2-BFFF-565D-5401AFC5943D}"/>
                  </a:ext>
                </a:extLst>
              </p:cNvPr>
              <p:cNvPicPr/>
              <p:nvPr/>
            </p:nvPicPr>
            <p:blipFill>
              <a:blip r:embed="rId28"/>
              <a:stretch>
                <a:fillRect/>
              </a:stretch>
            </p:blipFill>
            <p:spPr>
              <a:xfrm>
                <a:off x="5725491" y="2925942"/>
                <a:ext cx="595088" cy="7891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47" name="Ink 246">
                <a:extLst>
                  <a:ext uri="{FF2B5EF4-FFF2-40B4-BE49-F238E27FC236}">
                    <a16:creationId xmlns:a16="http://schemas.microsoft.com/office/drawing/2014/main" id="{D089D8BD-A060-0DD2-B509-0B92350D8980}"/>
                  </a:ext>
                </a:extLst>
              </p14:cNvPr>
              <p14:cNvContentPartPr/>
              <p14:nvPr/>
            </p14:nvContentPartPr>
            <p14:xfrm>
              <a:off x="1066987" y="3055690"/>
              <a:ext cx="363960" cy="76320"/>
            </p14:xfrm>
          </p:contentPart>
        </mc:Choice>
        <mc:Fallback xmlns="">
          <p:pic>
            <p:nvPicPr>
              <p:cNvPr id="247" name="Ink 246">
                <a:extLst>
                  <a:ext uri="{FF2B5EF4-FFF2-40B4-BE49-F238E27FC236}">
                    <a16:creationId xmlns:a16="http://schemas.microsoft.com/office/drawing/2014/main" id="{D089D8BD-A060-0DD2-B509-0B92350D8980}"/>
                  </a:ext>
                </a:extLst>
              </p:cNvPr>
              <p:cNvPicPr/>
              <p:nvPr/>
            </p:nvPicPr>
            <p:blipFill>
              <a:blip r:embed="rId30"/>
              <a:stretch>
                <a:fillRect/>
              </a:stretch>
            </p:blipFill>
            <p:spPr>
              <a:xfrm>
                <a:off x="1060867" y="3049541"/>
                <a:ext cx="376200" cy="88618"/>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48" name="Ink 247">
                <a:extLst>
                  <a:ext uri="{FF2B5EF4-FFF2-40B4-BE49-F238E27FC236}">
                    <a16:creationId xmlns:a16="http://schemas.microsoft.com/office/drawing/2014/main" id="{FF24EA51-0572-F193-78E3-811EA31DA82F}"/>
                  </a:ext>
                </a:extLst>
              </p14:cNvPr>
              <p14:cNvContentPartPr/>
              <p14:nvPr/>
            </p14:nvContentPartPr>
            <p14:xfrm>
              <a:off x="1040707" y="3072250"/>
              <a:ext cx="147240" cy="37800"/>
            </p14:xfrm>
          </p:contentPart>
        </mc:Choice>
        <mc:Fallback xmlns="">
          <p:pic>
            <p:nvPicPr>
              <p:cNvPr id="248" name="Ink 247">
                <a:extLst>
                  <a:ext uri="{FF2B5EF4-FFF2-40B4-BE49-F238E27FC236}">
                    <a16:creationId xmlns:a16="http://schemas.microsoft.com/office/drawing/2014/main" id="{FF24EA51-0572-F193-78E3-811EA31DA82F}"/>
                  </a:ext>
                </a:extLst>
              </p:cNvPr>
              <p:cNvPicPr/>
              <p:nvPr/>
            </p:nvPicPr>
            <p:blipFill>
              <a:blip r:embed="rId32"/>
              <a:stretch>
                <a:fillRect/>
              </a:stretch>
            </p:blipFill>
            <p:spPr>
              <a:xfrm>
                <a:off x="1034587" y="3066130"/>
                <a:ext cx="15948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17" name="Ink 16">
                <a:extLst>
                  <a:ext uri="{FF2B5EF4-FFF2-40B4-BE49-F238E27FC236}">
                    <a16:creationId xmlns:a16="http://schemas.microsoft.com/office/drawing/2014/main" id="{2BFC4290-385B-2AA6-BC66-FA56AB373DB5}"/>
                  </a:ext>
                </a:extLst>
              </p14:cNvPr>
              <p14:cNvContentPartPr/>
              <p14:nvPr/>
            </p14:nvContentPartPr>
            <p14:xfrm>
              <a:off x="7328215" y="3015942"/>
              <a:ext cx="662400" cy="871200"/>
            </p14:xfrm>
          </p:contentPart>
        </mc:Choice>
        <mc:Fallback xmlns="">
          <p:pic>
            <p:nvPicPr>
              <p:cNvPr id="17" name="Ink 16">
                <a:extLst>
                  <a:ext uri="{FF2B5EF4-FFF2-40B4-BE49-F238E27FC236}">
                    <a16:creationId xmlns:a16="http://schemas.microsoft.com/office/drawing/2014/main" id="{2BFC4290-385B-2AA6-BC66-FA56AB373DB5}"/>
                  </a:ext>
                </a:extLst>
              </p:cNvPr>
              <p:cNvPicPr/>
              <p:nvPr/>
            </p:nvPicPr>
            <p:blipFill>
              <a:blip r:embed="rId34"/>
              <a:stretch>
                <a:fillRect/>
              </a:stretch>
            </p:blipFill>
            <p:spPr>
              <a:xfrm>
                <a:off x="7322095" y="3009822"/>
                <a:ext cx="674640" cy="8834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18" name="Ink 17">
                <a:extLst>
                  <a:ext uri="{FF2B5EF4-FFF2-40B4-BE49-F238E27FC236}">
                    <a16:creationId xmlns:a16="http://schemas.microsoft.com/office/drawing/2014/main" id="{838D3C3F-D922-683C-A039-0BEAF07EBDA9}"/>
                  </a:ext>
                </a:extLst>
              </p14:cNvPr>
              <p14:cNvContentPartPr/>
              <p14:nvPr/>
            </p14:nvContentPartPr>
            <p14:xfrm>
              <a:off x="7349815" y="3056982"/>
              <a:ext cx="657720" cy="903240"/>
            </p14:xfrm>
          </p:contentPart>
        </mc:Choice>
        <mc:Fallback xmlns="">
          <p:pic>
            <p:nvPicPr>
              <p:cNvPr id="18" name="Ink 17">
                <a:extLst>
                  <a:ext uri="{FF2B5EF4-FFF2-40B4-BE49-F238E27FC236}">
                    <a16:creationId xmlns:a16="http://schemas.microsoft.com/office/drawing/2014/main" id="{838D3C3F-D922-683C-A039-0BEAF07EBDA9}"/>
                  </a:ext>
                </a:extLst>
              </p:cNvPr>
              <p:cNvPicPr/>
              <p:nvPr/>
            </p:nvPicPr>
            <p:blipFill>
              <a:blip r:embed="rId36"/>
              <a:stretch>
                <a:fillRect/>
              </a:stretch>
            </p:blipFill>
            <p:spPr>
              <a:xfrm>
                <a:off x="7343695" y="3050864"/>
                <a:ext cx="669960" cy="915475"/>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19" name="Ink 18">
                <a:extLst>
                  <a:ext uri="{FF2B5EF4-FFF2-40B4-BE49-F238E27FC236}">
                    <a16:creationId xmlns:a16="http://schemas.microsoft.com/office/drawing/2014/main" id="{57EC96A9-162D-E0E3-154E-6C6186AA0C20}"/>
                  </a:ext>
                </a:extLst>
              </p14:cNvPr>
              <p14:cNvContentPartPr/>
              <p14:nvPr/>
            </p14:nvContentPartPr>
            <p14:xfrm>
              <a:off x="7396615" y="3035742"/>
              <a:ext cx="516600" cy="925920"/>
            </p14:xfrm>
          </p:contentPart>
        </mc:Choice>
        <mc:Fallback xmlns="">
          <p:pic>
            <p:nvPicPr>
              <p:cNvPr id="19" name="Ink 18">
                <a:extLst>
                  <a:ext uri="{FF2B5EF4-FFF2-40B4-BE49-F238E27FC236}">
                    <a16:creationId xmlns:a16="http://schemas.microsoft.com/office/drawing/2014/main" id="{57EC96A9-162D-E0E3-154E-6C6186AA0C20}"/>
                  </a:ext>
                </a:extLst>
              </p:cNvPr>
              <p:cNvPicPr/>
              <p:nvPr/>
            </p:nvPicPr>
            <p:blipFill>
              <a:blip r:embed="rId38"/>
              <a:stretch>
                <a:fillRect/>
              </a:stretch>
            </p:blipFill>
            <p:spPr>
              <a:xfrm>
                <a:off x="7390495" y="3029622"/>
                <a:ext cx="528840" cy="9381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0" name="Ink 19">
                <a:extLst>
                  <a:ext uri="{FF2B5EF4-FFF2-40B4-BE49-F238E27FC236}">
                    <a16:creationId xmlns:a16="http://schemas.microsoft.com/office/drawing/2014/main" id="{92978472-B2E7-AE8A-DFC7-CB033EA41D88}"/>
                  </a:ext>
                </a:extLst>
              </p14:cNvPr>
              <p14:cNvContentPartPr/>
              <p14:nvPr/>
            </p14:nvContentPartPr>
            <p14:xfrm>
              <a:off x="7268095" y="2998302"/>
              <a:ext cx="611640" cy="875880"/>
            </p14:xfrm>
          </p:contentPart>
        </mc:Choice>
        <mc:Fallback xmlns="">
          <p:pic>
            <p:nvPicPr>
              <p:cNvPr id="20" name="Ink 19">
                <a:extLst>
                  <a:ext uri="{FF2B5EF4-FFF2-40B4-BE49-F238E27FC236}">
                    <a16:creationId xmlns:a16="http://schemas.microsoft.com/office/drawing/2014/main" id="{92978472-B2E7-AE8A-DFC7-CB033EA41D88}"/>
                  </a:ext>
                </a:extLst>
              </p:cNvPr>
              <p:cNvPicPr/>
              <p:nvPr/>
            </p:nvPicPr>
            <p:blipFill>
              <a:blip r:embed="rId40"/>
              <a:stretch>
                <a:fillRect/>
              </a:stretch>
            </p:blipFill>
            <p:spPr>
              <a:xfrm>
                <a:off x="7261979" y="2992185"/>
                <a:ext cx="623873" cy="888115"/>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21" name="Ink 20">
                <a:extLst>
                  <a:ext uri="{FF2B5EF4-FFF2-40B4-BE49-F238E27FC236}">
                    <a16:creationId xmlns:a16="http://schemas.microsoft.com/office/drawing/2014/main" id="{5A9FC2A8-BB97-42EF-07A3-A32046FA053E}"/>
                  </a:ext>
                </a:extLst>
              </p14:cNvPr>
              <p14:cNvContentPartPr/>
              <p14:nvPr/>
            </p14:nvContentPartPr>
            <p14:xfrm>
              <a:off x="7393015" y="3026382"/>
              <a:ext cx="394920" cy="1093680"/>
            </p14:xfrm>
          </p:contentPart>
        </mc:Choice>
        <mc:Fallback xmlns="">
          <p:pic>
            <p:nvPicPr>
              <p:cNvPr id="21" name="Ink 20">
                <a:extLst>
                  <a:ext uri="{FF2B5EF4-FFF2-40B4-BE49-F238E27FC236}">
                    <a16:creationId xmlns:a16="http://schemas.microsoft.com/office/drawing/2014/main" id="{5A9FC2A8-BB97-42EF-07A3-A32046FA053E}"/>
                  </a:ext>
                </a:extLst>
              </p:cNvPr>
              <p:cNvPicPr/>
              <p:nvPr/>
            </p:nvPicPr>
            <p:blipFill>
              <a:blip r:embed="rId42"/>
              <a:stretch>
                <a:fillRect/>
              </a:stretch>
            </p:blipFill>
            <p:spPr>
              <a:xfrm>
                <a:off x="7386895" y="3020264"/>
                <a:ext cx="407160" cy="1105916"/>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22" name="Ink 21">
                <a:extLst>
                  <a:ext uri="{FF2B5EF4-FFF2-40B4-BE49-F238E27FC236}">
                    <a16:creationId xmlns:a16="http://schemas.microsoft.com/office/drawing/2014/main" id="{142BC58A-6A7A-52F2-4780-02DA778980B6}"/>
                  </a:ext>
                </a:extLst>
              </p14:cNvPr>
              <p14:cNvContentPartPr/>
              <p14:nvPr/>
            </p14:nvContentPartPr>
            <p14:xfrm>
              <a:off x="7268095" y="3026742"/>
              <a:ext cx="520920" cy="768600"/>
            </p14:xfrm>
          </p:contentPart>
        </mc:Choice>
        <mc:Fallback xmlns="">
          <p:pic>
            <p:nvPicPr>
              <p:cNvPr id="22" name="Ink 21">
                <a:extLst>
                  <a:ext uri="{FF2B5EF4-FFF2-40B4-BE49-F238E27FC236}">
                    <a16:creationId xmlns:a16="http://schemas.microsoft.com/office/drawing/2014/main" id="{142BC58A-6A7A-52F2-4780-02DA778980B6}"/>
                  </a:ext>
                </a:extLst>
              </p:cNvPr>
              <p:cNvPicPr/>
              <p:nvPr/>
            </p:nvPicPr>
            <p:blipFill>
              <a:blip r:embed="rId44"/>
              <a:stretch>
                <a:fillRect/>
              </a:stretch>
            </p:blipFill>
            <p:spPr>
              <a:xfrm>
                <a:off x="7261971" y="3020619"/>
                <a:ext cx="533168" cy="780846"/>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23" name="Ink 22">
                <a:extLst>
                  <a:ext uri="{FF2B5EF4-FFF2-40B4-BE49-F238E27FC236}">
                    <a16:creationId xmlns:a16="http://schemas.microsoft.com/office/drawing/2014/main" id="{5243E6F7-03A8-FD93-F9F0-FBEA83D828BB}"/>
                  </a:ext>
                </a:extLst>
              </p14:cNvPr>
              <p14:cNvContentPartPr/>
              <p14:nvPr/>
            </p14:nvContentPartPr>
            <p14:xfrm>
              <a:off x="7862095" y="2992902"/>
              <a:ext cx="380520" cy="651960"/>
            </p14:xfrm>
          </p:contentPart>
        </mc:Choice>
        <mc:Fallback xmlns="">
          <p:pic>
            <p:nvPicPr>
              <p:cNvPr id="23" name="Ink 22">
                <a:extLst>
                  <a:ext uri="{FF2B5EF4-FFF2-40B4-BE49-F238E27FC236}">
                    <a16:creationId xmlns:a16="http://schemas.microsoft.com/office/drawing/2014/main" id="{5243E6F7-03A8-FD93-F9F0-FBEA83D828BB}"/>
                  </a:ext>
                </a:extLst>
              </p:cNvPr>
              <p:cNvPicPr/>
              <p:nvPr/>
            </p:nvPicPr>
            <p:blipFill>
              <a:blip r:embed="rId46"/>
              <a:stretch>
                <a:fillRect/>
              </a:stretch>
            </p:blipFill>
            <p:spPr>
              <a:xfrm>
                <a:off x="7855975" y="2986779"/>
                <a:ext cx="392760" cy="664207"/>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24" name="Ink 23">
                <a:extLst>
                  <a:ext uri="{FF2B5EF4-FFF2-40B4-BE49-F238E27FC236}">
                    <a16:creationId xmlns:a16="http://schemas.microsoft.com/office/drawing/2014/main" id="{C3E0D8D9-43D4-B6FE-0DAC-6BF8736ED5EB}"/>
                  </a:ext>
                </a:extLst>
              </p14:cNvPr>
              <p14:cNvContentPartPr/>
              <p14:nvPr/>
            </p14:nvContentPartPr>
            <p14:xfrm>
              <a:off x="7979455" y="3078222"/>
              <a:ext cx="220320" cy="702000"/>
            </p14:xfrm>
          </p:contentPart>
        </mc:Choice>
        <mc:Fallback xmlns="">
          <p:pic>
            <p:nvPicPr>
              <p:cNvPr id="24" name="Ink 23">
                <a:extLst>
                  <a:ext uri="{FF2B5EF4-FFF2-40B4-BE49-F238E27FC236}">
                    <a16:creationId xmlns:a16="http://schemas.microsoft.com/office/drawing/2014/main" id="{C3E0D8D9-43D4-B6FE-0DAC-6BF8736ED5EB}"/>
                  </a:ext>
                </a:extLst>
              </p:cNvPr>
              <p:cNvPicPr/>
              <p:nvPr/>
            </p:nvPicPr>
            <p:blipFill>
              <a:blip r:embed="rId48"/>
              <a:stretch>
                <a:fillRect/>
              </a:stretch>
            </p:blipFill>
            <p:spPr>
              <a:xfrm>
                <a:off x="7973335" y="3072099"/>
                <a:ext cx="232560" cy="714246"/>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25" name="Ink 24">
                <a:extLst>
                  <a:ext uri="{FF2B5EF4-FFF2-40B4-BE49-F238E27FC236}">
                    <a16:creationId xmlns:a16="http://schemas.microsoft.com/office/drawing/2014/main" id="{BF6B6A13-58D1-6427-7972-835AEF30A6CE}"/>
                  </a:ext>
                </a:extLst>
              </p14:cNvPr>
              <p14:cNvContentPartPr/>
              <p14:nvPr/>
            </p14:nvContentPartPr>
            <p14:xfrm>
              <a:off x="7992055" y="3010182"/>
              <a:ext cx="73080" cy="660960"/>
            </p14:xfrm>
          </p:contentPart>
        </mc:Choice>
        <mc:Fallback xmlns="">
          <p:pic>
            <p:nvPicPr>
              <p:cNvPr id="25" name="Ink 24">
                <a:extLst>
                  <a:ext uri="{FF2B5EF4-FFF2-40B4-BE49-F238E27FC236}">
                    <a16:creationId xmlns:a16="http://schemas.microsoft.com/office/drawing/2014/main" id="{BF6B6A13-58D1-6427-7972-835AEF30A6CE}"/>
                  </a:ext>
                </a:extLst>
              </p:cNvPr>
              <p:cNvPicPr/>
              <p:nvPr/>
            </p:nvPicPr>
            <p:blipFill>
              <a:blip r:embed="rId50"/>
              <a:stretch>
                <a:fillRect/>
              </a:stretch>
            </p:blipFill>
            <p:spPr>
              <a:xfrm>
                <a:off x="7985935" y="3004062"/>
                <a:ext cx="85320" cy="6732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26" name="Ink 25">
                <a:extLst>
                  <a:ext uri="{FF2B5EF4-FFF2-40B4-BE49-F238E27FC236}">
                    <a16:creationId xmlns:a16="http://schemas.microsoft.com/office/drawing/2014/main" id="{8B0A399E-0CF6-BDE2-B750-39AC28B6D28E}"/>
                  </a:ext>
                </a:extLst>
              </p14:cNvPr>
              <p14:cNvContentPartPr/>
              <p14:nvPr/>
            </p14:nvContentPartPr>
            <p14:xfrm>
              <a:off x="8066215" y="3006942"/>
              <a:ext cx="56880" cy="689400"/>
            </p14:xfrm>
          </p:contentPart>
        </mc:Choice>
        <mc:Fallback xmlns="">
          <p:pic>
            <p:nvPicPr>
              <p:cNvPr id="26" name="Ink 25">
                <a:extLst>
                  <a:ext uri="{FF2B5EF4-FFF2-40B4-BE49-F238E27FC236}">
                    <a16:creationId xmlns:a16="http://schemas.microsoft.com/office/drawing/2014/main" id="{8B0A399E-0CF6-BDE2-B750-39AC28B6D28E}"/>
                  </a:ext>
                </a:extLst>
              </p:cNvPr>
              <p:cNvPicPr/>
              <p:nvPr/>
            </p:nvPicPr>
            <p:blipFill>
              <a:blip r:embed="rId52"/>
              <a:stretch>
                <a:fillRect/>
              </a:stretch>
            </p:blipFill>
            <p:spPr>
              <a:xfrm>
                <a:off x="8060095" y="3000822"/>
                <a:ext cx="69120" cy="70164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27" name="Ink 26">
                <a:extLst>
                  <a:ext uri="{FF2B5EF4-FFF2-40B4-BE49-F238E27FC236}">
                    <a16:creationId xmlns:a16="http://schemas.microsoft.com/office/drawing/2014/main" id="{D99A7652-5BEA-C3BA-C7A8-8DACC241DF25}"/>
                  </a:ext>
                </a:extLst>
              </p14:cNvPr>
              <p14:cNvContentPartPr/>
              <p14:nvPr/>
            </p14:nvContentPartPr>
            <p14:xfrm>
              <a:off x="8005735" y="3047622"/>
              <a:ext cx="186120" cy="628920"/>
            </p14:xfrm>
          </p:contentPart>
        </mc:Choice>
        <mc:Fallback xmlns="">
          <p:pic>
            <p:nvPicPr>
              <p:cNvPr id="27" name="Ink 26">
                <a:extLst>
                  <a:ext uri="{FF2B5EF4-FFF2-40B4-BE49-F238E27FC236}">
                    <a16:creationId xmlns:a16="http://schemas.microsoft.com/office/drawing/2014/main" id="{D99A7652-5BEA-C3BA-C7A8-8DACC241DF25}"/>
                  </a:ext>
                </a:extLst>
              </p:cNvPr>
              <p:cNvPicPr/>
              <p:nvPr/>
            </p:nvPicPr>
            <p:blipFill>
              <a:blip r:embed="rId54"/>
              <a:stretch>
                <a:fillRect/>
              </a:stretch>
            </p:blipFill>
            <p:spPr>
              <a:xfrm>
                <a:off x="7999615" y="3041506"/>
                <a:ext cx="198360" cy="641153"/>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28" name="Ink 27">
                <a:extLst>
                  <a:ext uri="{FF2B5EF4-FFF2-40B4-BE49-F238E27FC236}">
                    <a16:creationId xmlns:a16="http://schemas.microsoft.com/office/drawing/2014/main" id="{6D48A2EC-E076-2A2E-4CF5-3748AA7118C1}"/>
                  </a:ext>
                </a:extLst>
              </p14:cNvPr>
              <p14:cNvContentPartPr/>
              <p14:nvPr/>
            </p14:nvContentPartPr>
            <p14:xfrm>
              <a:off x="7996735" y="3035742"/>
              <a:ext cx="189000" cy="661680"/>
            </p14:xfrm>
          </p:contentPart>
        </mc:Choice>
        <mc:Fallback xmlns="">
          <p:pic>
            <p:nvPicPr>
              <p:cNvPr id="28" name="Ink 27">
                <a:extLst>
                  <a:ext uri="{FF2B5EF4-FFF2-40B4-BE49-F238E27FC236}">
                    <a16:creationId xmlns:a16="http://schemas.microsoft.com/office/drawing/2014/main" id="{6D48A2EC-E076-2A2E-4CF5-3748AA7118C1}"/>
                  </a:ext>
                </a:extLst>
              </p:cNvPr>
              <p:cNvPicPr/>
              <p:nvPr/>
            </p:nvPicPr>
            <p:blipFill>
              <a:blip r:embed="rId56"/>
              <a:stretch>
                <a:fillRect/>
              </a:stretch>
            </p:blipFill>
            <p:spPr>
              <a:xfrm>
                <a:off x="7990615" y="3029622"/>
                <a:ext cx="201240" cy="6739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29" name="Ink 28">
                <a:extLst>
                  <a:ext uri="{FF2B5EF4-FFF2-40B4-BE49-F238E27FC236}">
                    <a16:creationId xmlns:a16="http://schemas.microsoft.com/office/drawing/2014/main" id="{F893CF41-28B6-85E1-BF38-9BD71EAFAFF1}"/>
                  </a:ext>
                </a:extLst>
              </p14:cNvPr>
              <p14:cNvContentPartPr/>
              <p14:nvPr/>
            </p14:nvContentPartPr>
            <p14:xfrm>
              <a:off x="8032375" y="2952942"/>
              <a:ext cx="184680" cy="802800"/>
            </p14:xfrm>
          </p:contentPart>
        </mc:Choice>
        <mc:Fallback xmlns="">
          <p:pic>
            <p:nvPicPr>
              <p:cNvPr id="29" name="Ink 28">
                <a:extLst>
                  <a:ext uri="{FF2B5EF4-FFF2-40B4-BE49-F238E27FC236}">
                    <a16:creationId xmlns:a16="http://schemas.microsoft.com/office/drawing/2014/main" id="{F893CF41-28B6-85E1-BF38-9BD71EAFAFF1}"/>
                  </a:ext>
                </a:extLst>
              </p:cNvPr>
              <p:cNvPicPr/>
              <p:nvPr/>
            </p:nvPicPr>
            <p:blipFill>
              <a:blip r:embed="rId58"/>
              <a:stretch>
                <a:fillRect/>
              </a:stretch>
            </p:blipFill>
            <p:spPr>
              <a:xfrm>
                <a:off x="8026255" y="2946822"/>
                <a:ext cx="196920" cy="81504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30" name="Ink 29">
                <a:extLst>
                  <a:ext uri="{FF2B5EF4-FFF2-40B4-BE49-F238E27FC236}">
                    <a16:creationId xmlns:a16="http://schemas.microsoft.com/office/drawing/2014/main" id="{317B8521-D32E-7FED-8842-C81B4A0772FF}"/>
                  </a:ext>
                </a:extLst>
              </p14:cNvPr>
              <p14:cNvContentPartPr/>
              <p14:nvPr/>
            </p14:nvContentPartPr>
            <p14:xfrm>
              <a:off x="7512895" y="3074982"/>
              <a:ext cx="251280" cy="668880"/>
            </p14:xfrm>
          </p:contentPart>
        </mc:Choice>
        <mc:Fallback xmlns="">
          <p:pic>
            <p:nvPicPr>
              <p:cNvPr id="30" name="Ink 29">
                <a:extLst>
                  <a:ext uri="{FF2B5EF4-FFF2-40B4-BE49-F238E27FC236}">
                    <a16:creationId xmlns:a16="http://schemas.microsoft.com/office/drawing/2014/main" id="{317B8521-D32E-7FED-8842-C81B4A0772FF}"/>
                  </a:ext>
                </a:extLst>
              </p:cNvPr>
              <p:cNvPicPr/>
              <p:nvPr/>
            </p:nvPicPr>
            <p:blipFill>
              <a:blip r:embed="rId60"/>
              <a:stretch>
                <a:fillRect/>
              </a:stretch>
            </p:blipFill>
            <p:spPr>
              <a:xfrm>
                <a:off x="7506775" y="3068862"/>
                <a:ext cx="263520" cy="68112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31" name="Ink 30">
                <a:extLst>
                  <a:ext uri="{FF2B5EF4-FFF2-40B4-BE49-F238E27FC236}">
                    <a16:creationId xmlns:a16="http://schemas.microsoft.com/office/drawing/2014/main" id="{4F846EE2-62D3-B58B-12F6-E11EA1763AD7}"/>
                  </a:ext>
                </a:extLst>
              </p14:cNvPr>
              <p14:cNvContentPartPr/>
              <p14:nvPr/>
            </p14:nvContentPartPr>
            <p14:xfrm>
              <a:off x="7608655" y="3137982"/>
              <a:ext cx="137520" cy="586080"/>
            </p14:xfrm>
          </p:contentPart>
        </mc:Choice>
        <mc:Fallback xmlns="">
          <p:pic>
            <p:nvPicPr>
              <p:cNvPr id="31" name="Ink 30">
                <a:extLst>
                  <a:ext uri="{FF2B5EF4-FFF2-40B4-BE49-F238E27FC236}">
                    <a16:creationId xmlns:a16="http://schemas.microsoft.com/office/drawing/2014/main" id="{4F846EE2-62D3-B58B-12F6-E11EA1763AD7}"/>
                  </a:ext>
                </a:extLst>
              </p:cNvPr>
              <p:cNvPicPr/>
              <p:nvPr/>
            </p:nvPicPr>
            <p:blipFill>
              <a:blip r:embed="rId62"/>
              <a:stretch>
                <a:fillRect/>
              </a:stretch>
            </p:blipFill>
            <p:spPr>
              <a:xfrm>
                <a:off x="7602535" y="3131862"/>
                <a:ext cx="149760" cy="59832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32" name="Ink 31">
                <a:extLst>
                  <a:ext uri="{FF2B5EF4-FFF2-40B4-BE49-F238E27FC236}">
                    <a16:creationId xmlns:a16="http://schemas.microsoft.com/office/drawing/2014/main" id="{30BB6A23-838A-E496-8F89-1CC9EEF8EBBB}"/>
                  </a:ext>
                </a:extLst>
              </p14:cNvPr>
              <p14:cNvContentPartPr/>
              <p14:nvPr/>
            </p14:nvContentPartPr>
            <p14:xfrm>
              <a:off x="7607575" y="3080742"/>
              <a:ext cx="147240" cy="715680"/>
            </p14:xfrm>
          </p:contentPart>
        </mc:Choice>
        <mc:Fallback xmlns="">
          <p:pic>
            <p:nvPicPr>
              <p:cNvPr id="32" name="Ink 31">
                <a:extLst>
                  <a:ext uri="{FF2B5EF4-FFF2-40B4-BE49-F238E27FC236}">
                    <a16:creationId xmlns:a16="http://schemas.microsoft.com/office/drawing/2014/main" id="{30BB6A23-838A-E496-8F89-1CC9EEF8EBBB}"/>
                  </a:ext>
                </a:extLst>
              </p:cNvPr>
              <p:cNvPicPr/>
              <p:nvPr/>
            </p:nvPicPr>
            <p:blipFill>
              <a:blip r:embed="rId64"/>
              <a:stretch>
                <a:fillRect/>
              </a:stretch>
            </p:blipFill>
            <p:spPr>
              <a:xfrm>
                <a:off x="7601455" y="3074619"/>
                <a:ext cx="159480" cy="727926"/>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33" name="Ink 32">
                <a:extLst>
                  <a:ext uri="{FF2B5EF4-FFF2-40B4-BE49-F238E27FC236}">
                    <a16:creationId xmlns:a16="http://schemas.microsoft.com/office/drawing/2014/main" id="{CF84273D-6315-BD15-B41D-99AE3A74446F}"/>
                  </a:ext>
                </a:extLst>
              </p14:cNvPr>
              <p14:cNvContentPartPr/>
              <p14:nvPr/>
            </p14:nvContentPartPr>
            <p14:xfrm>
              <a:off x="7558975" y="3125382"/>
              <a:ext cx="127440" cy="671760"/>
            </p14:xfrm>
          </p:contentPart>
        </mc:Choice>
        <mc:Fallback xmlns="">
          <p:pic>
            <p:nvPicPr>
              <p:cNvPr id="33" name="Ink 32">
                <a:extLst>
                  <a:ext uri="{FF2B5EF4-FFF2-40B4-BE49-F238E27FC236}">
                    <a16:creationId xmlns:a16="http://schemas.microsoft.com/office/drawing/2014/main" id="{CF84273D-6315-BD15-B41D-99AE3A74446F}"/>
                  </a:ext>
                </a:extLst>
              </p:cNvPr>
              <p:cNvPicPr/>
              <p:nvPr/>
            </p:nvPicPr>
            <p:blipFill>
              <a:blip r:embed="rId66"/>
              <a:stretch>
                <a:fillRect/>
              </a:stretch>
            </p:blipFill>
            <p:spPr>
              <a:xfrm>
                <a:off x="7552838" y="3119262"/>
                <a:ext cx="139715" cy="68400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34" name="Ink 33">
                <a:extLst>
                  <a:ext uri="{FF2B5EF4-FFF2-40B4-BE49-F238E27FC236}">
                    <a16:creationId xmlns:a16="http://schemas.microsoft.com/office/drawing/2014/main" id="{8575110A-1401-6CC4-3BA4-39C53F44F203}"/>
                  </a:ext>
                </a:extLst>
              </p14:cNvPr>
              <p14:cNvContentPartPr/>
              <p14:nvPr/>
            </p14:nvContentPartPr>
            <p14:xfrm>
              <a:off x="7674535" y="3099462"/>
              <a:ext cx="144720" cy="794520"/>
            </p14:xfrm>
          </p:contentPart>
        </mc:Choice>
        <mc:Fallback xmlns="">
          <p:pic>
            <p:nvPicPr>
              <p:cNvPr id="34" name="Ink 33">
                <a:extLst>
                  <a:ext uri="{FF2B5EF4-FFF2-40B4-BE49-F238E27FC236}">
                    <a16:creationId xmlns:a16="http://schemas.microsoft.com/office/drawing/2014/main" id="{8575110A-1401-6CC4-3BA4-39C53F44F203}"/>
                  </a:ext>
                </a:extLst>
              </p:cNvPr>
              <p:cNvPicPr/>
              <p:nvPr/>
            </p:nvPicPr>
            <p:blipFill>
              <a:blip r:embed="rId68"/>
              <a:stretch>
                <a:fillRect/>
              </a:stretch>
            </p:blipFill>
            <p:spPr>
              <a:xfrm>
                <a:off x="7668415" y="3093342"/>
                <a:ext cx="156960" cy="80676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37" name="Ink 36">
                <a:extLst>
                  <a:ext uri="{FF2B5EF4-FFF2-40B4-BE49-F238E27FC236}">
                    <a16:creationId xmlns:a16="http://schemas.microsoft.com/office/drawing/2014/main" id="{B99F4717-A425-D438-904E-D143B7CA96EE}"/>
                  </a:ext>
                </a:extLst>
              </p14:cNvPr>
              <p14:cNvContentPartPr/>
              <p14:nvPr/>
            </p14:nvContentPartPr>
            <p14:xfrm>
              <a:off x="7962175" y="3081462"/>
              <a:ext cx="142200" cy="839520"/>
            </p14:xfrm>
          </p:contentPart>
        </mc:Choice>
        <mc:Fallback xmlns="">
          <p:pic>
            <p:nvPicPr>
              <p:cNvPr id="37" name="Ink 36">
                <a:extLst>
                  <a:ext uri="{FF2B5EF4-FFF2-40B4-BE49-F238E27FC236}">
                    <a16:creationId xmlns:a16="http://schemas.microsoft.com/office/drawing/2014/main" id="{B99F4717-A425-D438-904E-D143B7CA96EE}"/>
                  </a:ext>
                </a:extLst>
              </p:cNvPr>
              <p:cNvPicPr/>
              <p:nvPr/>
            </p:nvPicPr>
            <p:blipFill>
              <a:blip r:embed="rId70"/>
              <a:stretch>
                <a:fillRect/>
              </a:stretch>
            </p:blipFill>
            <p:spPr>
              <a:xfrm>
                <a:off x="7956055" y="3075342"/>
                <a:ext cx="154440" cy="85176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294" name="Ink 293">
                <a:extLst>
                  <a:ext uri="{FF2B5EF4-FFF2-40B4-BE49-F238E27FC236}">
                    <a16:creationId xmlns:a16="http://schemas.microsoft.com/office/drawing/2014/main" id="{71E175EF-B464-69E1-A9B2-9D3D5D3EF0FB}"/>
                  </a:ext>
                </a:extLst>
              </p14:cNvPr>
              <p14:cNvContentPartPr/>
              <p14:nvPr/>
            </p14:nvContentPartPr>
            <p14:xfrm>
              <a:off x="5916618" y="3269866"/>
              <a:ext cx="360" cy="360"/>
            </p14:xfrm>
          </p:contentPart>
        </mc:Choice>
        <mc:Fallback xmlns="">
          <p:pic>
            <p:nvPicPr>
              <p:cNvPr id="294" name="Ink 293">
                <a:extLst>
                  <a:ext uri="{FF2B5EF4-FFF2-40B4-BE49-F238E27FC236}">
                    <a16:creationId xmlns:a16="http://schemas.microsoft.com/office/drawing/2014/main" id="{71E175EF-B464-69E1-A9B2-9D3D5D3EF0FB}"/>
                  </a:ext>
                </a:extLst>
              </p:cNvPr>
              <p:cNvPicPr/>
              <p:nvPr/>
            </p:nvPicPr>
            <p:blipFill>
              <a:blip r:embed="rId72"/>
              <a:stretch>
                <a:fillRect/>
              </a:stretch>
            </p:blipFill>
            <p:spPr>
              <a:xfrm>
                <a:off x="5910498" y="3263746"/>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295" name="Ink 294">
                <a:extLst>
                  <a:ext uri="{FF2B5EF4-FFF2-40B4-BE49-F238E27FC236}">
                    <a16:creationId xmlns:a16="http://schemas.microsoft.com/office/drawing/2014/main" id="{87DD5160-2BAD-E680-2DCF-7A9758C34D99}"/>
                  </a:ext>
                </a:extLst>
              </p14:cNvPr>
              <p14:cNvContentPartPr/>
              <p14:nvPr/>
            </p14:nvContentPartPr>
            <p14:xfrm>
              <a:off x="5733378" y="3118666"/>
              <a:ext cx="307080" cy="545400"/>
            </p14:xfrm>
          </p:contentPart>
        </mc:Choice>
        <mc:Fallback xmlns="">
          <p:pic>
            <p:nvPicPr>
              <p:cNvPr id="295" name="Ink 294">
                <a:extLst>
                  <a:ext uri="{FF2B5EF4-FFF2-40B4-BE49-F238E27FC236}">
                    <a16:creationId xmlns:a16="http://schemas.microsoft.com/office/drawing/2014/main" id="{87DD5160-2BAD-E680-2DCF-7A9758C34D99}"/>
                  </a:ext>
                </a:extLst>
              </p:cNvPr>
              <p:cNvPicPr/>
              <p:nvPr/>
            </p:nvPicPr>
            <p:blipFill>
              <a:blip r:embed="rId74"/>
              <a:stretch>
                <a:fillRect/>
              </a:stretch>
            </p:blipFill>
            <p:spPr>
              <a:xfrm>
                <a:off x="5727258" y="3112546"/>
                <a:ext cx="319320" cy="557640"/>
              </a:xfrm>
              <a:prstGeom prst="rect">
                <a:avLst/>
              </a:prstGeom>
            </p:spPr>
          </p:pic>
        </mc:Fallback>
      </mc:AlternateContent>
      <p:sp>
        <p:nvSpPr>
          <p:cNvPr id="388" name="Rounded Rectangle 16">
            <a:extLst>
              <a:ext uri="{FF2B5EF4-FFF2-40B4-BE49-F238E27FC236}">
                <a16:creationId xmlns:a16="http://schemas.microsoft.com/office/drawing/2014/main" id="{1226B801-04D8-D9FB-D6BA-68177EC7403D}"/>
              </a:ext>
            </a:extLst>
          </p:cNvPr>
          <p:cNvSpPr/>
          <p:nvPr/>
        </p:nvSpPr>
        <p:spPr>
          <a:xfrm>
            <a:off x="10368217" y="3263482"/>
            <a:ext cx="1336313" cy="1229408"/>
          </a:xfrm>
          <a:prstGeom prst="roundRect">
            <a:avLst/>
          </a:prstGeom>
          <a:solidFill>
            <a:srgbClr val="2F3D4A">
              <a:alpha val="10000"/>
            </a:srgb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296" name="Freeform: Shape 110">
            <a:extLst>
              <a:ext uri="{FF2B5EF4-FFF2-40B4-BE49-F238E27FC236}">
                <a16:creationId xmlns:a16="http://schemas.microsoft.com/office/drawing/2014/main" id="{F91F2F19-406C-D378-F4C0-E564C5139CB1}"/>
              </a:ext>
            </a:extLst>
          </p:cNvPr>
          <p:cNvSpPr/>
          <p:nvPr/>
        </p:nvSpPr>
        <p:spPr>
          <a:xfrm>
            <a:off x="10480064" y="3459293"/>
            <a:ext cx="1099134" cy="1033597"/>
          </a:xfrm>
          <a:custGeom>
            <a:avLst/>
            <a:gdLst>
              <a:gd name="connsiteX0" fmla="*/ 520877 w 1099134"/>
              <a:gd name="connsiteY0" fmla="*/ 94749 h 1033597"/>
              <a:gd name="connsiteX1" fmla="*/ 542131 w 1099134"/>
              <a:gd name="connsiteY1" fmla="*/ 125166 h 1033597"/>
              <a:gd name="connsiteX2" fmla="*/ 665394 w 1099134"/>
              <a:gd name="connsiteY2" fmla="*/ 222030 h 1033597"/>
              <a:gd name="connsiteX3" fmla="*/ 761991 w 1099134"/>
              <a:gd name="connsiteY3" fmla="*/ 126771 h 1033597"/>
              <a:gd name="connsiteX4" fmla="*/ 766010 w 1099134"/>
              <a:gd name="connsiteY4" fmla="*/ 94481 h 1033597"/>
              <a:gd name="connsiteX5" fmla="*/ 754883 w 1099134"/>
              <a:gd name="connsiteY5" fmla="*/ 55862 h 1033597"/>
              <a:gd name="connsiteX6" fmla="*/ 756794 w 1099134"/>
              <a:gd name="connsiteY6" fmla="*/ 53364 h 1033597"/>
              <a:gd name="connsiteX7" fmla="*/ 842095 w 1099134"/>
              <a:gd name="connsiteY7" fmla="*/ 95821 h 1033597"/>
              <a:gd name="connsiteX8" fmla="*/ 867367 w 1099134"/>
              <a:gd name="connsiteY8" fmla="*/ 150049 h 1033597"/>
              <a:gd name="connsiteX9" fmla="*/ 989934 w 1099134"/>
              <a:gd name="connsiteY9" fmla="*/ 295169 h 1033597"/>
              <a:gd name="connsiteX10" fmla="*/ 1048649 w 1099134"/>
              <a:gd name="connsiteY10" fmla="*/ 563199 h 1033597"/>
              <a:gd name="connsiteX11" fmla="*/ 1061151 w 1099134"/>
              <a:gd name="connsiteY11" fmla="*/ 752291 h 1033597"/>
              <a:gd name="connsiteX12" fmla="*/ 1098212 w 1099134"/>
              <a:gd name="connsiteY12" fmla="*/ 948519 h 1033597"/>
              <a:gd name="connsiteX13" fmla="*/ 1079190 w 1099134"/>
              <a:gd name="connsiteY13" fmla="*/ 1011491 h 1033597"/>
              <a:gd name="connsiteX14" fmla="*/ 847346 w 1099134"/>
              <a:gd name="connsiteY14" fmla="*/ 1011581 h 1033597"/>
              <a:gd name="connsiteX15" fmla="*/ 23593 w 1099134"/>
              <a:gd name="connsiteY15" fmla="*/ 1016755 h 1033597"/>
              <a:gd name="connsiteX16" fmla="*/ 40882 w 1099134"/>
              <a:gd name="connsiteY16" fmla="*/ 777266 h 1033597"/>
              <a:gd name="connsiteX17" fmla="*/ 73629 w 1099134"/>
              <a:gd name="connsiteY17" fmla="*/ 512091 h 1033597"/>
              <a:gd name="connsiteX18" fmla="*/ 230201 w 1099134"/>
              <a:gd name="connsiteY18" fmla="*/ 251643 h 1033597"/>
              <a:gd name="connsiteX19" fmla="*/ 226031 w 1099134"/>
              <a:gd name="connsiteY19" fmla="*/ 237907 h 1033597"/>
              <a:gd name="connsiteX20" fmla="*/ 269655 w 1099134"/>
              <a:gd name="connsiteY20" fmla="*/ 95106 h 1033597"/>
              <a:gd name="connsiteX21" fmla="*/ 335577 w 1099134"/>
              <a:gd name="connsiteY21" fmla="*/ 79765 h 1033597"/>
              <a:gd name="connsiteX22" fmla="*/ 371896 w 1099134"/>
              <a:gd name="connsiteY22" fmla="*/ 20896 h 1033597"/>
              <a:gd name="connsiteX23" fmla="*/ 527352 w 1099134"/>
              <a:gd name="connsiteY23" fmla="*/ 10372 h 1033597"/>
              <a:gd name="connsiteX24" fmla="*/ 546775 w 1099134"/>
              <a:gd name="connsiteY24" fmla="*/ 3503 h 1033597"/>
              <a:gd name="connsiteX25" fmla="*/ 545534 w 1099134"/>
              <a:gd name="connsiteY25" fmla="*/ 9213 h 1033597"/>
              <a:gd name="connsiteX26" fmla="*/ 529852 w 1099134"/>
              <a:gd name="connsiteY26" fmla="*/ 72361 h 1033597"/>
              <a:gd name="connsiteX27" fmla="*/ 520877 w 1099134"/>
              <a:gd name="connsiteY27" fmla="*/ 94749 h 103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9134" h="1033597">
                <a:moveTo>
                  <a:pt x="520877" y="94749"/>
                </a:moveTo>
                <a:cubicBezTo>
                  <a:pt x="520877" y="101528"/>
                  <a:pt x="533201" y="112231"/>
                  <a:pt x="542131" y="125166"/>
                </a:cubicBezTo>
                <a:cubicBezTo>
                  <a:pt x="571288" y="167444"/>
                  <a:pt x="638773" y="227472"/>
                  <a:pt x="665394" y="222030"/>
                </a:cubicBezTo>
                <a:cubicBezTo>
                  <a:pt x="688577" y="217303"/>
                  <a:pt x="715117" y="183855"/>
                  <a:pt x="761991" y="126771"/>
                </a:cubicBezTo>
                <a:cubicBezTo>
                  <a:pt x="761991" y="126771"/>
                  <a:pt x="768269" y="110358"/>
                  <a:pt x="766010" y="94481"/>
                </a:cubicBezTo>
                <a:cubicBezTo>
                  <a:pt x="763751" y="78605"/>
                  <a:pt x="754883" y="55862"/>
                  <a:pt x="754883" y="55862"/>
                </a:cubicBezTo>
                <a:cubicBezTo>
                  <a:pt x="754446" y="54612"/>
                  <a:pt x="755454" y="53275"/>
                  <a:pt x="756794" y="53364"/>
                </a:cubicBezTo>
                <a:cubicBezTo>
                  <a:pt x="790193" y="55415"/>
                  <a:pt x="820627" y="72361"/>
                  <a:pt x="842095" y="95821"/>
                </a:cubicBezTo>
                <a:cubicBezTo>
                  <a:pt x="856696" y="111787"/>
                  <a:pt x="862956" y="130695"/>
                  <a:pt x="867367" y="150049"/>
                </a:cubicBezTo>
                <a:cubicBezTo>
                  <a:pt x="907142" y="167978"/>
                  <a:pt x="958482" y="223814"/>
                  <a:pt x="989934" y="295169"/>
                </a:cubicBezTo>
                <a:cubicBezTo>
                  <a:pt x="1028914" y="383652"/>
                  <a:pt x="1041889" y="493895"/>
                  <a:pt x="1048649" y="563199"/>
                </a:cubicBezTo>
                <a:cubicBezTo>
                  <a:pt x="1048649" y="563199"/>
                  <a:pt x="1055981" y="691105"/>
                  <a:pt x="1061151" y="752291"/>
                </a:cubicBezTo>
                <a:cubicBezTo>
                  <a:pt x="1069456" y="817761"/>
                  <a:pt x="1098212" y="948519"/>
                  <a:pt x="1098212" y="948519"/>
                </a:cubicBezTo>
                <a:cubicBezTo>
                  <a:pt x="1100417" y="966448"/>
                  <a:pt x="1105320" y="1010244"/>
                  <a:pt x="1079190" y="1011491"/>
                </a:cubicBezTo>
                <a:cubicBezTo>
                  <a:pt x="1001944" y="1008279"/>
                  <a:pt x="924601" y="1008904"/>
                  <a:pt x="847346" y="1011581"/>
                </a:cubicBezTo>
                <a:cubicBezTo>
                  <a:pt x="573217" y="1018627"/>
                  <a:pt x="296258" y="1061975"/>
                  <a:pt x="23593" y="1016755"/>
                </a:cubicBezTo>
                <a:cubicBezTo>
                  <a:pt x="-34131" y="1006228"/>
                  <a:pt x="36096" y="804382"/>
                  <a:pt x="40882" y="777266"/>
                </a:cubicBezTo>
                <a:cubicBezTo>
                  <a:pt x="55438" y="693246"/>
                  <a:pt x="56260" y="595578"/>
                  <a:pt x="73629" y="512091"/>
                </a:cubicBezTo>
                <a:cubicBezTo>
                  <a:pt x="99392" y="403810"/>
                  <a:pt x="166145" y="338251"/>
                  <a:pt x="230201" y="251643"/>
                </a:cubicBezTo>
                <a:cubicBezTo>
                  <a:pt x="234497" y="245844"/>
                  <a:pt x="229701" y="244150"/>
                  <a:pt x="226031" y="237907"/>
                </a:cubicBezTo>
                <a:cubicBezTo>
                  <a:pt x="212385" y="214805"/>
                  <a:pt x="188283" y="147018"/>
                  <a:pt x="269655" y="95106"/>
                </a:cubicBezTo>
                <a:cubicBezTo>
                  <a:pt x="287354" y="80390"/>
                  <a:pt x="322967" y="108128"/>
                  <a:pt x="335577" y="79765"/>
                </a:cubicBezTo>
                <a:cubicBezTo>
                  <a:pt x="347374" y="56395"/>
                  <a:pt x="354768" y="29726"/>
                  <a:pt x="371896" y="20896"/>
                </a:cubicBezTo>
                <a:cubicBezTo>
                  <a:pt x="442149" y="-11838"/>
                  <a:pt x="513528" y="12334"/>
                  <a:pt x="527352" y="10372"/>
                </a:cubicBezTo>
                <a:cubicBezTo>
                  <a:pt x="535362" y="8856"/>
                  <a:pt x="546087" y="3057"/>
                  <a:pt x="546775" y="3503"/>
                </a:cubicBezTo>
                <a:cubicBezTo>
                  <a:pt x="547463" y="3950"/>
                  <a:pt x="545534" y="9213"/>
                  <a:pt x="545534" y="9213"/>
                </a:cubicBezTo>
                <a:cubicBezTo>
                  <a:pt x="537791" y="35079"/>
                  <a:pt x="532558" y="56127"/>
                  <a:pt x="529852" y="72361"/>
                </a:cubicBezTo>
                <a:cubicBezTo>
                  <a:pt x="528388" y="81102"/>
                  <a:pt x="520877" y="88774"/>
                  <a:pt x="520877" y="94749"/>
                </a:cubicBezTo>
                <a:close/>
              </a:path>
            </a:pathLst>
          </a:custGeom>
          <a:solidFill>
            <a:srgbClr val="F3F3F3"/>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97" name="Freeform: Shape 111">
            <a:extLst>
              <a:ext uri="{FF2B5EF4-FFF2-40B4-BE49-F238E27FC236}">
                <a16:creationId xmlns:a16="http://schemas.microsoft.com/office/drawing/2014/main" id="{4350AD0C-7D6A-20D6-39CD-57FC666AEB25}"/>
              </a:ext>
            </a:extLst>
          </p:cNvPr>
          <p:cNvSpPr/>
          <p:nvPr/>
        </p:nvSpPr>
        <p:spPr>
          <a:xfrm>
            <a:off x="10480064" y="3459293"/>
            <a:ext cx="1122575" cy="1042858"/>
          </a:xfrm>
          <a:custGeom>
            <a:avLst/>
            <a:gdLst>
              <a:gd name="connsiteX0" fmla="*/ 677116 w 1122575"/>
              <a:gd name="connsiteY0" fmla="*/ 1046334 h 1042858"/>
              <a:gd name="connsiteX1" fmla="*/ 673883 w 1122575"/>
              <a:gd name="connsiteY1" fmla="*/ 1043211 h 1042858"/>
              <a:gd name="connsiteX2" fmla="*/ 661264 w 1122575"/>
              <a:gd name="connsiteY2" fmla="*/ 746728 h 1042858"/>
              <a:gd name="connsiteX3" fmla="*/ 494048 w 1122575"/>
              <a:gd name="connsiteY3" fmla="*/ 746728 h 1042858"/>
              <a:gd name="connsiteX4" fmla="*/ 433331 w 1122575"/>
              <a:gd name="connsiteY4" fmla="*/ 915129 h 1042858"/>
              <a:gd name="connsiteX5" fmla="*/ 408264 w 1122575"/>
              <a:gd name="connsiteY5" fmla="*/ 961331 h 1042858"/>
              <a:gd name="connsiteX6" fmla="*/ 399013 w 1122575"/>
              <a:gd name="connsiteY6" fmla="*/ 1004591 h 1042858"/>
              <a:gd name="connsiteX7" fmla="*/ 386716 w 1122575"/>
              <a:gd name="connsiteY7" fmla="*/ 1041070 h 1042858"/>
              <a:gd name="connsiteX8" fmla="*/ 363926 w 1122575"/>
              <a:gd name="connsiteY8" fmla="*/ 1014312 h 1042858"/>
              <a:gd name="connsiteX9" fmla="*/ 363926 w 1122575"/>
              <a:gd name="connsiteY9" fmla="*/ 1014312 h 1042858"/>
              <a:gd name="connsiteX10" fmla="*/ 389395 w 1122575"/>
              <a:gd name="connsiteY10" fmla="*/ 921193 h 1042858"/>
              <a:gd name="connsiteX11" fmla="*/ 450352 w 1122575"/>
              <a:gd name="connsiteY11" fmla="*/ 855369 h 1042858"/>
              <a:gd name="connsiteX12" fmla="*/ 492101 w 1122575"/>
              <a:gd name="connsiteY12" fmla="*/ 746284 h 1042858"/>
              <a:gd name="connsiteX13" fmla="*/ 661086 w 1122575"/>
              <a:gd name="connsiteY13" fmla="*/ 733885 h 1042858"/>
              <a:gd name="connsiteX14" fmla="*/ 662792 w 1122575"/>
              <a:gd name="connsiteY14" fmla="*/ 510097 h 1042858"/>
              <a:gd name="connsiteX15" fmla="*/ 676454 w 1122575"/>
              <a:gd name="connsiteY15" fmla="*/ 270520 h 1042858"/>
              <a:gd name="connsiteX16" fmla="*/ 679035 w 1122575"/>
              <a:gd name="connsiteY16" fmla="*/ 270609 h 1042858"/>
              <a:gd name="connsiteX17" fmla="*/ 693216 w 1122575"/>
              <a:gd name="connsiteY17" fmla="*/ 731566 h 1042858"/>
              <a:gd name="connsiteX18" fmla="*/ 784089 w 1122575"/>
              <a:gd name="connsiteY18" fmla="*/ 725769 h 1042858"/>
              <a:gd name="connsiteX19" fmla="*/ 811996 w 1122575"/>
              <a:gd name="connsiteY19" fmla="*/ 728889 h 1042858"/>
              <a:gd name="connsiteX20" fmla="*/ 796404 w 1122575"/>
              <a:gd name="connsiteY20" fmla="*/ 743161 h 1042858"/>
              <a:gd name="connsiteX21" fmla="*/ 693198 w 1122575"/>
              <a:gd name="connsiteY21" fmla="*/ 746284 h 1042858"/>
              <a:gd name="connsiteX22" fmla="*/ 688591 w 1122575"/>
              <a:gd name="connsiteY22" fmla="*/ 890600 h 1042858"/>
              <a:gd name="connsiteX23" fmla="*/ 680321 w 1122575"/>
              <a:gd name="connsiteY23" fmla="*/ 1043211 h 1042858"/>
              <a:gd name="connsiteX24" fmla="*/ 677116 w 1122575"/>
              <a:gd name="connsiteY24" fmla="*/ 1046334 h 1042858"/>
              <a:gd name="connsiteX25" fmla="*/ 264310 w 1122575"/>
              <a:gd name="connsiteY25" fmla="*/ 1040894 h 1042858"/>
              <a:gd name="connsiteX26" fmla="*/ 256684 w 1122575"/>
              <a:gd name="connsiteY26" fmla="*/ 1036611 h 1042858"/>
              <a:gd name="connsiteX27" fmla="*/ 257943 w 1122575"/>
              <a:gd name="connsiteY27" fmla="*/ 1037414 h 1042858"/>
              <a:gd name="connsiteX28" fmla="*/ 254808 w 1122575"/>
              <a:gd name="connsiteY28" fmla="*/ 1035095 h 1042858"/>
              <a:gd name="connsiteX29" fmla="*/ 249799 w 1122575"/>
              <a:gd name="connsiteY29" fmla="*/ 1009497 h 1042858"/>
              <a:gd name="connsiteX30" fmla="*/ 263266 w 1122575"/>
              <a:gd name="connsiteY30" fmla="*/ 554871 h 1042858"/>
              <a:gd name="connsiteX31" fmla="*/ 267382 w 1122575"/>
              <a:gd name="connsiteY31" fmla="*/ 555228 h 1042858"/>
              <a:gd name="connsiteX32" fmla="*/ 298986 w 1122575"/>
              <a:gd name="connsiteY32" fmla="*/ 651380 h 1042858"/>
              <a:gd name="connsiteX33" fmla="*/ 290458 w 1122575"/>
              <a:gd name="connsiteY33" fmla="*/ 891047 h 1042858"/>
              <a:gd name="connsiteX34" fmla="*/ 282314 w 1122575"/>
              <a:gd name="connsiteY34" fmla="*/ 1016366 h 1042858"/>
              <a:gd name="connsiteX35" fmla="*/ 271972 w 1122575"/>
              <a:gd name="connsiteY35" fmla="*/ 1037593 h 1042858"/>
              <a:gd name="connsiteX36" fmla="*/ 264310 w 1122575"/>
              <a:gd name="connsiteY36" fmla="*/ 1040894 h 1042858"/>
              <a:gd name="connsiteX37" fmla="*/ 22241 w 1122575"/>
              <a:gd name="connsiteY37" fmla="*/ 1038930 h 1042858"/>
              <a:gd name="connsiteX38" fmla="*/ 9033 w 1122575"/>
              <a:gd name="connsiteY38" fmla="*/ 1028763 h 1042858"/>
              <a:gd name="connsiteX39" fmla="*/ 27679 w 1122575"/>
              <a:gd name="connsiteY39" fmla="*/ 814964 h 1042858"/>
              <a:gd name="connsiteX40" fmla="*/ 27679 w 1122575"/>
              <a:gd name="connsiteY40" fmla="*/ 814964 h 1042858"/>
              <a:gd name="connsiteX41" fmla="*/ 66365 w 1122575"/>
              <a:gd name="connsiteY41" fmla="*/ 549253 h 1042858"/>
              <a:gd name="connsiteX42" fmla="*/ 234618 w 1122575"/>
              <a:gd name="connsiteY42" fmla="*/ 251788 h 1042858"/>
              <a:gd name="connsiteX43" fmla="*/ 217525 w 1122575"/>
              <a:gd name="connsiteY43" fmla="*/ 165984 h 1042858"/>
              <a:gd name="connsiteX44" fmla="*/ 303853 w 1122575"/>
              <a:gd name="connsiteY44" fmla="*/ 90793 h 1042858"/>
              <a:gd name="connsiteX45" fmla="*/ 328598 w 1122575"/>
              <a:gd name="connsiteY45" fmla="*/ 89097 h 1042858"/>
              <a:gd name="connsiteX46" fmla="*/ 361703 w 1122575"/>
              <a:gd name="connsiteY46" fmla="*/ 39239 h 1042858"/>
              <a:gd name="connsiteX47" fmla="*/ 532260 w 1122575"/>
              <a:gd name="connsiteY47" fmla="*/ 17297 h 1042858"/>
              <a:gd name="connsiteX48" fmla="*/ 531590 w 1122575"/>
              <a:gd name="connsiteY48" fmla="*/ 20150 h 1042858"/>
              <a:gd name="connsiteX49" fmla="*/ 457041 w 1122575"/>
              <a:gd name="connsiteY49" fmla="*/ 20685 h 1042858"/>
              <a:gd name="connsiteX50" fmla="*/ 373866 w 1122575"/>
              <a:gd name="connsiteY50" fmla="*/ 55381 h 1042858"/>
              <a:gd name="connsiteX51" fmla="*/ 345092 w 1122575"/>
              <a:gd name="connsiteY51" fmla="*/ 101853 h 1042858"/>
              <a:gd name="connsiteX52" fmla="*/ 301540 w 1122575"/>
              <a:gd name="connsiteY52" fmla="*/ 110773 h 1042858"/>
              <a:gd name="connsiteX53" fmla="*/ 243146 w 1122575"/>
              <a:gd name="connsiteY53" fmla="*/ 155102 h 1042858"/>
              <a:gd name="connsiteX54" fmla="*/ 239029 w 1122575"/>
              <a:gd name="connsiteY54" fmla="*/ 235467 h 1042858"/>
              <a:gd name="connsiteX55" fmla="*/ 246861 w 1122575"/>
              <a:gd name="connsiteY55" fmla="*/ 239569 h 1042858"/>
              <a:gd name="connsiteX56" fmla="*/ 397485 w 1122575"/>
              <a:gd name="connsiteY56" fmla="*/ 136728 h 1042858"/>
              <a:gd name="connsiteX57" fmla="*/ 403013 w 1122575"/>
              <a:gd name="connsiteY57" fmla="*/ 132447 h 1042858"/>
              <a:gd name="connsiteX58" fmla="*/ 426312 w 1122575"/>
              <a:gd name="connsiteY58" fmla="*/ 125400 h 1042858"/>
              <a:gd name="connsiteX59" fmla="*/ 430563 w 1122575"/>
              <a:gd name="connsiteY59" fmla="*/ 126650 h 1042858"/>
              <a:gd name="connsiteX60" fmla="*/ 563256 w 1122575"/>
              <a:gd name="connsiteY60" fmla="*/ 227527 h 1042858"/>
              <a:gd name="connsiteX61" fmla="*/ 599378 w 1122575"/>
              <a:gd name="connsiteY61" fmla="*/ 245098 h 1042858"/>
              <a:gd name="connsiteX62" fmla="*/ 620043 w 1122575"/>
              <a:gd name="connsiteY62" fmla="*/ 257855 h 1042858"/>
              <a:gd name="connsiteX63" fmla="*/ 617881 w 1122575"/>
              <a:gd name="connsiteY63" fmla="*/ 270966 h 1042858"/>
              <a:gd name="connsiteX64" fmla="*/ 587448 w 1122575"/>
              <a:gd name="connsiteY64" fmla="*/ 270520 h 1042858"/>
              <a:gd name="connsiteX65" fmla="*/ 419150 w 1122575"/>
              <a:gd name="connsiteY65" fmla="*/ 135746 h 1042858"/>
              <a:gd name="connsiteX66" fmla="*/ 415462 w 1122575"/>
              <a:gd name="connsiteY66" fmla="*/ 135391 h 1042858"/>
              <a:gd name="connsiteX67" fmla="*/ 156613 w 1122575"/>
              <a:gd name="connsiteY67" fmla="*/ 386562 h 1042858"/>
              <a:gd name="connsiteX68" fmla="*/ 82394 w 1122575"/>
              <a:gd name="connsiteY68" fmla="*/ 636485 h 1042858"/>
              <a:gd name="connsiteX69" fmla="*/ 56836 w 1122575"/>
              <a:gd name="connsiteY69" fmla="*/ 807738 h 1042858"/>
              <a:gd name="connsiteX70" fmla="*/ 35020 w 1122575"/>
              <a:gd name="connsiteY70" fmla="*/ 1015205 h 1042858"/>
              <a:gd name="connsiteX71" fmla="*/ 35020 w 1122575"/>
              <a:gd name="connsiteY71" fmla="*/ 1015205 h 1042858"/>
              <a:gd name="connsiteX72" fmla="*/ 22241 w 1122575"/>
              <a:gd name="connsiteY72" fmla="*/ 1038930 h 1042858"/>
              <a:gd name="connsiteX73" fmla="*/ 1107807 w 1122575"/>
              <a:gd name="connsiteY73" fmla="*/ 1020468 h 1042858"/>
              <a:gd name="connsiteX74" fmla="*/ 1092519 w 1122575"/>
              <a:gd name="connsiteY74" fmla="*/ 1005839 h 1042858"/>
              <a:gd name="connsiteX75" fmla="*/ 1071569 w 1122575"/>
              <a:gd name="connsiteY75" fmla="*/ 851978 h 1042858"/>
              <a:gd name="connsiteX76" fmla="*/ 879330 w 1122575"/>
              <a:gd name="connsiteY76" fmla="*/ 161613 h 1042858"/>
              <a:gd name="connsiteX77" fmla="*/ 860621 w 1122575"/>
              <a:gd name="connsiteY77" fmla="*/ 156439 h 1042858"/>
              <a:gd name="connsiteX78" fmla="*/ 858049 w 1122575"/>
              <a:gd name="connsiteY78" fmla="*/ 139315 h 1042858"/>
              <a:gd name="connsiteX79" fmla="*/ 790582 w 1122575"/>
              <a:gd name="connsiteY79" fmla="*/ 67959 h 1042858"/>
              <a:gd name="connsiteX80" fmla="*/ 789859 w 1122575"/>
              <a:gd name="connsiteY80" fmla="*/ 61448 h 1042858"/>
              <a:gd name="connsiteX81" fmla="*/ 881758 w 1122575"/>
              <a:gd name="connsiteY81" fmla="*/ 157511 h 1042858"/>
              <a:gd name="connsiteX82" fmla="*/ 1102816 w 1122575"/>
              <a:gd name="connsiteY82" fmla="*/ 853139 h 1042858"/>
              <a:gd name="connsiteX83" fmla="*/ 1102816 w 1122575"/>
              <a:gd name="connsiteY83" fmla="*/ 853139 h 1042858"/>
              <a:gd name="connsiteX84" fmla="*/ 1107807 w 1122575"/>
              <a:gd name="connsiteY84" fmla="*/ 1020468 h 1042858"/>
              <a:gd name="connsiteX85" fmla="*/ 1107807 w 1122575"/>
              <a:gd name="connsiteY85" fmla="*/ 1020468 h 1042858"/>
              <a:gd name="connsiteX86" fmla="*/ 937322 w 1122575"/>
              <a:gd name="connsiteY86" fmla="*/ 1008962 h 1042858"/>
              <a:gd name="connsiteX87" fmla="*/ 919515 w 1122575"/>
              <a:gd name="connsiteY87" fmla="*/ 961777 h 1042858"/>
              <a:gd name="connsiteX88" fmla="*/ 914434 w 1122575"/>
              <a:gd name="connsiteY88" fmla="*/ 915754 h 1042858"/>
              <a:gd name="connsiteX89" fmla="*/ 893573 w 1122575"/>
              <a:gd name="connsiteY89" fmla="*/ 855369 h 1042858"/>
              <a:gd name="connsiteX90" fmla="*/ 832464 w 1122575"/>
              <a:gd name="connsiteY90" fmla="*/ 770991 h 1042858"/>
              <a:gd name="connsiteX91" fmla="*/ 830098 w 1122575"/>
              <a:gd name="connsiteY91" fmla="*/ 747800 h 1042858"/>
              <a:gd name="connsiteX92" fmla="*/ 918845 w 1122575"/>
              <a:gd name="connsiteY92" fmla="*/ 843327 h 1042858"/>
              <a:gd name="connsiteX93" fmla="*/ 942743 w 1122575"/>
              <a:gd name="connsiteY93" fmla="*/ 912810 h 1042858"/>
              <a:gd name="connsiteX94" fmla="*/ 951682 w 1122575"/>
              <a:gd name="connsiteY94" fmla="*/ 980420 h 1042858"/>
              <a:gd name="connsiteX95" fmla="*/ 937322 w 1122575"/>
              <a:gd name="connsiteY95" fmla="*/ 1008962 h 1042858"/>
              <a:gd name="connsiteX96" fmla="*/ 937322 w 1122575"/>
              <a:gd name="connsiteY96" fmla="*/ 1008962 h 1042858"/>
              <a:gd name="connsiteX97" fmla="*/ 1021739 w 1122575"/>
              <a:gd name="connsiteY97" fmla="*/ 1004056 h 1042858"/>
              <a:gd name="connsiteX98" fmla="*/ 1003950 w 1122575"/>
              <a:gd name="connsiteY98" fmla="*/ 962224 h 1042858"/>
              <a:gd name="connsiteX99" fmla="*/ 990796 w 1122575"/>
              <a:gd name="connsiteY99" fmla="*/ 867766 h 1042858"/>
              <a:gd name="connsiteX100" fmla="*/ 950655 w 1122575"/>
              <a:gd name="connsiteY100" fmla="*/ 605535 h 1042858"/>
              <a:gd name="connsiteX101" fmla="*/ 965890 w 1122575"/>
              <a:gd name="connsiteY101" fmla="*/ 332241 h 1042858"/>
              <a:gd name="connsiteX102" fmla="*/ 967961 w 1122575"/>
              <a:gd name="connsiteY102" fmla="*/ 332152 h 1042858"/>
              <a:gd name="connsiteX103" fmla="*/ 968685 w 1122575"/>
              <a:gd name="connsiteY103" fmla="*/ 366314 h 1042858"/>
              <a:gd name="connsiteX104" fmla="*/ 1000164 w 1122575"/>
              <a:gd name="connsiteY104" fmla="*/ 768226 h 1042858"/>
              <a:gd name="connsiteX105" fmla="*/ 1021739 w 1122575"/>
              <a:gd name="connsiteY105" fmla="*/ 1004056 h 1042858"/>
              <a:gd name="connsiteX106" fmla="*/ 1021739 w 1122575"/>
              <a:gd name="connsiteY106" fmla="*/ 1004056 h 1042858"/>
              <a:gd name="connsiteX107" fmla="*/ 672588 w 1122575"/>
              <a:gd name="connsiteY107" fmla="*/ 241263 h 1042858"/>
              <a:gd name="connsiteX108" fmla="*/ 640520 w 1122575"/>
              <a:gd name="connsiteY108" fmla="*/ 227259 h 1042858"/>
              <a:gd name="connsiteX109" fmla="*/ 555987 w 1122575"/>
              <a:gd name="connsiteY109" fmla="*/ 148323 h 1042858"/>
              <a:gd name="connsiteX110" fmla="*/ 530384 w 1122575"/>
              <a:gd name="connsiteY110" fmla="*/ 96679 h 1042858"/>
              <a:gd name="connsiteX111" fmla="*/ 533108 w 1122575"/>
              <a:gd name="connsiteY111" fmla="*/ 47622 h 1042858"/>
              <a:gd name="connsiteX112" fmla="*/ 562943 w 1122575"/>
              <a:gd name="connsiteY112" fmla="*/ 45125 h 1042858"/>
              <a:gd name="connsiteX113" fmla="*/ 553968 w 1122575"/>
              <a:gd name="connsiteY113" fmla="*/ 73934 h 1042858"/>
              <a:gd name="connsiteX114" fmla="*/ 553968 w 1122575"/>
              <a:gd name="connsiteY114" fmla="*/ 73934 h 1042858"/>
              <a:gd name="connsiteX115" fmla="*/ 534215 w 1122575"/>
              <a:gd name="connsiteY115" fmla="*/ 100782 h 1042858"/>
              <a:gd name="connsiteX116" fmla="*/ 660460 w 1122575"/>
              <a:gd name="connsiteY116" fmla="*/ 214059 h 1042858"/>
              <a:gd name="connsiteX117" fmla="*/ 701861 w 1122575"/>
              <a:gd name="connsiteY117" fmla="*/ 198450 h 1042858"/>
              <a:gd name="connsiteX118" fmla="*/ 763970 w 1122575"/>
              <a:gd name="connsiteY118" fmla="*/ 124864 h 1042858"/>
              <a:gd name="connsiteX119" fmla="*/ 757567 w 1122575"/>
              <a:gd name="connsiteY119" fmla="*/ 66798 h 1042858"/>
              <a:gd name="connsiteX120" fmla="*/ 780696 w 1122575"/>
              <a:gd name="connsiteY120" fmla="*/ 91416 h 1042858"/>
              <a:gd name="connsiteX121" fmla="*/ 780696 w 1122575"/>
              <a:gd name="connsiteY121" fmla="*/ 91416 h 1042858"/>
              <a:gd name="connsiteX122" fmla="*/ 786036 w 1122575"/>
              <a:gd name="connsiteY122" fmla="*/ 105777 h 1042858"/>
              <a:gd name="connsiteX123" fmla="*/ 788162 w 1122575"/>
              <a:gd name="connsiteY123" fmla="*/ 108007 h 1042858"/>
              <a:gd name="connsiteX124" fmla="*/ 787688 w 1122575"/>
              <a:gd name="connsiteY124" fmla="*/ 132536 h 1042858"/>
              <a:gd name="connsiteX125" fmla="*/ 672588 w 1122575"/>
              <a:gd name="connsiteY125" fmla="*/ 241263 h 104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22575" h="1042858">
                <a:moveTo>
                  <a:pt x="677116" y="1046334"/>
                </a:moveTo>
                <a:cubicBezTo>
                  <a:pt x="675365" y="1046423"/>
                  <a:pt x="673918" y="1044997"/>
                  <a:pt x="673883" y="1043211"/>
                </a:cubicBezTo>
                <a:cubicBezTo>
                  <a:pt x="667417" y="940727"/>
                  <a:pt x="662720" y="849838"/>
                  <a:pt x="661264" y="746728"/>
                </a:cubicBezTo>
                <a:cubicBezTo>
                  <a:pt x="607773" y="746996"/>
                  <a:pt x="546030" y="747175"/>
                  <a:pt x="494048" y="746728"/>
                </a:cubicBezTo>
                <a:cubicBezTo>
                  <a:pt x="509782" y="810236"/>
                  <a:pt x="480036" y="863038"/>
                  <a:pt x="433331" y="915129"/>
                </a:cubicBezTo>
                <a:cubicBezTo>
                  <a:pt x="419507" y="927437"/>
                  <a:pt x="410229" y="942691"/>
                  <a:pt x="408264" y="961331"/>
                </a:cubicBezTo>
                <a:cubicBezTo>
                  <a:pt x="407434" y="966148"/>
                  <a:pt x="400138" y="999149"/>
                  <a:pt x="399013" y="1004591"/>
                </a:cubicBezTo>
                <a:cubicBezTo>
                  <a:pt x="396432" y="1016631"/>
                  <a:pt x="395762" y="1032776"/>
                  <a:pt x="386716" y="1041070"/>
                </a:cubicBezTo>
                <a:cubicBezTo>
                  <a:pt x="368427" y="1054896"/>
                  <a:pt x="356443" y="1030814"/>
                  <a:pt x="363926" y="1014312"/>
                </a:cubicBezTo>
                <a:lnTo>
                  <a:pt x="363926" y="1014312"/>
                </a:lnTo>
                <a:cubicBezTo>
                  <a:pt x="370624" y="991658"/>
                  <a:pt x="378268" y="941441"/>
                  <a:pt x="389395" y="921193"/>
                </a:cubicBezTo>
                <a:cubicBezTo>
                  <a:pt x="406809" y="897022"/>
                  <a:pt x="434117" y="881056"/>
                  <a:pt x="450352" y="855369"/>
                </a:cubicBezTo>
                <a:cubicBezTo>
                  <a:pt x="475607" y="823972"/>
                  <a:pt x="485876" y="784192"/>
                  <a:pt x="492101" y="746284"/>
                </a:cubicBezTo>
                <a:cubicBezTo>
                  <a:pt x="545583" y="740039"/>
                  <a:pt x="605005" y="739059"/>
                  <a:pt x="661086" y="733885"/>
                </a:cubicBezTo>
                <a:cubicBezTo>
                  <a:pt x="660193" y="668328"/>
                  <a:pt x="661827" y="583593"/>
                  <a:pt x="662792" y="510097"/>
                </a:cubicBezTo>
                <a:cubicBezTo>
                  <a:pt x="664685" y="432764"/>
                  <a:pt x="663283" y="342679"/>
                  <a:pt x="676454" y="270520"/>
                </a:cubicBezTo>
                <a:cubicBezTo>
                  <a:pt x="676713" y="269093"/>
                  <a:pt x="678874" y="269183"/>
                  <a:pt x="679035" y="270609"/>
                </a:cubicBezTo>
                <a:cubicBezTo>
                  <a:pt x="695860" y="419295"/>
                  <a:pt x="691805" y="590816"/>
                  <a:pt x="693216" y="731566"/>
                </a:cubicBezTo>
                <a:cubicBezTo>
                  <a:pt x="722498" y="729514"/>
                  <a:pt x="753664" y="727552"/>
                  <a:pt x="784089" y="725769"/>
                </a:cubicBezTo>
                <a:cubicBezTo>
                  <a:pt x="793332" y="726394"/>
                  <a:pt x="804468" y="720863"/>
                  <a:pt x="811996" y="728889"/>
                </a:cubicBezTo>
                <a:cubicBezTo>
                  <a:pt x="818971" y="739148"/>
                  <a:pt x="804530" y="744054"/>
                  <a:pt x="796404" y="743161"/>
                </a:cubicBezTo>
                <a:cubicBezTo>
                  <a:pt x="763309" y="744588"/>
                  <a:pt x="727214" y="745748"/>
                  <a:pt x="693198" y="746284"/>
                </a:cubicBezTo>
                <a:cubicBezTo>
                  <a:pt x="693038" y="794091"/>
                  <a:pt x="690770" y="842347"/>
                  <a:pt x="688591" y="890600"/>
                </a:cubicBezTo>
                <a:cubicBezTo>
                  <a:pt x="686028" y="947416"/>
                  <a:pt x="683643" y="995136"/>
                  <a:pt x="680321" y="1043211"/>
                </a:cubicBezTo>
                <a:cubicBezTo>
                  <a:pt x="680304" y="1044997"/>
                  <a:pt x="678866" y="1046423"/>
                  <a:pt x="677116" y="1046334"/>
                </a:cubicBezTo>
                <a:close/>
                <a:moveTo>
                  <a:pt x="264310" y="1040894"/>
                </a:moveTo>
                <a:cubicBezTo>
                  <a:pt x="261176" y="1040981"/>
                  <a:pt x="258247" y="1039376"/>
                  <a:pt x="256684" y="1036611"/>
                </a:cubicBezTo>
                <a:cubicBezTo>
                  <a:pt x="256907" y="1036789"/>
                  <a:pt x="257711" y="1037325"/>
                  <a:pt x="257943" y="1037414"/>
                </a:cubicBezTo>
                <a:cubicBezTo>
                  <a:pt x="257961" y="1037414"/>
                  <a:pt x="256961" y="1036611"/>
                  <a:pt x="254808" y="1035095"/>
                </a:cubicBezTo>
                <a:cubicBezTo>
                  <a:pt x="247915" y="1028138"/>
                  <a:pt x="248701" y="1018417"/>
                  <a:pt x="249799" y="1009497"/>
                </a:cubicBezTo>
                <a:cubicBezTo>
                  <a:pt x="256336" y="859561"/>
                  <a:pt x="280867" y="704629"/>
                  <a:pt x="263266" y="554871"/>
                </a:cubicBezTo>
                <a:cubicBezTo>
                  <a:pt x="264310" y="553623"/>
                  <a:pt x="266570" y="553623"/>
                  <a:pt x="267382" y="555228"/>
                </a:cubicBezTo>
                <a:cubicBezTo>
                  <a:pt x="285796" y="583948"/>
                  <a:pt x="295450" y="617575"/>
                  <a:pt x="298986" y="651380"/>
                </a:cubicBezTo>
                <a:cubicBezTo>
                  <a:pt x="305576" y="731387"/>
                  <a:pt x="293941" y="811218"/>
                  <a:pt x="290458" y="891047"/>
                </a:cubicBezTo>
                <a:cubicBezTo>
                  <a:pt x="290458" y="891047"/>
                  <a:pt x="282314" y="1016366"/>
                  <a:pt x="282314" y="1016366"/>
                </a:cubicBezTo>
                <a:cubicBezTo>
                  <a:pt x="281965" y="1024392"/>
                  <a:pt x="279706" y="1033669"/>
                  <a:pt x="271972" y="1037593"/>
                </a:cubicBezTo>
                <a:cubicBezTo>
                  <a:pt x="269820" y="1039466"/>
                  <a:pt x="267213" y="1040981"/>
                  <a:pt x="264310" y="1040894"/>
                </a:cubicBezTo>
                <a:close/>
                <a:moveTo>
                  <a:pt x="22241" y="1038930"/>
                </a:moveTo>
                <a:cubicBezTo>
                  <a:pt x="16168" y="1039019"/>
                  <a:pt x="10810" y="1034470"/>
                  <a:pt x="9033" y="1028763"/>
                </a:cubicBezTo>
                <a:cubicBezTo>
                  <a:pt x="-11140" y="956871"/>
                  <a:pt x="10703" y="885783"/>
                  <a:pt x="27679" y="814964"/>
                </a:cubicBezTo>
                <a:lnTo>
                  <a:pt x="27679" y="814964"/>
                </a:lnTo>
                <a:cubicBezTo>
                  <a:pt x="54220" y="728445"/>
                  <a:pt x="55095" y="638447"/>
                  <a:pt x="66365" y="549253"/>
                </a:cubicBezTo>
                <a:cubicBezTo>
                  <a:pt x="84341" y="432853"/>
                  <a:pt x="158863" y="333759"/>
                  <a:pt x="234618" y="251788"/>
                </a:cubicBezTo>
                <a:cubicBezTo>
                  <a:pt x="202853" y="244920"/>
                  <a:pt x="213096" y="189530"/>
                  <a:pt x="217525" y="165984"/>
                </a:cubicBezTo>
                <a:cubicBezTo>
                  <a:pt x="227339" y="126826"/>
                  <a:pt x="261444" y="90526"/>
                  <a:pt x="303853" y="90793"/>
                </a:cubicBezTo>
                <a:cubicBezTo>
                  <a:pt x="312096" y="90615"/>
                  <a:pt x="320588" y="91595"/>
                  <a:pt x="328598" y="89097"/>
                </a:cubicBezTo>
                <a:cubicBezTo>
                  <a:pt x="348548" y="81070"/>
                  <a:pt x="349308" y="54580"/>
                  <a:pt x="361703" y="39239"/>
                </a:cubicBezTo>
                <a:cubicBezTo>
                  <a:pt x="394923" y="-3932"/>
                  <a:pt x="486019" y="-3754"/>
                  <a:pt x="532260" y="17297"/>
                </a:cubicBezTo>
                <a:cubicBezTo>
                  <a:pt x="534153" y="18188"/>
                  <a:pt x="533653" y="20061"/>
                  <a:pt x="531590" y="20150"/>
                </a:cubicBezTo>
                <a:cubicBezTo>
                  <a:pt x="507532" y="20328"/>
                  <a:pt x="479911" y="17920"/>
                  <a:pt x="457041" y="20685"/>
                </a:cubicBezTo>
                <a:cubicBezTo>
                  <a:pt x="428036" y="25056"/>
                  <a:pt x="389842" y="26839"/>
                  <a:pt x="373866" y="55381"/>
                </a:cubicBezTo>
                <a:cubicBezTo>
                  <a:pt x="365301" y="71347"/>
                  <a:pt x="361247" y="91238"/>
                  <a:pt x="345092" y="101853"/>
                </a:cubicBezTo>
                <a:cubicBezTo>
                  <a:pt x="332322" y="110505"/>
                  <a:pt x="316301" y="109612"/>
                  <a:pt x="301540" y="110773"/>
                </a:cubicBezTo>
                <a:cubicBezTo>
                  <a:pt x="277188" y="112646"/>
                  <a:pt x="254818" y="129681"/>
                  <a:pt x="243146" y="155102"/>
                </a:cubicBezTo>
                <a:cubicBezTo>
                  <a:pt x="234618" y="176062"/>
                  <a:pt x="226607" y="213436"/>
                  <a:pt x="239029" y="235467"/>
                </a:cubicBezTo>
                <a:cubicBezTo>
                  <a:pt x="242262" y="234931"/>
                  <a:pt x="245557" y="236536"/>
                  <a:pt x="246861" y="239569"/>
                </a:cubicBezTo>
                <a:cubicBezTo>
                  <a:pt x="292003" y="196309"/>
                  <a:pt x="340270" y="162772"/>
                  <a:pt x="397485" y="136728"/>
                </a:cubicBezTo>
                <a:cubicBezTo>
                  <a:pt x="401299" y="135034"/>
                  <a:pt x="401852" y="134319"/>
                  <a:pt x="403013" y="132447"/>
                </a:cubicBezTo>
                <a:cubicBezTo>
                  <a:pt x="407478" y="125132"/>
                  <a:pt x="418337" y="123349"/>
                  <a:pt x="426312" y="125400"/>
                </a:cubicBezTo>
                <a:cubicBezTo>
                  <a:pt x="427625" y="125757"/>
                  <a:pt x="430429" y="126650"/>
                  <a:pt x="430563" y="126650"/>
                </a:cubicBezTo>
                <a:cubicBezTo>
                  <a:pt x="482769" y="150107"/>
                  <a:pt x="514738" y="197738"/>
                  <a:pt x="563256" y="227527"/>
                </a:cubicBezTo>
                <a:cubicBezTo>
                  <a:pt x="574651" y="234752"/>
                  <a:pt x="586394" y="241085"/>
                  <a:pt x="599378" y="245098"/>
                </a:cubicBezTo>
                <a:cubicBezTo>
                  <a:pt x="607567" y="247685"/>
                  <a:pt x="616846" y="250629"/>
                  <a:pt x="620043" y="257855"/>
                </a:cubicBezTo>
                <a:cubicBezTo>
                  <a:pt x="623624" y="261779"/>
                  <a:pt x="622213" y="268290"/>
                  <a:pt x="617881" y="270966"/>
                </a:cubicBezTo>
                <a:cubicBezTo>
                  <a:pt x="610139" y="278903"/>
                  <a:pt x="597057" y="274086"/>
                  <a:pt x="587448" y="270520"/>
                </a:cubicBezTo>
                <a:cubicBezTo>
                  <a:pt x="520230" y="245634"/>
                  <a:pt x="473821" y="180879"/>
                  <a:pt x="419150" y="135746"/>
                </a:cubicBezTo>
                <a:cubicBezTo>
                  <a:pt x="418114" y="134944"/>
                  <a:pt x="416641" y="134766"/>
                  <a:pt x="415462" y="135391"/>
                </a:cubicBezTo>
                <a:cubicBezTo>
                  <a:pt x="309273" y="193633"/>
                  <a:pt x="219481" y="282740"/>
                  <a:pt x="156613" y="386562"/>
                </a:cubicBezTo>
                <a:cubicBezTo>
                  <a:pt x="107345" y="456402"/>
                  <a:pt x="84029" y="545329"/>
                  <a:pt x="82394" y="636485"/>
                </a:cubicBezTo>
                <a:cubicBezTo>
                  <a:pt x="79420" y="695709"/>
                  <a:pt x="72089" y="747710"/>
                  <a:pt x="56836" y="807738"/>
                </a:cubicBezTo>
                <a:cubicBezTo>
                  <a:pt x="39798" y="874813"/>
                  <a:pt x="22785" y="945722"/>
                  <a:pt x="35020" y="1015205"/>
                </a:cubicBezTo>
                <a:lnTo>
                  <a:pt x="35020" y="1015205"/>
                </a:lnTo>
                <a:cubicBezTo>
                  <a:pt x="38101" y="1026086"/>
                  <a:pt x="35708" y="1038486"/>
                  <a:pt x="22241" y="1038930"/>
                </a:cubicBezTo>
                <a:close/>
                <a:moveTo>
                  <a:pt x="1107807" y="1020468"/>
                </a:moveTo>
                <a:cubicBezTo>
                  <a:pt x="1100753" y="1020468"/>
                  <a:pt x="1092957" y="1015830"/>
                  <a:pt x="1092519" y="1005839"/>
                </a:cubicBezTo>
                <a:cubicBezTo>
                  <a:pt x="1090295" y="954195"/>
                  <a:pt x="1080901" y="902464"/>
                  <a:pt x="1071569" y="851978"/>
                </a:cubicBezTo>
                <a:cubicBezTo>
                  <a:pt x="1021462" y="620697"/>
                  <a:pt x="1084884" y="330726"/>
                  <a:pt x="879330" y="161613"/>
                </a:cubicBezTo>
                <a:cubicBezTo>
                  <a:pt x="873614" y="167232"/>
                  <a:pt x="863077" y="163754"/>
                  <a:pt x="860621" y="156439"/>
                </a:cubicBezTo>
                <a:cubicBezTo>
                  <a:pt x="858746" y="150910"/>
                  <a:pt x="859228" y="145022"/>
                  <a:pt x="858049" y="139315"/>
                </a:cubicBezTo>
                <a:cubicBezTo>
                  <a:pt x="850602" y="106135"/>
                  <a:pt x="823248" y="77236"/>
                  <a:pt x="790582" y="67959"/>
                </a:cubicBezTo>
                <a:cubicBezTo>
                  <a:pt x="779116" y="64479"/>
                  <a:pt x="772114" y="62517"/>
                  <a:pt x="789859" y="61448"/>
                </a:cubicBezTo>
                <a:cubicBezTo>
                  <a:pt x="837769" y="62964"/>
                  <a:pt x="885706" y="109166"/>
                  <a:pt x="881758" y="157511"/>
                </a:cubicBezTo>
                <a:cubicBezTo>
                  <a:pt x="1124891" y="295673"/>
                  <a:pt x="1042394" y="623731"/>
                  <a:pt x="1102816" y="853139"/>
                </a:cubicBezTo>
                <a:lnTo>
                  <a:pt x="1102816" y="853139"/>
                </a:lnTo>
                <a:cubicBezTo>
                  <a:pt x="1106048" y="876418"/>
                  <a:pt x="1144385" y="1024303"/>
                  <a:pt x="1107807" y="1020468"/>
                </a:cubicBezTo>
                <a:lnTo>
                  <a:pt x="1107807" y="1020468"/>
                </a:lnTo>
                <a:close/>
                <a:moveTo>
                  <a:pt x="937322" y="1008962"/>
                </a:moveTo>
                <a:cubicBezTo>
                  <a:pt x="917434" y="1005660"/>
                  <a:pt x="921435" y="977386"/>
                  <a:pt x="919515" y="961777"/>
                </a:cubicBezTo>
                <a:cubicBezTo>
                  <a:pt x="918104" y="946436"/>
                  <a:pt x="916318" y="931006"/>
                  <a:pt x="914434" y="915754"/>
                </a:cubicBezTo>
                <a:cubicBezTo>
                  <a:pt x="911728" y="894614"/>
                  <a:pt x="910469" y="870621"/>
                  <a:pt x="893573" y="855369"/>
                </a:cubicBezTo>
                <a:cubicBezTo>
                  <a:pt x="867729" y="831820"/>
                  <a:pt x="845118" y="803903"/>
                  <a:pt x="832464" y="770991"/>
                </a:cubicBezTo>
                <a:cubicBezTo>
                  <a:pt x="827597" y="763052"/>
                  <a:pt x="813479" y="720684"/>
                  <a:pt x="830098" y="747800"/>
                </a:cubicBezTo>
                <a:cubicBezTo>
                  <a:pt x="852878" y="785797"/>
                  <a:pt x="886482" y="814160"/>
                  <a:pt x="918845" y="843327"/>
                </a:cubicBezTo>
                <a:cubicBezTo>
                  <a:pt x="936268" y="862326"/>
                  <a:pt x="939054" y="888192"/>
                  <a:pt x="942743" y="912810"/>
                </a:cubicBezTo>
                <a:cubicBezTo>
                  <a:pt x="946136" y="934840"/>
                  <a:pt x="949226" y="957407"/>
                  <a:pt x="951682" y="980420"/>
                </a:cubicBezTo>
                <a:cubicBezTo>
                  <a:pt x="953629" y="991569"/>
                  <a:pt x="951673" y="1008605"/>
                  <a:pt x="937322" y="1008962"/>
                </a:cubicBezTo>
                <a:lnTo>
                  <a:pt x="937322" y="1008962"/>
                </a:lnTo>
                <a:close/>
                <a:moveTo>
                  <a:pt x="1021739" y="1004056"/>
                </a:moveTo>
                <a:cubicBezTo>
                  <a:pt x="1002057" y="1002183"/>
                  <a:pt x="1005397" y="977119"/>
                  <a:pt x="1003950" y="962224"/>
                </a:cubicBezTo>
                <a:cubicBezTo>
                  <a:pt x="1000645" y="928687"/>
                  <a:pt x="996296" y="899163"/>
                  <a:pt x="990796" y="867766"/>
                </a:cubicBezTo>
                <a:cubicBezTo>
                  <a:pt x="975248" y="784993"/>
                  <a:pt x="949351" y="684292"/>
                  <a:pt x="950655" y="605535"/>
                </a:cubicBezTo>
                <a:cubicBezTo>
                  <a:pt x="952959" y="510809"/>
                  <a:pt x="960665" y="430713"/>
                  <a:pt x="965890" y="332241"/>
                </a:cubicBezTo>
                <a:cubicBezTo>
                  <a:pt x="965881" y="330994"/>
                  <a:pt x="967943" y="330815"/>
                  <a:pt x="967961" y="332152"/>
                </a:cubicBezTo>
                <a:cubicBezTo>
                  <a:pt x="968193" y="342768"/>
                  <a:pt x="968417" y="353471"/>
                  <a:pt x="968685" y="366314"/>
                </a:cubicBezTo>
                <a:cubicBezTo>
                  <a:pt x="971560" y="507153"/>
                  <a:pt x="967301" y="628101"/>
                  <a:pt x="1000164" y="768226"/>
                </a:cubicBezTo>
                <a:cubicBezTo>
                  <a:pt x="1004012" y="797926"/>
                  <a:pt x="1064568" y="1007890"/>
                  <a:pt x="1021739" y="1004056"/>
                </a:cubicBezTo>
                <a:lnTo>
                  <a:pt x="1021739" y="1004056"/>
                </a:lnTo>
                <a:close/>
                <a:moveTo>
                  <a:pt x="672588" y="241263"/>
                </a:moveTo>
                <a:cubicBezTo>
                  <a:pt x="660443" y="241263"/>
                  <a:pt x="649843" y="234395"/>
                  <a:pt x="640520" y="227259"/>
                </a:cubicBezTo>
                <a:cubicBezTo>
                  <a:pt x="608898" y="203356"/>
                  <a:pt x="581259" y="178381"/>
                  <a:pt x="555987" y="148323"/>
                </a:cubicBezTo>
                <a:cubicBezTo>
                  <a:pt x="545012" y="139136"/>
                  <a:pt x="486966" y="49138"/>
                  <a:pt x="530384" y="96679"/>
                </a:cubicBezTo>
                <a:cubicBezTo>
                  <a:pt x="529652" y="80445"/>
                  <a:pt x="529321" y="63410"/>
                  <a:pt x="533108" y="47622"/>
                </a:cubicBezTo>
                <a:cubicBezTo>
                  <a:pt x="536751" y="33708"/>
                  <a:pt x="557067" y="31924"/>
                  <a:pt x="562943" y="45125"/>
                </a:cubicBezTo>
                <a:cubicBezTo>
                  <a:pt x="568284" y="55294"/>
                  <a:pt x="558773" y="65461"/>
                  <a:pt x="553968" y="73934"/>
                </a:cubicBezTo>
                <a:lnTo>
                  <a:pt x="553968" y="73934"/>
                </a:lnTo>
                <a:cubicBezTo>
                  <a:pt x="548513" y="83657"/>
                  <a:pt x="540591" y="91595"/>
                  <a:pt x="534215" y="100782"/>
                </a:cubicBezTo>
                <a:cubicBezTo>
                  <a:pt x="572981" y="142170"/>
                  <a:pt x="614328" y="183466"/>
                  <a:pt x="660460" y="214059"/>
                </a:cubicBezTo>
                <a:cubicBezTo>
                  <a:pt x="675552" y="226637"/>
                  <a:pt x="691073" y="209331"/>
                  <a:pt x="701861" y="198450"/>
                </a:cubicBezTo>
                <a:cubicBezTo>
                  <a:pt x="725329" y="176240"/>
                  <a:pt x="746074" y="151890"/>
                  <a:pt x="763970" y="124864"/>
                </a:cubicBezTo>
                <a:cubicBezTo>
                  <a:pt x="753736" y="109255"/>
                  <a:pt x="759317" y="85084"/>
                  <a:pt x="757567" y="66798"/>
                </a:cubicBezTo>
                <a:cubicBezTo>
                  <a:pt x="757773" y="26572"/>
                  <a:pt x="776463" y="81338"/>
                  <a:pt x="780696" y="91416"/>
                </a:cubicBezTo>
                <a:lnTo>
                  <a:pt x="780696" y="91416"/>
                </a:lnTo>
                <a:cubicBezTo>
                  <a:pt x="782509" y="95965"/>
                  <a:pt x="784259" y="100871"/>
                  <a:pt x="786036" y="105777"/>
                </a:cubicBezTo>
                <a:cubicBezTo>
                  <a:pt x="786813" y="106492"/>
                  <a:pt x="787537" y="107204"/>
                  <a:pt x="788162" y="108007"/>
                </a:cubicBezTo>
                <a:cubicBezTo>
                  <a:pt x="797851" y="113536"/>
                  <a:pt x="793055" y="125668"/>
                  <a:pt x="787688" y="132536"/>
                </a:cubicBezTo>
                <a:cubicBezTo>
                  <a:pt x="764434" y="165805"/>
                  <a:pt x="714256" y="236714"/>
                  <a:pt x="672588" y="241263"/>
                </a:cubicBezTo>
                <a:close/>
              </a:path>
            </a:pathLst>
          </a:custGeom>
          <a:solidFill>
            <a:schemeClr val="bg1"/>
          </a:solidFill>
          <a:ln w="8890" cap="flat">
            <a:noFill/>
            <a:prstDash val="solid"/>
            <a:miter/>
          </a:ln>
        </p:spPr>
        <p:txBody>
          <a:bodyPr rtlCol="0" anchor="ctr"/>
          <a:lstStyle/>
          <a:p>
            <a:endParaRPr lang="en-GB">
              <a:solidFill>
                <a:schemeClr val="bg1"/>
              </a:solidFill>
            </a:endParaRPr>
          </a:p>
        </p:txBody>
      </p:sp>
      <p:sp>
        <p:nvSpPr>
          <p:cNvPr id="300" name="Freeform: Shape 129">
            <a:extLst>
              <a:ext uri="{FF2B5EF4-FFF2-40B4-BE49-F238E27FC236}">
                <a16:creationId xmlns:a16="http://schemas.microsoft.com/office/drawing/2014/main" id="{CB9B7744-FFFC-C81A-9085-903DCF08848F}"/>
              </a:ext>
            </a:extLst>
          </p:cNvPr>
          <p:cNvSpPr/>
          <p:nvPr/>
        </p:nvSpPr>
        <p:spPr>
          <a:xfrm>
            <a:off x="10873195" y="3198089"/>
            <a:ext cx="494110" cy="496266"/>
          </a:xfrm>
          <a:custGeom>
            <a:avLst/>
            <a:gdLst>
              <a:gd name="connsiteX0" fmla="*/ 91211 w 494110"/>
              <a:gd name="connsiteY0" fmla="*/ 211457 h 496266"/>
              <a:gd name="connsiteX1" fmla="*/ 1348 w 494110"/>
              <a:gd name="connsiteY1" fmla="*/ 284795 h 496266"/>
              <a:gd name="connsiteX2" fmla="*/ 89747 w 494110"/>
              <a:gd name="connsiteY2" fmla="*/ 350489 h 496266"/>
              <a:gd name="connsiteX3" fmla="*/ 115816 w 494110"/>
              <a:gd name="connsiteY3" fmla="*/ 381128 h 496266"/>
              <a:gd name="connsiteX4" fmla="*/ 347574 w 494110"/>
              <a:gd name="connsiteY4" fmla="*/ 495886 h 496266"/>
              <a:gd name="connsiteX5" fmla="*/ 464095 w 494110"/>
              <a:gd name="connsiteY5" fmla="*/ 413791 h 496266"/>
              <a:gd name="connsiteX6" fmla="*/ 493878 w 494110"/>
              <a:gd name="connsiteY6" fmla="*/ 278439 h 496266"/>
              <a:gd name="connsiteX7" fmla="*/ 464284 w 494110"/>
              <a:gd name="connsiteY7" fmla="*/ 120983 h 496266"/>
              <a:gd name="connsiteX8" fmla="*/ 220184 w 494110"/>
              <a:gd name="connsiteY8" fmla="*/ 2073 h 496266"/>
              <a:gd name="connsiteX9" fmla="*/ 91211 w 494110"/>
              <a:gd name="connsiteY9" fmla="*/ 211457 h 49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110" h="496266">
                <a:moveTo>
                  <a:pt x="91211" y="211457"/>
                </a:moveTo>
                <a:cubicBezTo>
                  <a:pt x="91211" y="211457"/>
                  <a:pt x="-12952" y="215652"/>
                  <a:pt x="1348" y="284795"/>
                </a:cubicBezTo>
                <a:cubicBezTo>
                  <a:pt x="17361" y="362198"/>
                  <a:pt x="89747" y="350489"/>
                  <a:pt x="89747" y="350489"/>
                </a:cubicBezTo>
                <a:lnTo>
                  <a:pt x="115816" y="381128"/>
                </a:lnTo>
                <a:cubicBezTo>
                  <a:pt x="115816" y="381128"/>
                  <a:pt x="204189" y="503949"/>
                  <a:pt x="347574" y="495886"/>
                </a:cubicBezTo>
                <a:cubicBezTo>
                  <a:pt x="347574" y="495886"/>
                  <a:pt x="421475" y="489959"/>
                  <a:pt x="464095" y="413791"/>
                </a:cubicBezTo>
                <a:cubicBezTo>
                  <a:pt x="491550" y="364728"/>
                  <a:pt x="495205" y="309755"/>
                  <a:pt x="493878" y="278439"/>
                </a:cubicBezTo>
                <a:cubicBezTo>
                  <a:pt x="490438" y="197459"/>
                  <a:pt x="464284" y="120983"/>
                  <a:pt x="464284" y="120983"/>
                </a:cubicBezTo>
                <a:cubicBezTo>
                  <a:pt x="464284" y="120983"/>
                  <a:pt x="390665" y="-18513"/>
                  <a:pt x="220184" y="2073"/>
                </a:cubicBezTo>
                <a:cubicBezTo>
                  <a:pt x="84655" y="18439"/>
                  <a:pt x="98477" y="166246"/>
                  <a:pt x="91211" y="211457"/>
                </a:cubicBezTo>
                <a:close/>
              </a:path>
            </a:pathLst>
          </a:custGeom>
          <a:solidFill>
            <a:srgbClr val="FFFFFF"/>
          </a:solidFill>
          <a:ln w="8552" cap="flat">
            <a:noFill/>
            <a:prstDash val="solid"/>
            <a:miter/>
          </a:ln>
        </p:spPr>
        <p:txBody>
          <a:bodyPr rtlCol="0" anchor="ctr"/>
          <a:lstStyle/>
          <a:p>
            <a:endParaRPr lang="en-GB">
              <a:solidFill>
                <a:schemeClr val="bg1"/>
              </a:solidFill>
            </a:endParaRPr>
          </a:p>
        </p:txBody>
      </p:sp>
      <mc:AlternateContent xmlns:mc="http://schemas.openxmlformats.org/markup-compatibility/2006" xmlns:p14="http://schemas.microsoft.com/office/powerpoint/2010/main">
        <mc:Choice Requires="p14">
          <p:contentPart p14:bwMode="auto" r:id="rId75">
            <p14:nvContentPartPr>
              <p14:cNvPr id="310" name="Ink 309">
                <a:extLst>
                  <a:ext uri="{FF2B5EF4-FFF2-40B4-BE49-F238E27FC236}">
                    <a16:creationId xmlns:a16="http://schemas.microsoft.com/office/drawing/2014/main" id="{65DF3110-BCE3-92B7-4DB7-36F022A64B44}"/>
                  </a:ext>
                </a:extLst>
              </p14:cNvPr>
              <p14:cNvContentPartPr/>
              <p14:nvPr/>
            </p14:nvContentPartPr>
            <p14:xfrm>
              <a:off x="11036375" y="3405282"/>
              <a:ext cx="107280" cy="61920"/>
            </p14:xfrm>
          </p:contentPart>
        </mc:Choice>
        <mc:Fallback xmlns="">
          <p:pic>
            <p:nvPicPr>
              <p:cNvPr id="310" name="Ink 309">
                <a:extLst>
                  <a:ext uri="{FF2B5EF4-FFF2-40B4-BE49-F238E27FC236}">
                    <a16:creationId xmlns:a16="http://schemas.microsoft.com/office/drawing/2014/main" id="{65DF3110-BCE3-92B7-4DB7-36F022A64B44}"/>
                  </a:ext>
                </a:extLst>
              </p:cNvPr>
              <p:cNvPicPr/>
              <p:nvPr/>
            </p:nvPicPr>
            <p:blipFill>
              <a:blip r:embed="rId76"/>
              <a:stretch>
                <a:fillRect/>
              </a:stretch>
            </p:blipFill>
            <p:spPr>
              <a:xfrm>
                <a:off x="11030255" y="3399162"/>
                <a:ext cx="119520" cy="74160"/>
              </a:xfrm>
              <a:prstGeom prst="rect">
                <a:avLst/>
              </a:prstGeom>
            </p:spPr>
          </p:pic>
        </mc:Fallback>
      </mc:AlternateContent>
      <p:grpSp>
        <p:nvGrpSpPr>
          <p:cNvPr id="324" name="Group 323">
            <a:extLst>
              <a:ext uri="{FF2B5EF4-FFF2-40B4-BE49-F238E27FC236}">
                <a16:creationId xmlns:a16="http://schemas.microsoft.com/office/drawing/2014/main" id="{AD947695-0F73-D013-EA50-18CFBB0FCDB8}"/>
              </a:ext>
            </a:extLst>
          </p:cNvPr>
          <p:cNvGrpSpPr/>
          <p:nvPr/>
        </p:nvGrpSpPr>
        <p:grpSpPr>
          <a:xfrm>
            <a:off x="10947412" y="3400519"/>
            <a:ext cx="274320" cy="41400"/>
            <a:chOff x="10367983" y="1464915"/>
            <a:chExt cx="274320" cy="41400"/>
          </a:xfrm>
        </p:grpSpPr>
        <mc:AlternateContent xmlns:mc="http://schemas.openxmlformats.org/markup-compatibility/2006" xmlns:p14="http://schemas.microsoft.com/office/powerpoint/2010/main">
          <mc:Choice Requires="p14">
            <p:contentPart p14:bwMode="auto" r:id="rId77">
              <p14:nvContentPartPr>
                <p14:cNvPr id="312" name="Ink 311">
                  <a:extLst>
                    <a:ext uri="{FF2B5EF4-FFF2-40B4-BE49-F238E27FC236}">
                      <a16:creationId xmlns:a16="http://schemas.microsoft.com/office/drawing/2014/main" id="{6D688EEF-1270-9879-9A47-C6EE7C86BF62}"/>
                    </a:ext>
                  </a:extLst>
                </p14:cNvPr>
                <p14:cNvContentPartPr/>
                <p14:nvPr/>
              </p14:nvContentPartPr>
              <p14:xfrm>
                <a:off x="10601263" y="1502715"/>
                <a:ext cx="41040" cy="3600"/>
              </p14:xfrm>
            </p:contentPart>
          </mc:Choice>
          <mc:Fallback xmlns="">
            <p:pic>
              <p:nvPicPr>
                <p:cNvPr id="312" name="Ink 311">
                  <a:extLst>
                    <a:ext uri="{FF2B5EF4-FFF2-40B4-BE49-F238E27FC236}">
                      <a16:creationId xmlns:a16="http://schemas.microsoft.com/office/drawing/2014/main" id="{6D688EEF-1270-9879-9A47-C6EE7C86BF62}"/>
                    </a:ext>
                  </a:extLst>
                </p:cNvPr>
                <p:cNvPicPr/>
                <p:nvPr/>
              </p:nvPicPr>
              <p:blipFill>
                <a:blip r:embed="rId78"/>
                <a:stretch>
                  <a:fillRect/>
                </a:stretch>
              </p:blipFill>
              <p:spPr>
                <a:xfrm>
                  <a:off x="10595089" y="1496595"/>
                  <a:ext cx="53388" cy="1584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322" name="Ink 321">
                  <a:extLst>
                    <a:ext uri="{FF2B5EF4-FFF2-40B4-BE49-F238E27FC236}">
                      <a16:creationId xmlns:a16="http://schemas.microsoft.com/office/drawing/2014/main" id="{C6FE3DEC-1F91-C288-FC7D-2451FEF3F967}"/>
                    </a:ext>
                  </a:extLst>
                </p14:cNvPr>
                <p14:cNvContentPartPr/>
                <p14:nvPr/>
              </p14:nvContentPartPr>
              <p14:xfrm>
                <a:off x="10367983" y="1464915"/>
                <a:ext cx="96840" cy="26640"/>
              </p14:xfrm>
            </p:contentPart>
          </mc:Choice>
          <mc:Fallback xmlns="">
            <p:pic>
              <p:nvPicPr>
                <p:cNvPr id="322" name="Ink 321">
                  <a:extLst>
                    <a:ext uri="{FF2B5EF4-FFF2-40B4-BE49-F238E27FC236}">
                      <a16:creationId xmlns:a16="http://schemas.microsoft.com/office/drawing/2014/main" id="{C6FE3DEC-1F91-C288-FC7D-2451FEF3F967}"/>
                    </a:ext>
                  </a:extLst>
                </p:cNvPr>
                <p:cNvPicPr/>
                <p:nvPr/>
              </p:nvPicPr>
              <p:blipFill>
                <a:blip r:embed="rId80"/>
                <a:stretch>
                  <a:fillRect/>
                </a:stretch>
              </p:blipFill>
              <p:spPr>
                <a:xfrm>
                  <a:off x="10361863" y="1458795"/>
                  <a:ext cx="109080" cy="388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81">
            <p14:nvContentPartPr>
              <p14:cNvPr id="329" name="Ink 328">
                <a:extLst>
                  <a:ext uri="{FF2B5EF4-FFF2-40B4-BE49-F238E27FC236}">
                    <a16:creationId xmlns:a16="http://schemas.microsoft.com/office/drawing/2014/main" id="{20B46A24-B527-50D9-6C28-D3DF1D5677C5}"/>
                  </a:ext>
                </a:extLst>
              </p14:cNvPr>
              <p14:cNvContentPartPr/>
              <p14:nvPr/>
            </p14:nvContentPartPr>
            <p14:xfrm>
              <a:off x="11214707" y="3414282"/>
              <a:ext cx="97560" cy="52920"/>
            </p14:xfrm>
          </p:contentPart>
        </mc:Choice>
        <mc:Fallback xmlns="">
          <p:pic>
            <p:nvPicPr>
              <p:cNvPr id="329" name="Ink 328">
                <a:extLst>
                  <a:ext uri="{FF2B5EF4-FFF2-40B4-BE49-F238E27FC236}">
                    <a16:creationId xmlns:a16="http://schemas.microsoft.com/office/drawing/2014/main" id="{20B46A24-B527-50D9-6C28-D3DF1D5677C5}"/>
                  </a:ext>
                </a:extLst>
              </p:cNvPr>
              <p:cNvPicPr/>
              <p:nvPr/>
            </p:nvPicPr>
            <p:blipFill>
              <a:blip r:embed="rId82"/>
              <a:stretch>
                <a:fillRect/>
              </a:stretch>
            </p:blipFill>
            <p:spPr>
              <a:xfrm>
                <a:off x="11208587" y="3408162"/>
                <a:ext cx="109800" cy="6516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352" name="Ink 351">
                <a:extLst>
                  <a:ext uri="{FF2B5EF4-FFF2-40B4-BE49-F238E27FC236}">
                    <a16:creationId xmlns:a16="http://schemas.microsoft.com/office/drawing/2014/main" id="{40EBAB50-A7BC-7447-A095-70E30D379AEF}"/>
                  </a:ext>
                </a:extLst>
              </p14:cNvPr>
              <p14:cNvContentPartPr/>
              <p14:nvPr/>
            </p14:nvContentPartPr>
            <p14:xfrm>
              <a:off x="11158820" y="3424182"/>
              <a:ext cx="64440" cy="6840"/>
            </p14:xfrm>
          </p:contentPart>
        </mc:Choice>
        <mc:Fallback xmlns="">
          <p:pic>
            <p:nvPicPr>
              <p:cNvPr id="352" name="Ink 351">
                <a:extLst>
                  <a:ext uri="{FF2B5EF4-FFF2-40B4-BE49-F238E27FC236}">
                    <a16:creationId xmlns:a16="http://schemas.microsoft.com/office/drawing/2014/main" id="{40EBAB50-A7BC-7447-A095-70E30D379AEF}"/>
                  </a:ext>
                </a:extLst>
              </p:cNvPr>
              <p:cNvPicPr/>
              <p:nvPr/>
            </p:nvPicPr>
            <p:blipFill>
              <a:blip r:embed="rId84"/>
              <a:stretch>
                <a:fillRect/>
              </a:stretch>
            </p:blipFill>
            <p:spPr>
              <a:xfrm>
                <a:off x="11152734" y="3418062"/>
                <a:ext cx="76612" cy="19080"/>
              </a:xfrm>
              <a:prstGeom prst="rect">
                <a:avLst/>
              </a:prstGeom>
            </p:spPr>
          </p:pic>
        </mc:Fallback>
      </mc:AlternateContent>
      <p:grpSp>
        <p:nvGrpSpPr>
          <p:cNvPr id="384" name="Group 383">
            <a:extLst>
              <a:ext uri="{FF2B5EF4-FFF2-40B4-BE49-F238E27FC236}">
                <a16:creationId xmlns:a16="http://schemas.microsoft.com/office/drawing/2014/main" id="{8A3BF928-0A9D-817B-0626-BBB2A747ACA0}"/>
              </a:ext>
            </a:extLst>
          </p:cNvPr>
          <p:cNvGrpSpPr/>
          <p:nvPr/>
        </p:nvGrpSpPr>
        <p:grpSpPr>
          <a:xfrm>
            <a:off x="10938814" y="3154903"/>
            <a:ext cx="498240" cy="433440"/>
            <a:chOff x="10377343" y="1222995"/>
            <a:chExt cx="498240" cy="433440"/>
          </a:xfrm>
        </p:grpSpPr>
        <mc:AlternateContent xmlns:mc="http://schemas.openxmlformats.org/markup-compatibility/2006" xmlns:p14="http://schemas.microsoft.com/office/powerpoint/2010/main">
          <mc:Choice Requires="p14">
            <p:contentPart p14:bwMode="auto" r:id="rId85">
              <p14:nvContentPartPr>
                <p14:cNvPr id="333" name="Ink 332">
                  <a:extLst>
                    <a:ext uri="{FF2B5EF4-FFF2-40B4-BE49-F238E27FC236}">
                      <a16:creationId xmlns:a16="http://schemas.microsoft.com/office/drawing/2014/main" id="{6DC1BBC2-5F52-281F-6022-5F91C46B9776}"/>
                    </a:ext>
                  </a:extLst>
                </p14:cNvPr>
                <p14:cNvContentPartPr/>
                <p14:nvPr/>
              </p14:nvContentPartPr>
              <p14:xfrm>
                <a:off x="10761103" y="1481115"/>
                <a:ext cx="39240" cy="21600"/>
              </p14:xfrm>
            </p:contentPart>
          </mc:Choice>
          <mc:Fallback xmlns="">
            <p:pic>
              <p:nvPicPr>
                <p:cNvPr id="333" name="Ink 332">
                  <a:extLst>
                    <a:ext uri="{FF2B5EF4-FFF2-40B4-BE49-F238E27FC236}">
                      <a16:creationId xmlns:a16="http://schemas.microsoft.com/office/drawing/2014/main" id="{6DC1BBC2-5F52-281F-6022-5F91C46B9776}"/>
                    </a:ext>
                  </a:extLst>
                </p:cNvPr>
                <p:cNvPicPr/>
                <p:nvPr/>
              </p:nvPicPr>
              <p:blipFill>
                <a:blip r:embed="rId86"/>
                <a:stretch>
                  <a:fillRect/>
                </a:stretch>
              </p:blipFill>
              <p:spPr>
                <a:xfrm>
                  <a:off x="10754983" y="1474995"/>
                  <a:ext cx="514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334" name="Ink 333">
                  <a:extLst>
                    <a:ext uri="{FF2B5EF4-FFF2-40B4-BE49-F238E27FC236}">
                      <a16:creationId xmlns:a16="http://schemas.microsoft.com/office/drawing/2014/main" id="{4A391E7C-6102-784A-EFF3-50CFD0C1BF45}"/>
                    </a:ext>
                  </a:extLst>
                </p14:cNvPr>
                <p14:cNvContentPartPr/>
                <p14:nvPr/>
              </p14:nvContentPartPr>
              <p14:xfrm>
                <a:off x="10701343" y="1505235"/>
                <a:ext cx="360" cy="360"/>
              </p14:xfrm>
            </p:contentPart>
          </mc:Choice>
          <mc:Fallback xmlns="">
            <p:pic>
              <p:nvPicPr>
                <p:cNvPr id="334" name="Ink 333">
                  <a:extLst>
                    <a:ext uri="{FF2B5EF4-FFF2-40B4-BE49-F238E27FC236}">
                      <a16:creationId xmlns:a16="http://schemas.microsoft.com/office/drawing/2014/main" id="{4A391E7C-6102-784A-EFF3-50CFD0C1BF45}"/>
                    </a:ext>
                  </a:extLst>
                </p:cNvPr>
                <p:cNvPicPr/>
                <p:nvPr/>
              </p:nvPicPr>
              <p:blipFill>
                <a:blip r:embed="rId72"/>
                <a:stretch>
                  <a:fillRect/>
                </a:stretch>
              </p:blipFill>
              <p:spPr>
                <a:xfrm>
                  <a:off x="10695223" y="1499115"/>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337" name="Ink 336">
                  <a:extLst>
                    <a:ext uri="{FF2B5EF4-FFF2-40B4-BE49-F238E27FC236}">
                      <a16:creationId xmlns:a16="http://schemas.microsoft.com/office/drawing/2014/main" id="{10AA3267-59F0-909E-EF04-039677AC6AFB}"/>
                    </a:ext>
                  </a:extLst>
                </p14:cNvPr>
                <p14:cNvContentPartPr/>
                <p14:nvPr/>
              </p14:nvContentPartPr>
              <p14:xfrm>
                <a:off x="10531063" y="1498395"/>
                <a:ext cx="360" cy="360"/>
              </p14:xfrm>
            </p:contentPart>
          </mc:Choice>
          <mc:Fallback xmlns="">
            <p:pic>
              <p:nvPicPr>
                <p:cNvPr id="337" name="Ink 336">
                  <a:extLst>
                    <a:ext uri="{FF2B5EF4-FFF2-40B4-BE49-F238E27FC236}">
                      <a16:creationId xmlns:a16="http://schemas.microsoft.com/office/drawing/2014/main" id="{10AA3267-59F0-909E-EF04-039677AC6AFB}"/>
                    </a:ext>
                  </a:extLst>
                </p:cNvPr>
                <p:cNvPicPr/>
                <p:nvPr/>
              </p:nvPicPr>
              <p:blipFill>
                <a:blip r:embed="rId72"/>
                <a:stretch>
                  <a:fillRect/>
                </a:stretch>
              </p:blipFill>
              <p:spPr>
                <a:xfrm>
                  <a:off x="10524943" y="1492275"/>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340" name="Ink 339">
                  <a:extLst>
                    <a:ext uri="{FF2B5EF4-FFF2-40B4-BE49-F238E27FC236}">
                      <a16:creationId xmlns:a16="http://schemas.microsoft.com/office/drawing/2014/main" id="{FCE52A18-A0E7-9C67-7DDB-5F32E8CE6572}"/>
                    </a:ext>
                  </a:extLst>
                </p14:cNvPr>
                <p14:cNvContentPartPr/>
                <p14:nvPr/>
              </p14:nvContentPartPr>
              <p14:xfrm>
                <a:off x="10514503" y="1441155"/>
                <a:ext cx="68400" cy="18360"/>
              </p14:xfrm>
            </p:contentPart>
          </mc:Choice>
          <mc:Fallback xmlns="">
            <p:pic>
              <p:nvPicPr>
                <p:cNvPr id="340" name="Ink 339">
                  <a:extLst>
                    <a:ext uri="{FF2B5EF4-FFF2-40B4-BE49-F238E27FC236}">
                      <a16:creationId xmlns:a16="http://schemas.microsoft.com/office/drawing/2014/main" id="{FCE52A18-A0E7-9C67-7DDB-5F32E8CE6572}"/>
                    </a:ext>
                  </a:extLst>
                </p:cNvPr>
                <p:cNvPicPr/>
                <p:nvPr/>
              </p:nvPicPr>
              <p:blipFill>
                <a:blip r:embed="rId90"/>
                <a:stretch>
                  <a:fillRect/>
                </a:stretch>
              </p:blipFill>
              <p:spPr>
                <a:xfrm>
                  <a:off x="10508383" y="1435035"/>
                  <a:ext cx="80640" cy="306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343" name="Ink 342">
                  <a:extLst>
                    <a:ext uri="{FF2B5EF4-FFF2-40B4-BE49-F238E27FC236}">
                      <a16:creationId xmlns:a16="http://schemas.microsoft.com/office/drawing/2014/main" id="{BFE6F529-8E31-E71C-1851-0E2AEFA1AA83}"/>
                    </a:ext>
                  </a:extLst>
                </p14:cNvPr>
                <p14:cNvContentPartPr/>
                <p14:nvPr/>
              </p14:nvContentPartPr>
              <p14:xfrm>
                <a:off x="10677943" y="1460595"/>
                <a:ext cx="60480" cy="2160"/>
              </p14:xfrm>
            </p:contentPart>
          </mc:Choice>
          <mc:Fallback xmlns="">
            <p:pic>
              <p:nvPicPr>
                <p:cNvPr id="343" name="Ink 342">
                  <a:extLst>
                    <a:ext uri="{FF2B5EF4-FFF2-40B4-BE49-F238E27FC236}">
                      <a16:creationId xmlns:a16="http://schemas.microsoft.com/office/drawing/2014/main" id="{BFE6F529-8E31-E71C-1851-0E2AEFA1AA83}"/>
                    </a:ext>
                  </a:extLst>
                </p:cNvPr>
                <p:cNvPicPr/>
                <p:nvPr/>
              </p:nvPicPr>
              <p:blipFill>
                <a:blip r:embed="rId92"/>
                <a:stretch>
                  <a:fillRect/>
                </a:stretch>
              </p:blipFill>
              <p:spPr>
                <a:xfrm>
                  <a:off x="10671823" y="1454475"/>
                  <a:ext cx="7272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355" name="Ink 354">
                  <a:extLst>
                    <a:ext uri="{FF2B5EF4-FFF2-40B4-BE49-F238E27FC236}">
                      <a16:creationId xmlns:a16="http://schemas.microsoft.com/office/drawing/2014/main" id="{0F10BEEC-5562-B6E5-6C3F-5B1DEF2CDD44}"/>
                    </a:ext>
                  </a:extLst>
                </p14:cNvPr>
                <p14:cNvContentPartPr/>
                <p14:nvPr/>
              </p14:nvContentPartPr>
              <p14:xfrm>
                <a:off x="10580023" y="1631595"/>
                <a:ext cx="110520" cy="24840"/>
              </p14:xfrm>
            </p:contentPart>
          </mc:Choice>
          <mc:Fallback xmlns="">
            <p:pic>
              <p:nvPicPr>
                <p:cNvPr id="355" name="Ink 354">
                  <a:extLst>
                    <a:ext uri="{FF2B5EF4-FFF2-40B4-BE49-F238E27FC236}">
                      <a16:creationId xmlns:a16="http://schemas.microsoft.com/office/drawing/2014/main" id="{0F10BEEC-5562-B6E5-6C3F-5B1DEF2CDD44}"/>
                    </a:ext>
                  </a:extLst>
                </p:cNvPr>
                <p:cNvPicPr/>
                <p:nvPr/>
              </p:nvPicPr>
              <p:blipFill>
                <a:blip r:embed="rId94"/>
                <a:stretch>
                  <a:fillRect/>
                </a:stretch>
              </p:blipFill>
              <p:spPr>
                <a:xfrm>
                  <a:off x="10573923" y="1625562"/>
                  <a:ext cx="122720" cy="36905"/>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358" name="Ink 357">
                  <a:extLst>
                    <a:ext uri="{FF2B5EF4-FFF2-40B4-BE49-F238E27FC236}">
                      <a16:creationId xmlns:a16="http://schemas.microsoft.com/office/drawing/2014/main" id="{B8329742-17EC-CBA4-99E4-EE6D30C7F77F}"/>
                    </a:ext>
                  </a:extLst>
                </p14:cNvPr>
                <p14:cNvContentPartPr/>
                <p14:nvPr/>
              </p14:nvContentPartPr>
              <p14:xfrm>
                <a:off x="10632943" y="1567515"/>
                <a:ext cx="23400" cy="26280"/>
              </p14:xfrm>
            </p:contentPart>
          </mc:Choice>
          <mc:Fallback xmlns="">
            <p:pic>
              <p:nvPicPr>
                <p:cNvPr id="358" name="Ink 357">
                  <a:extLst>
                    <a:ext uri="{FF2B5EF4-FFF2-40B4-BE49-F238E27FC236}">
                      <a16:creationId xmlns:a16="http://schemas.microsoft.com/office/drawing/2014/main" id="{B8329742-17EC-CBA4-99E4-EE6D30C7F77F}"/>
                    </a:ext>
                  </a:extLst>
                </p:cNvPr>
                <p:cNvPicPr/>
                <p:nvPr/>
              </p:nvPicPr>
              <p:blipFill>
                <a:blip r:embed="rId96"/>
                <a:stretch>
                  <a:fillRect/>
                </a:stretch>
              </p:blipFill>
              <p:spPr>
                <a:xfrm>
                  <a:off x="10626823" y="1561395"/>
                  <a:ext cx="35640" cy="3852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361" name="Ink 360">
                  <a:extLst>
                    <a:ext uri="{FF2B5EF4-FFF2-40B4-BE49-F238E27FC236}">
                      <a16:creationId xmlns:a16="http://schemas.microsoft.com/office/drawing/2014/main" id="{F545C314-04F5-2630-32E3-0F52A71C76E9}"/>
                    </a:ext>
                  </a:extLst>
                </p14:cNvPr>
                <p14:cNvContentPartPr/>
                <p14:nvPr/>
              </p14:nvContentPartPr>
              <p14:xfrm>
                <a:off x="10465543" y="1276635"/>
                <a:ext cx="22320" cy="51120"/>
              </p14:xfrm>
            </p:contentPart>
          </mc:Choice>
          <mc:Fallback xmlns="">
            <p:pic>
              <p:nvPicPr>
                <p:cNvPr id="361" name="Ink 360">
                  <a:extLst>
                    <a:ext uri="{FF2B5EF4-FFF2-40B4-BE49-F238E27FC236}">
                      <a16:creationId xmlns:a16="http://schemas.microsoft.com/office/drawing/2014/main" id="{F545C314-04F5-2630-32E3-0F52A71C76E9}"/>
                    </a:ext>
                  </a:extLst>
                </p:cNvPr>
                <p:cNvPicPr/>
                <p:nvPr/>
              </p:nvPicPr>
              <p:blipFill>
                <a:blip r:embed="rId98"/>
                <a:stretch>
                  <a:fillRect/>
                </a:stretch>
              </p:blipFill>
              <p:spPr>
                <a:xfrm>
                  <a:off x="10459423" y="1270515"/>
                  <a:ext cx="34560" cy="6336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362" name="Ink 361">
                  <a:extLst>
                    <a:ext uri="{FF2B5EF4-FFF2-40B4-BE49-F238E27FC236}">
                      <a16:creationId xmlns:a16="http://schemas.microsoft.com/office/drawing/2014/main" id="{76F1BC6B-8172-5A4B-C029-761C659C063A}"/>
                    </a:ext>
                  </a:extLst>
                </p14:cNvPr>
                <p14:cNvContentPartPr/>
                <p14:nvPr/>
              </p14:nvContentPartPr>
              <p14:xfrm>
                <a:off x="10556263" y="1244955"/>
                <a:ext cx="8640" cy="72360"/>
              </p14:xfrm>
            </p:contentPart>
          </mc:Choice>
          <mc:Fallback xmlns="">
            <p:pic>
              <p:nvPicPr>
                <p:cNvPr id="362" name="Ink 361">
                  <a:extLst>
                    <a:ext uri="{FF2B5EF4-FFF2-40B4-BE49-F238E27FC236}">
                      <a16:creationId xmlns:a16="http://schemas.microsoft.com/office/drawing/2014/main" id="{76F1BC6B-8172-5A4B-C029-761C659C063A}"/>
                    </a:ext>
                  </a:extLst>
                </p:cNvPr>
                <p:cNvPicPr/>
                <p:nvPr/>
              </p:nvPicPr>
              <p:blipFill>
                <a:blip r:embed="rId100"/>
                <a:stretch>
                  <a:fillRect/>
                </a:stretch>
              </p:blipFill>
              <p:spPr>
                <a:xfrm>
                  <a:off x="10550143" y="1238835"/>
                  <a:ext cx="20880" cy="8460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363" name="Ink 362">
                  <a:extLst>
                    <a:ext uri="{FF2B5EF4-FFF2-40B4-BE49-F238E27FC236}">
                      <a16:creationId xmlns:a16="http://schemas.microsoft.com/office/drawing/2014/main" id="{3F727597-7ADD-46B3-F1DD-FD426A161FC8}"/>
                    </a:ext>
                  </a:extLst>
                </p14:cNvPr>
                <p14:cNvContentPartPr/>
                <p14:nvPr/>
              </p14:nvContentPartPr>
              <p14:xfrm>
                <a:off x="10630783" y="1281675"/>
                <a:ext cx="32760" cy="49320"/>
              </p14:xfrm>
            </p:contentPart>
          </mc:Choice>
          <mc:Fallback xmlns="">
            <p:pic>
              <p:nvPicPr>
                <p:cNvPr id="363" name="Ink 362">
                  <a:extLst>
                    <a:ext uri="{FF2B5EF4-FFF2-40B4-BE49-F238E27FC236}">
                      <a16:creationId xmlns:a16="http://schemas.microsoft.com/office/drawing/2014/main" id="{3F727597-7ADD-46B3-F1DD-FD426A161FC8}"/>
                    </a:ext>
                  </a:extLst>
                </p:cNvPr>
                <p:cNvPicPr/>
                <p:nvPr/>
              </p:nvPicPr>
              <p:blipFill>
                <a:blip r:embed="rId102"/>
                <a:stretch>
                  <a:fillRect/>
                </a:stretch>
              </p:blipFill>
              <p:spPr>
                <a:xfrm>
                  <a:off x="10624730" y="1275599"/>
                  <a:ext cx="44867" cy="61471"/>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364" name="Ink 363">
                  <a:extLst>
                    <a:ext uri="{FF2B5EF4-FFF2-40B4-BE49-F238E27FC236}">
                      <a16:creationId xmlns:a16="http://schemas.microsoft.com/office/drawing/2014/main" id="{D834535D-9C08-9C1E-C13B-B9CE08A2BB13}"/>
                    </a:ext>
                  </a:extLst>
                </p14:cNvPr>
                <p14:cNvContentPartPr/>
                <p14:nvPr/>
              </p14:nvContentPartPr>
              <p14:xfrm>
                <a:off x="10715023" y="1323435"/>
                <a:ext cx="58680" cy="24840"/>
              </p14:xfrm>
            </p:contentPart>
          </mc:Choice>
          <mc:Fallback xmlns="">
            <p:pic>
              <p:nvPicPr>
                <p:cNvPr id="364" name="Ink 363">
                  <a:extLst>
                    <a:ext uri="{FF2B5EF4-FFF2-40B4-BE49-F238E27FC236}">
                      <a16:creationId xmlns:a16="http://schemas.microsoft.com/office/drawing/2014/main" id="{D834535D-9C08-9C1E-C13B-B9CE08A2BB13}"/>
                    </a:ext>
                  </a:extLst>
                </p:cNvPr>
                <p:cNvPicPr/>
                <p:nvPr/>
              </p:nvPicPr>
              <p:blipFill>
                <a:blip r:embed="rId104"/>
                <a:stretch>
                  <a:fillRect/>
                </a:stretch>
              </p:blipFill>
              <p:spPr>
                <a:xfrm>
                  <a:off x="10708903" y="1317402"/>
                  <a:ext cx="70920" cy="36905"/>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365" name="Ink 364">
                  <a:extLst>
                    <a:ext uri="{FF2B5EF4-FFF2-40B4-BE49-F238E27FC236}">
                      <a16:creationId xmlns:a16="http://schemas.microsoft.com/office/drawing/2014/main" id="{8A946EBD-5385-940D-5472-66DA030996D0}"/>
                    </a:ext>
                  </a:extLst>
                </p14:cNvPr>
                <p14:cNvContentPartPr/>
                <p14:nvPr/>
              </p14:nvContentPartPr>
              <p14:xfrm>
                <a:off x="10768303" y="1370235"/>
                <a:ext cx="107280" cy="26640"/>
              </p14:xfrm>
            </p:contentPart>
          </mc:Choice>
          <mc:Fallback xmlns="">
            <p:pic>
              <p:nvPicPr>
                <p:cNvPr id="365" name="Ink 364">
                  <a:extLst>
                    <a:ext uri="{FF2B5EF4-FFF2-40B4-BE49-F238E27FC236}">
                      <a16:creationId xmlns:a16="http://schemas.microsoft.com/office/drawing/2014/main" id="{8A946EBD-5385-940D-5472-66DA030996D0}"/>
                    </a:ext>
                  </a:extLst>
                </p:cNvPr>
                <p:cNvPicPr/>
                <p:nvPr/>
              </p:nvPicPr>
              <p:blipFill>
                <a:blip r:embed="rId106"/>
                <a:stretch>
                  <a:fillRect/>
                </a:stretch>
              </p:blipFill>
              <p:spPr>
                <a:xfrm>
                  <a:off x="10762183" y="1364115"/>
                  <a:ext cx="119520" cy="3888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368" name="Ink 367">
                  <a:extLst>
                    <a:ext uri="{FF2B5EF4-FFF2-40B4-BE49-F238E27FC236}">
                      <a16:creationId xmlns:a16="http://schemas.microsoft.com/office/drawing/2014/main" id="{43902959-552B-61F4-B07F-2C2DCA2F7482}"/>
                    </a:ext>
                  </a:extLst>
                </p14:cNvPr>
                <p14:cNvContentPartPr/>
                <p14:nvPr/>
              </p14:nvContentPartPr>
              <p14:xfrm>
                <a:off x="10681543" y="1293915"/>
                <a:ext cx="42480" cy="69120"/>
              </p14:xfrm>
            </p:contentPart>
          </mc:Choice>
          <mc:Fallback xmlns="">
            <p:pic>
              <p:nvPicPr>
                <p:cNvPr id="368" name="Ink 367">
                  <a:extLst>
                    <a:ext uri="{FF2B5EF4-FFF2-40B4-BE49-F238E27FC236}">
                      <a16:creationId xmlns:a16="http://schemas.microsoft.com/office/drawing/2014/main" id="{43902959-552B-61F4-B07F-2C2DCA2F7482}"/>
                    </a:ext>
                  </a:extLst>
                </p:cNvPr>
                <p:cNvPicPr/>
                <p:nvPr/>
              </p:nvPicPr>
              <p:blipFill>
                <a:blip r:embed="rId108"/>
                <a:stretch>
                  <a:fillRect/>
                </a:stretch>
              </p:blipFill>
              <p:spPr>
                <a:xfrm>
                  <a:off x="10675423" y="1287795"/>
                  <a:ext cx="54720" cy="8136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369" name="Ink 368">
                  <a:extLst>
                    <a:ext uri="{FF2B5EF4-FFF2-40B4-BE49-F238E27FC236}">
                      <a16:creationId xmlns:a16="http://schemas.microsoft.com/office/drawing/2014/main" id="{907D8E56-5EB5-A5BD-0986-46267CA672F9}"/>
                    </a:ext>
                  </a:extLst>
                </p14:cNvPr>
                <p14:cNvContentPartPr/>
                <p14:nvPr/>
              </p14:nvContentPartPr>
              <p14:xfrm>
                <a:off x="10577863" y="1222995"/>
                <a:ext cx="17640" cy="98640"/>
              </p14:xfrm>
            </p:contentPart>
          </mc:Choice>
          <mc:Fallback xmlns="">
            <p:pic>
              <p:nvPicPr>
                <p:cNvPr id="369" name="Ink 368">
                  <a:extLst>
                    <a:ext uri="{FF2B5EF4-FFF2-40B4-BE49-F238E27FC236}">
                      <a16:creationId xmlns:a16="http://schemas.microsoft.com/office/drawing/2014/main" id="{907D8E56-5EB5-A5BD-0986-46267CA672F9}"/>
                    </a:ext>
                  </a:extLst>
                </p:cNvPr>
                <p:cNvPicPr/>
                <p:nvPr/>
              </p:nvPicPr>
              <p:blipFill>
                <a:blip r:embed="rId110"/>
                <a:stretch>
                  <a:fillRect/>
                </a:stretch>
              </p:blipFill>
              <p:spPr>
                <a:xfrm>
                  <a:off x="10571743" y="1216853"/>
                  <a:ext cx="29880" cy="110925"/>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370" name="Ink 369">
                  <a:extLst>
                    <a:ext uri="{FF2B5EF4-FFF2-40B4-BE49-F238E27FC236}">
                      <a16:creationId xmlns:a16="http://schemas.microsoft.com/office/drawing/2014/main" id="{5E217B0B-0C9A-AA16-5F63-11F0219A6561}"/>
                    </a:ext>
                  </a:extLst>
                </p14:cNvPr>
                <p14:cNvContentPartPr/>
                <p14:nvPr/>
              </p14:nvContentPartPr>
              <p14:xfrm>
                <a:off x="10502263" y="1259715"/>
                <a:ext cx="47880" cy="80640"/>
              </p14:xfrm>
            </p:contentPart>
          </mc:Choice>
          <mc:Fallback xmlns="">
            <p:pic>
              <p:nvPicPr>
                <p:cNvPr id="370" name="Ink 369">
                  <a:extLst>
                    <a:ext uri="{FF2B5EF4-FFF2-40B4-BE49-F238E27FC236}">
                      <a16:creationId xmlns:a16="http://schemas.microsoft.com/office/drawing/2014/main" id="{5E217B0B-0C9A-AA16-5F63-11F0219A6561}"/>
                    </a:ext>
                  </a:extLst>
                </p:cNvPr>
                <p:cNvPicPr/>
                <p:nvPr/>
              </p:nvPicPr>
              <p:blipFill>
                <a:blip r:embed="rId112"/>
                <a:stretch>
                  <a:fillRect/>
                </a:stretch>
              </p:blipFill>
              <p:spPr>
                <a:xfrm>
                  <a:off x="10496143" y="1253595"/>
                  <a:ext cx="6012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371" name="Ink 370">
                  <a:extLst>
                    <a:ext uri="{FF2B5EF4-FFF2-40B4-BE49-F238E27FC236}">
                      <a16:creationId xmlns:a16="http://schemas.microsoft.com/office/drawing/2014/main" id="{56F7C723-346B-8846-909D-33A059D58D7F}"/>
                    </a:ext>
                  </a:extLst>
                </p14:cNvPr>
                <p14:cNvContentPartPr/>
                <p14:nvPr/>
              </p14:nvContentPartPr>
              <p14:xfrm>
                <a:off x="10428463" y="1301115"/>
                <a:ext cx="57600" cy="59400"/>
              </p14:xfrm>
            </p:contentPart>
          </mc:Choice>
          <mc:Fallback xmlns="">
            <p:pic>
              <p:nvPicPr>
                <p:cNvPr id="371" name="Ink 370">
                  <a:extLst>
                    <a:ext uri="{FF2B5EF4-FFF2-40B4-BE49-F238E27FC236}">
                      <a16:creationId xmlns:a16="http://schemas.microsoft.com/office/drawing/2014/main" id="{56F7C723-346B-8846-909D-33A059D58D7F}"/>
                    </a:ext>
                  </a:extLst>
                </p:cNvPr>
                <p:cNvPicPr/>
                <p:nvPr/>
              </p:nvPicPr>
              <p:blipFill>
                <a:blip r:embed="rId114"/>
                <a:stretch>
                  <a:fillRect/>
                </a:stretch>
              </p:blipFill>
              <p:spPr>
                <a:xfrm>
                  <a:off x="10422381" y="1294958"/>
                  <a:ext cx="69764" cy="71715"/>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372" name="Ink 371">
                  <a:extLst>
                    <a:ext uri="{FF2B5EF4-FFF2-40B4-BE49-F238E27FC236}">
                      <a16:creationId xmlns:a16="http://schemas.microsoft.com/office/drawing/2014/main" id="{47428523-F8A5-2C26-1BB4-C93E7EB97DE5}"/>
                    </a:ext>
                  </a:extLst>
                </p14:cNvPr>
                <p14:cNvContentPartPr/>
                <p14:nvPr/>
              </p14:nvContentPartPr>
              <p14:xfrm>
                <a:off x="10377343" y="1349715"/>
                <a:ext cx="52920" cy="15120"/>
              </p14:xfrm>
            </p:contentPart>
          </mc:Choice>
          <mc:Fallback xmlns="">
            <p:pic>
              <p:nvPicPr>
                <p:cNvPr id="372" name="Ink 371">
                  <a:extLst>
                    <a:ext uri="{FF2B5EF4-FFF2-40B4-BE49-F238E27FC236}">
                      <a16:creationId xmlns:a16="http://schemas.microsoft.com/office/drawing/2014/main" id="{47428523-F8A5-2C26-1BB4-C93E7EB97DE5}"/>
                    </a:ext>
                  </a:extLst>
                </p:cNvPr>
                <p:cNvPicPr/>
                <p:nvPr/>
              </p:nvPicPr>
              <p:blipFill>
                <a:blip r:embed="rId116"/>
                <a:stretch>
                  <a:fillRect/>
                </a:stretch>
              </p:blipFill>
              <p:spPr>
                <a:xfrm>
                  <a:off x="10371181" y="1343595"/>
                  <a:ext cx="65244"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373" name="Ink 372">
                  <a:extLst>
                    <a:ext uri="{FF2B5EF4-FFF2-40B4-BE49-F238E27FC236}">
                      <a16:creationId xmlns:a16="http://schemas.microsoft.com/office/drawing/2014/main" id="{5073B4F6-18B3-137E-677D-01AA2B24D5EB}"/>
                    </a:ext>
                  </a:extLst>
                </p14:cNvPr>
                <p14:cNvContentPartPr/>
                <p14:nvPr/>
              </p14:nvContentPartPr>
              <p14:xfrm>
                <a:off x="10427743" y="1319835"/>
                <a:ext cx="13320" cy="78840"/>
              </p14:xfrm>
            </p:contentPart>
          </mc:Choice>
          <mc:Fallback xmlns="">
            <p:pic>
              <p:nvPicPr>
                <p:cNvPr id="373" name="Ink 372">
                  <a:extLst>
                    <a:ext uri="{FF2B5EF4-FFF2-40B4-BE49-F238E27FC236}">
                      <a16:creationId xmlns:a16="http://schemas.microsoft.com/office/drawing/2014/main" id="{5073B4F6-18B3-137E-677D-01AA2B24D5EB}"/>
                    </a:ext>
                  </a:extLst>
                </p:cNvPr>
                <p:cNvPicPr/>
                <p:nvPr/>
              </p:nvPicPr>
              <p:blipFill>
                <a:blip r:embed="rId118"/>
                <a:stretch>
                  <a:fillRect/>
                </a:stretch>
              </p:blipFill>
              <p:spPr>
                <a:xfrm>
                  <a:off x="10421784" y="1313715"/>
                  <a:ext cx="25238" cy="9108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374" name="Ink 373">
                  <a:extLst>
                    <a:ext uri="{FF2B5EF4-FFF2-40B4-BE49-F238E27FC236}">
                      <a16:creationId xmlns:a16="http://schemas.microsoft.com/office/drawing/2014/main" id="{49B6293A-41BA-2763-62EA-072E389E4604}"/>
                    </a:ext>
                  </a:extLst>
                </p14:cNvPr>
                <p14:cNvContentPartPr/>
                <p14:nvPr/>
              </p14:nvContentPartPr>
              <p14:xfrm>
                <a:off x="10464823" y="1266555"/>
                <a:ext cx="52200" cy="87120"/>
              </p14:xfrm>
            </p:contentPart>
          </mc:Choice>
          <mc:Fallback xmlns="">
            <p:pic>
              <p:nvPicPr>
                <p:cNvPr id="374" name="Ink 373">
                  <a:extLst>
                    <a:ext uri="{FF2B5EF4-FFF2-40B4-BE49-F238E27FC236}">
                      <a16:creationId xmlns:a16="http://schemas.microsoft.com/office/drawing/2014/main" id="{49B6293A-41BA-2763-62EA-072E389E4604}"/>
                    </a:ext>
                  </a:extLst>
                </p:cNvPr>
                <p:cNvPicPr/>
                <p:nvPr/>
              </p:nvPicPr>
              <p:blipFill>
                <a:blip r:embed="rId120"/>
                <a:stretch>
                  <a:fillRect/>
                </a:stretch>
              </p:blipFill>
              <p:spPr>
                <a:xfrm>
                  <a:off x="10458745" y="1260435"/>
                  <a:ext cx="64356"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375" name="Ink 374">
                  <a:extLst>
                    <a:ext uri="{FF2B5EF4-FFF2-40B4-BE49-F238E27FC236}">
                      <a16:creationId xmlns:a16="http://schemas.microsoft.com/office/drawing/2014/main" id="{38496677-2BE0-76F5-040F-73D7F0062A16}"/>
                    </a:ext>
                  </a:extLst>
                </p14:cNvPr>
                <p14:cNvContentPartPr/>
                <p14:nvPr/>
              </p14:nvContentPartPr>
              <p14:xfrm>
                <a:off x="10612423" y="1288515"/>
                <a:ext cx="71640" cy="70920"/>
              </p14:xfrm>
            </p:contentPart>
          </mc:Choice>
          <mc:Fallback xmlns="">
            <p:pic>
              <p:nvPicPr>
                <p:cNvPr id="375" name="Ink 374">
                  <a:extLst>
                    <a:ext uri="{FF2B5EF4-FFF2-40B4-BE49-F238E27FC236}">
                      <a16:creationId xmlns:a16="http://schemas.microsoft.com/office/drawing/2014/main" id="{38496677-2BE0-76F5-040F-73D7F0062A16}"/>
                    </a:ext>
                  </a:extLst>
                </p:cNvPr>
                <p:cNvPicPr/>
                <p:nvPr/>
              </p:nvPicPr>
              <p:blipFill>
                <a:blip r:embed="rId122"/>
                <a:stretch>
                  <a:fillRect/>
                </a:stretch>
              </p:blipFill>
              <p:spPr>
                <a:xfrm>
                  <a:off x="10606334" y="1282395"/>
                  <a:ext cx="83819" cy="8316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376" name="Ink 375">
                  <a:extLst>
                    <a:ext uri="{FF2B5EF4-FFF2-40B4-BE49-F238E27FC236}">
                      <a16:creationId xmlns:a16="http://schemas.microsoft.com/office/drawing/2014/main" id="{FC5BD925-A631-84E8-A22B-22DBDDCAC1A6}"/>
                    </a:ext>
                  </a:extLst>
                </p14:cNvPr>
                <p14:cNvContentPartPr/>
                <p14:nvPr/>
              </p14:nvContentPartPr>
              <p14:xfrm>
                <a:off x="10750303" y="1341795"/>
                <a:ext cx="74880" cy="38160"/>
              </p14:xfrm>
            </p:contentPart>
          </mc:Choice>
          <mc:Fallback xmlns="">
            <p:pic>
              <p:nvPicPr>
                <p:cNvPr id="376" name="Ink 375">
                  <a:extLst>
                    <a:ext uri="{FF2B5EF4-FFF2-40B4-BE49-F238E27FC236}">
                      <a16:creationId xmlns:a16="http://schemas.microsoft.com/office/drawing/2014/main" id="{FC5BD925-A631-84E8-A22B-22DBDDCAC1A6}"/>
                    </a:ext>
                  </a:extLst>
                </p:cNvPr>
                <p:cNvPicPr/>
                <p:nvPr/>
              </p:nvPicPr>
              <p:blipFill>
                <a:blip r:embed="rId124"/>
                <a:stretch>
                  <a:fillRect/>
                </a:stretch>
              </p:blipFill>
              <p:spPr>
                <a:xfrm>
                  <a:off x="10744183" y="1335617"/>
                  <a:ext cx="87120" cy="50517"/>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377" name="Ink 376">
                  <a:extLst>
                    <a:ext uri="{FF2B5EF4-FFF2-40B4-BE49-F238E27FC236}">
                      <a16:creationId xmlns:a16="http://schemas.microsoft.com/office/drawing/2014/main" id="{D9BAC6FE-AD78-3272-6522-568F6FE89BD5}"/>
                    </a:ext>
                  </a:extLst>
                </p14:cNvPr>
                <p14:cNvContentPartPr/>
                <p14:nvPr/>
              </p14:nvContentPartPr>
              <p14:xfrm>
                <a:off x="10776943" y="1304715"/>
                <a:ext cx="11880" cy="83880"/>
              </p14:xfrm>
            </p:contentPart>
          </mc:Choice>
          <mc:Fallback xmlns="">
            <p:pic>
              <p:nvPicPr>
                <p:cNvPr id="377" name="Ink 376">
                  <a:extLst>
                    <a:ext uri="{FF2B5EF4-FFF2-40B4-BE49-F238E27FC236}">
                      <a16:creationId xmlns:a16="http://schemas.microsoft.com/office/drawing/2014/main" id="{D9BAC6FE-AD78-3272-6522-568F6FE89BD5}"/>
                    </a:ext>
                  </a:extLst>
                </p:cNvPr>
                <p:cNvPicPr/>
                <p:nvPr/>
              </p:nvPicPr>
              <p:blipFill>
                <a:blip r:embed="rId126"/>
                <a:stretch>
                  <a:fillRect/>
                </a:stretch>
              </p:blipFill>
              <p:spPr>
                <a:xfrm>
                  <a:off x="10770632" y="1298595"/>
                  <a:ext cx="24503"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378" name="Ink 377">
                  <a:extLst>
                    <a:ext uri="{FF2B5EF4-FFF2-40B4-BE49-F238E27FC236}">
                      <a16:creationId xmlns:a16="http://schemas.microsoft.com/office/drawing/2014/main" id="{591C3AD2-5776-E0A8-A247-560F2959E162}"/>
                    </a:ext>
                  </a:extLst>
                </p14:cNvPr>
                <p14:cNvContentPartPr/>
                <p14:nvPr/>
              </p14:nvContentPartPr>
              <p14:xfrm>
                <a:off x="10714663" y="1313355"/>
                <a:ext cx="37800" cy="82080"/>
              </p14:xfrm>
            </p:contentPart>
          </mc:Choice>
          <mc:Fallback xmlns="">
            <p:pic>
              <p:nvPicPr>
                <p:cNvPr id="378" name="Ink 377">
                  <a:extLst>
                    <a:ext uri="{FF2B5EF4-FFF2-40B4-BE49-F238E27FC236}">
                      <a16:creationId xmlns:a16="http://schemas.microsoft.com/office/drawing/2014/main" id="{591C3AD2-5776-E0A8-A247-560F2959E162}"/>
                    </a:ext>
                  </a:extLst>
                </p:cNvPr>
                <p:cNvPicPr/>
                <p:nvPr/>
              </p:nvPicPr>
              <p:blipFill>
                <a:blip r:embed="rId128"/>
                <a:stretch>
                  <a:fillRect/>
                </a:stretch>
              </p:blipFill>
              <p:spPr>
                <a:xfrm>
                  <a:off x="10708484" y="1307235"/>
                  <a:ext cx="50158" cy="9432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379" name="Ink 378">
                  <a:extLst>
                    <a:ext uri="{FF2B5EF4-FFF2-40B4-BE49-F238E27FC236}">
                      <a16:creationId xmlns:a16="http://schemas.microsoft.com/office/drawing/2014/main" id="{40C74024-7E33-08C6-5115-870CA8BDE745}"/>
                    </a:ext>
                  </a:extLst>
                </p14:cNvPr>
                <p14:cNvContentPartPr/>
                <p14:nvPr/>
              </p14:nvContentPartPr>
              <p14:xfrm>
                <a:off x="10736983" y="1294635"/>
                <a:ext cx="16560" cy="105120"/>
              </p14:xfrm>
            </p:contentPart>
          </mc:Choice>
          <mc:Fallback xmlns="">
            <p:pic>
              <p:nvPicPr>
                <p:cNvPr id="379" name="Ink 378">
                  <a:extLst>
                    <a:ext uri="{FF2B5EF4-FFF2-40B4-BE49-F238E27FC236}">
                      <a16:creationId xmlns:a16="http://schemas.microsoft.com/office/drawing/2014/main" id="{40C74024-7E33-08C6-5115-870CA8BDE745}"/>
                    </a:ext>
                  </a:extLst>
                </p:cNvPr>
                <p:cNvPicPr/>
                <p:nvPr/>
              </p:nvPicPr>
              <p:blipFill>
                <a:blip r:embed="rId130"/>
                <a:stretch>
                  <a:fillRect/>
                </a:stretch>
              </p:blipFill>
              <p:spPr>
                <a:xfrm>
                  <a:off x="10730863" y="1288536"/>
                  <a:ext cx="28800" cy="117318"/>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380" name="Ink 379">
                  <a:extLst>
                    <a:ext uri="{FF2B5EF4-FFF2-40B4-BE49-F238E27FC236}">
                      <a16:creationId xmlns:a16="http://schemas.microsoft.com/office/drawing/2014/main" id="{CD59F33B-A719-1A69-6921-12F7DD1434CE}"/>
                    </a:ext>
                  </a:extLst>
                </p14:cNvPr>
                <p14:cNvContentPartPr/>
                <p14:nvPr/>
              </p14:nvContentPartPr>
              <p14:xfrm>
                <a:off x="10601263" y="1249635"/>
                <a:ext cx="13320" cy="111600"/>
              </p14:xfrm>
            </p:contentPart>
          </mc:Choice>
          <mc:Fallback xmlns="">
            <p:pic>
              <p:nvPicPr>
                <p:cNvPr id="380" name="Ink 379">
                  <a:extLst>
                    <a:ext uri="{FF2B5EF4-FFF2-40B4-BE49-F238E27FC236}">
                      <a16:creationId xmlns:a16="http://schemas.microsoft.com/office/drawing/2014/main" id="{CD59F33B-A719-1A69-6921-12F7DD1434CE}"/>
                    </a:ext>
                  </a:extLst>
                </p:cNvPr>
                <p:cNvPicPr/>
                <p:nvPr/>
              </p:nvPicPr>
              <p:blipFill>
                <a:blip r:embed="rId132"/>
                <a:stretch>
                  <a:fillRect/>
                </a:stretch>
              </p:blipFill>
              <p:spPr>
                <a:xfrm>
                  <a:off x="10595143" y="1243515"/>
                  <a:ext cx="25560" cy="12384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381" name="Ink 380">
                  <a:extLst>
                    <a:ext uri="{FF2B5EF4-FFF2-40B4-BE49-F238E27FC236}">
                      <a16:creationId xmlns:a16="http://schemas.microsoft.com/office/drawing/2014/main" id="{9CA6775C-7047-9848-6E07-25D8D438F1E0}"/>
                    </a:ext>
                  </a:extLst>
                </p14:cNvPr>
                <p14:cNvContentPartPr/>
                <p14:nvPr/>
              </p14:nvContentPartPr>
              <p14:xfrm>
                <a:off x="10685503" y="1270875"/>
                <a:ext cx="31320" cy="65880"/>
              </p14:xfrm>
            </p:contentPart>
          </mc:Choice>
          <mc:Fallback xmlns="">
            <p:pic>
              <p:nvPicPr>
                <p:cNvPr id="381" name="Ink 380">
                  <a:extLst>
                    <a:ext uri="{FF2B5EF4-FFF2-40B4-BE49-F238E27FC236}">
                      <a16:creationId xmlns:a16="http://schemas.microsoft.com/office/drawing/2014/main" id="{9CA6775C-7047-9848-6E07-25D8D438F1E0}"/>
                    </a:ext>
                  </a:extLst>
                </p:cNvPr>
                <p:cNvPicPr/>
                <p:nvPr/>
              </p:nvPicPr>
              <p:blipFill>
                <a:blip r:embed="rId134"/>
                <a:stretch>
                  <a:fillRect/>
                </a:stretch>
              </p:blipFill>
              <p:spPr>
                <a:xfrm>
                  <a:off x="10679383" y="1264755"/>
                  <a:ext cx="43560" cy="7812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382" name="Ink 381">
                  <a:extLst>
                    <a:ext uri="{FF2B5EF4-FFF2-40B4-BE49-F238E27FC236}">
                      <a16:creationId xmlns:a16="http://schemas.microsoft.com/office/drawing/2014/main" id="{6CF4B82E-2671-F4C9-A1C2-E9DFC9D39937}"/>
                    </a:ext>
                  </a:extLst>
                </p14:cNvPr>
                <p14:cNvContentPartPr/>
                <p14:nvPr/>
              </p14:nvContentPartPr>
              <p14:xfrm>
                <a:off x="10500103" y="1261875"/>
                <a:ext cx="15120" cy="80640"/>
              </p14:xfrm>
            </p:contentPart>
          </mc:Choice>
          <mc:Fallback xmlns="">
            <p:pic>
              <p:nvPicPr>
                <p:cNvPr id="382" name="Ink 381">
                  <a:extLst>
                    <a:ext uri="{FF2B5EF4-FFF2-40B4-BE49-F238E27FC236}">
                      <a16:creationId xmlns:a16="http://schemas.microsoft.com/office/drawing/2014/main" id="{6CF4B82E-2671-F4C9-A1C2-E9DFC9D39937}"/>
                    </a:ext>
                  </a:extLst>
                </p:cNvPr>
                <p:cNvPicPr/>
                <p:nvPr/>
              </p:nvPicPr>
              <p:blipFill>
                <a:blip r:embed="rId136"/>
                <a:stretch>
                  <a:fillRect/>
                </a:stretch>
              </p:blipFill>
              <p:spPr>
                <a:xfrm>
                  <a:off x="10493983" y="1255755"/>
                  <a:ext cx="27360" cy="92880"/>
                </a:xfrm>
                <a:prstGeom prst="rect">
                  <a:avLst/>
                </a:prstGeom>
              </p:spPr>
            </p:pic>
          </mc:Fallback>
        </mc:AlternateContent>
      </p:grpSp>
      <p:sp>
        <p:nvSpPr>
          <p:cNvPr id="386" name="TextBox 385">
            <a:extLst>
              <a:ext uri="{FF2B5EF4-FFF2-40B4-BE49-F238E27FC236}">
                <a16:creationId xmlns:a16="http://schemas.microsoft.com/office/drawing/2014/main" id="{2DD83AF1-FFD6-7D1B-137A-0074D1685262}"/>
              </a:ext>
            </a:extLst>
          </p:cNvPr>
          <p:cNvSpPr txBox="1"/>
          <p:nvPr/>
        </p:nvSpPr>
        <p:spPr>
          <a:xfrm>
            <a:off x="10804296" y="4548582"/>
            <a:ext cx="571438" cy="275717"/>
          </a:xfrm>
          <a:prstGeom prst="rect">
            <a:avLst/>
          </a:prstGeom>
          <a:noFill/>
        </p:spPr>
        <p:txBody>
          <a:bodyPr wrap="none" rtlCol="0">
            <a:spAutoFit/>
          </a:bodyPr>
          <a:lstStyle/>
          <a:p>
            <a:pPr algn="ctr">
              <a:lnSpc>
                <a:spcPct val="70000"/>
              </a:lnSpc>
            </a:pPr>
            <a:r>
              <a:rPr lang="en-US" sz="1600">
                <a:solidFill>
                  <a:srgbClr val="27333D"/>
                </a:solidFill>
                <a:latin typeface="+mj-lt"/>
              </a:rPr>
              <a:t>Tony</a:t>
            </a:r>
            <a:endParaRPr lang="en-GB" sz="1600">
              <a:solidFill>
                <a:srgbClr val="27333D"/>
              </a:solidFill>
              <a:latin typeface="+mj-lt"/>
            </a:endParaRPr>
          </a:p>
        </p:txBody>
      </p:sp>
      <mc:AlternateContent xmlns:mc="http://schemas.openxmlformats.org/markup-compatibility/2006" xmlns:p14="http://schemas.microsoft.com/office/powerpoint/2010/main">
        <mc:Choice Requires="p14">
          <p:contentPart p14:bwMode="auto" r:id="rId137">
            <p14:nvContentPartPr>
              <p14:cNvPr id="389" name="Ink 388">
                <a:extLst>
                  <a:ext uri="{FF2B5EF4-FFF2-40B4-BE49-F238E27FC236}">
                    <a16:creationId xmlns:a16="http://schemas.microsoft.com/office/drawing/2014/main" id="{193E4D10-2EF8-A545-D7E4-A5733FDAFF2C}"/>
                  </a:ext>
                </a:extLst>
              </p14:cNvPr>
              <p14:cNvContentPartPr/>
              <p14:nvPr/>
            </p14:nvContentPartPr>
            <p14:xfrm>
              <a:off x="9205971" y="3804069"/>
              <a:ext cx="168480" cy="84240"/>
            </p14:xfrm>
          </p:contentPart>
        </mc:Choice>
        <mc:Fallback xmlns="">
          <p:pic>
            <p:nvPicPr>
              <p:cNvPr id="389" name="Ink 388">
                <a:extLst>
                  <a:ext uri="{FF2B5EF4-FFF2-40B4-BE49-F238E27FC236}">
                    <a16:creationId xmlns:a16="http://schemas.microsoft.com/office/drawing/2014/main" id="{193E4D10-2EF8-A545-D7E4-A5733FDAFF2C}"/>
                  </a:ext>
                </a:extLst>
              </p:cNvPr>
              <p:cNvPicPr/>
              <p:nvPr/>
            </p:nvPicPr>
            <p:blipFill>
              <a:blip r:embed="rId138"/>
              <a:stretch>
                <a:fillRect/>
              </a:stretch>
            </p:blipFill>
            <p:spPr>
              <a:xfrm>
                <a:off x="9199851" y="3797949"/>
                <a:ext cx="180720" cy="96480"/>
              </a:xfrm>
              <a:prstGeom prst="rect">
                <a:avLst/>
              </a:prstGeom>
            </p:spPr>
          </p:pic>
        </mc:Fallback>
      </mc:AlternateContent>
      <p:grpSp>
        <p:nvGrpSpPr>
          <p:cNvPr id="394" name="Group 393">
            <a:extLst>
              <a:ext uri="{FF2B5EF4-FFF2-40B4-BE49-F238E27FC236}">
                <a16:creationId xmlns:a16="http://schemas.microsoft.com/office/drawing/2014/main" id="{3E51A141-AA52-C094-AF4F-322AE8D2EE3C}"/>
              </a:ext>
            </a:extLst>
          </p:cNvPr>
          <p:cNvGrpSpPr/>
          <p:nvPr/>
        </p:nvGrpSpPr>
        <p:grpSpPr>
          <a:xfrm>
            <a:off x="9419451" y="3836109"/>
            <a:ext cx="327240" cy="97920"/>
            <a:chOff x="9419451" y="3836109"/>
            <a:chExt cx="327240" cy="97920"/>
          </a:xfrm>
        </p:grpSpPr>
        <mc:AlternateContent xmlns:mc="http://schemas.openxmlformats.org/markup-compatibility/2006" xmlns:p14="http://schemas.microsoft.com/office/powerpoint/2010/main">
          <mc:Choice Requires="p14">
            <p:contentPart p14:bwMode="auto" r:id="rId139">
              <p14:nvContentPartPr>
                <p14:cNvPr id="391" name="Ink 390">
                  <a:extLst>
                    <a:ext uri="{FF2B5EF4-FFF2-40B4-BE49-F238E27FC236}">
                      <a16:creationId xmlns:a16="http://schemas.microsoft.com/office/drawing/2014/main" id="{2D45E82C-4E85-4811-3F25-B9149F2383E0}"/>
                    </a:ext>
                  </a:extLst>
                </p14:cNvPr>
                <p14:cNvContentPartPr/>
                <p14:nvPr/>
              </p14:nvContentPartPr>
              <p14:xfrm>
                <a:off x="9419451" y="3836109"/>
                <a:ext cx="119880" cy="88920"/>
              </p14:xfrm>
            </p:contentPart>
          </mc:Choice>
          <mc:Fallback xmlns="">
            <p:pic>
              <p:nvPicPr>
                <p:cNvPr id="391" name="Ink 390">
                  <a:extLst>
                    <a:ext uri="{FF2B5EF4-FFF2-40B4-BE49-F238E27FC236}">
                      <a16:creationId xmlns:a16="http://schemas.microsoft.com/office/drawing/2014/main" id="{2D45E82C-4E85-4811-3F25-B9149F2383E0}"/>
                    </a:ext>
                  </a:extLst>
                </p:cNvPr>
                <p:cNvPicPr/>
                <p:nvPr/>
              </p:nvPicPr>
              <p:blipFill>
                <a:blip r:embed="rId140"/>
                <a:stretch>
                  <a:fillRect/>
                </a:stretch>
              </p:blipFill>
              <p:spPr>
                <a:xfrm>
                  <a:off x="9413313" y="3829989"/>
                  <a:ext cx="132157"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392" name="Ink 391">
                  <a:extLst>
                    <a:ext uri="{FF2B5EF4-FFF2-40B4-BE49-F238E27FC236}">
                      <a16:creationId xmlns:a16="http://schemas.microsoft.com/office/drawing/2014/main" id="{B20D38DF-4C2A-A7D9-58D5-E538EF36BDE3}"/>
                    </a:ext>
                  </a:extLst>
                </p14:cNvPr>
                <p14:cNvContentPartPr/>
                <p14:nvPr/>
              </p14:nvContentPartPr>
              <p14:xfrm>
                <a:off x="9600531" y="3846909"/>
                <a:ext cx="146160" cy="87120"/>
              </p14:xfrm>
            </p:contentPart>
          </mc:Choice>
          <mc:Fallback xmlns="">
            <p:pic>
              <p:nvPicPr>
                <p:cNvPr id="392" name="Ink 391">
                  <a:extLst>
                    <a:ext uri="{FF2B5EF4-FFF2-40B4-BE49-F238E27FC236}">
                      <a16:creationId xmlns:a16="http://schemas.microsoft.com/office/drawing/2014/main" id="{B20D38DF-4C2A-A7D9-58D5-E538EF36BDE3}"/>
                    </a:ext>
                  </a:extLst>
                </p:cNvPr>
                <p:cNvPicPr/>
                <p:nvPr/>
              </p:nvPicPr>
              <p:blipFill>
                <a:blip r:embed="rId142"/>
                <a:stretch>
                  <a:fillRect/>
                </a:stretch>
              </p:blipFill>
              <p:spPr>
                <a:xfrm>
                  <a:off x="9594411" y="3840789"/>
                  <a:ext cx="158400" cy="993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43">
            <p14:nvContentPartPr>
              <p14:cNvPr id="396" name="Ink 395">
                <a:extLst>
                  <a:ext uri="{FF2B5EF4-FFF2-40B4-BE49-F238E27FC236}">
                    <a16:creationId xmlns:a16="http://schemas.microsoft.com/office/drawing/2014/main" id="{8856639B-B6E3-8DC4-F1B1-DE00E98980B7}"/>
                  </a:ext>
                </a:extLst>
              </p14:cNvPr>
              <p14:cNvContentPartPr/>
              <p14:nvPr/>
            </p14:nvContentPartPr>
            <p14:xfrm>
              <a:off x="9318291" y="4024389"/>
              <a:ext cx="323280" cy="241560"/>
            </p14:xfrm>
          </p:contentPart>
        </mc:Choice>
        <mc:Fallback xmlns="">
          <p:pic>
            <p:nvPicPr>
              <p:cNvPr id="396" name="Ink 395">
                <a:extLst>
                  <a:ext uri="{FF2B5EF4-FFF2-40B4-BE49-F238E27FC236}">
                    <a16:creationId xmlns:a16="http://schemas.microsoft.com/office/drawing/2014/main" id="{8856639B-B6E3-8DC4-F1B1-DE00E98980B7}"/>
                  </a:ext>
                </a:extLst>
              </p:cNvPr>
              <p:cNvPicPr/>
              <p:nvPr/>
            </p:nvPicPr>
            <p:blipFill>
              <a:blip r:embed="rId144"/>
              <a:stretch>
                <a:fillRect/>
              </a:stretch>
            </p:blipFill>
            <p:spPr>
              <a:xfrm>
                <a:off x="9312171" y="4018260"/>
                <a:ext cx="335520" cy="253818"/>
              </a:xfrm>
              <a:prstGeom prst="rect">
                <a:avLst/>
              </a:prstGeom>
            </p:spPr>
          </p:pic>
        </mc:Fallback>
      </mc:AlternateContent>
      <p:grpSp>
        <p:nvGrpSpPr>
          <p:cNvPr id="403" name="Group 402">
            <a:extLst>
              <a:ext uri="{FF2B5EF4-FFF2-40B4-BE49-F238E27FC236}">
                <a16:creationId xmlns:a16="http://schemas.microsoft.com/office/drawing/2014/main" id="{5EA6E4FD-FF11-68E0-2155-D799488E7F91}"/>
              </a:ext>
            </a:extLst>
          </p:cNvPr>
          <p:cNvGrpSpPr/>
          <p:nvPr/>
        </p:nvGrpSpPr>
        <p:grpSpPr>
          <a:xfrm>
            <a:off x="9352131" y="4052109"/>
            <a:ext cx="256680" cy="179640"/>
            <a:chOff x="9352131" y="4052109"/>
            <a:chExt cx="256680" cy="179640"/>
          </a:xfrm>
        </p:grpSpPr>
        <mc:AlternateContent xmlns:mc="http://schemas.openxmlformats.org/markup-compatibility/2006" xmlns:p14="http://schemas.microsoft.com/office/powerpoint/2010/main">
          <mc:Choice Requires="p14">
            <p:contentPart p14:bwMode="auto" r:id="rId145">
              <p14:nvContentPartPr>
                <p14:cNvPr id="397" name="Ink 396">
                  <a:extLst>
                    <a:ext uri="{FF2B5EF4-FFF2-40B4-BE49-F238E27FC236}">
                      <a16:creationId xmlns:a16="http://schemas.microsoft.com/office/drawing/2014/main" id="{537A1360-7AFB-6D94-19D4-E8EE7711AB56}"/>
                    </a:ext>
                  </a:extLst>
                </p14:cNvPr>
                <p14:cNvContentPartPr/>
                <p14:nvPr/>
              </p14:nvContentPartPr>
              <p14:xfrm>
                <a:off x="9352131" y="4052109"/>
                <a:ext cx="94680" cy="92160"/>
              </p14:xfrm>
            </p:contentPart>
          </mc:Choice>
          <mc:Fallback xmlns="">
            <p:pic>
              <p:nvPicPr>
                <p:cNvPr id="397" name="Ink 396">
                  <a:extLst>
                    <a:ext uri="{FF2B5EF4-FFF2-40B4-BE49-F238E27FC236}">
                      <a16:creationId xmlns:a16="http://schemas.microsoft.com/office/drawing/2014/main" id="{537A1360-7AFB-6D94-19D4-E8EE7711AB56}"/>
                    </a:ext>
                  </a:extLst>
                </p:cNvPr>
                <p:cNvPicPr/>
                <p:nvPr/>
              </p:nvPicPr>
              <p:blipFill>
                <a:blip r:embed="rId146"/>
                <a:stretch>
                  <a:fillRect/>
                </a:stretch>
              </p:blipFill>
              <p:spPr>
                <a:xfrm>
                  <a:off x="9345988" y="4045989"/>
                  <a:ext cx="106967" cy="10440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398" name="Ink 397">
                  <a:extLst>
                    <a:ext uri="{FF2B5EF4-FFF2-40B4-BE49-F238E27FC236}">
                      <a16:creationId xmlns:a16="http://schemas.microsoft.com/office/drawing/2014/main" id="{DCA4E9BB-D81F-A5CF-477E-BBC287444874}"/>
                    </a:ext>
                  </a:extLst>
                </p14:cNvPr>
                <p14:cNvContentPartPr/>
                <p14:nvPr/>
              </p14:nvContentPartPr>
              <p14:xfrm>
                <a:off x="9567051" y="4063629"/>
                <a:ext cx="40680" cy="98640"/>
              </p14:xfrm>
            </p:contentPart>
          </mc:Choice>
          <mc:Fallback xmlns="">
            <p:pic>
              <p:nvPicPr>
                <p:cNvPr id="398" name="Ink 397">
                  <a:extLst>
                    <a:ext uri="{FF2B5EF4-FFF2-40B4-BE49-F238E27FC236}">
                      <a16:creationId xmlns:a16="http://schemas.microsoft.com/office/drawing/2014/main" id="{DCA4E9BB-D81F-A5CF-477E-BBC287444874}"/>
                    </a:ext>
                  </a:extLst>
                </p:cNvPr>
                <p:cNvPicPr/>
                <p:nvPr/>
              </p:nvPicPr>
              <p:blipFill>
                <a:blip r:embed="rId148"/>
                <a:stretch>
                  <a:fillRect/>
                </a:stretch>
              </p:blipFill>
              <p:spPr>
                <a:xfrm>
                  <a:off x="9560931" y="4057509"/>
                  <a:ext cx="5292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401" name="Ink 400">
                  <a:extLst>
                    <a:ext uri="{FF2B5EF4-FFF2-40B4-BE49-F238E27FC236}">
                      <a16:creationId xmlns:a16="http://schemas.microsoft.com/office/drawing/2014/main" id="{06F765CB-6D10-5EF0-E0F3-02B01AC26791}"/>
                    </a:ext>
                  </a:extLst>
                </p14:cNvPr>
                <p14:cNvContentPartPr/>
                <p14:nvPr/>
              </p14:nvContentPartPr>
              <p14:xfrm>
                <a:off x="9469851" y="4096749"/>
                <a:ext cx="138960" cy="135000"/>
              </p14:xfrm>
            </p:contentPart>
          </mc:Choice>
          <mc:Fallback xmlns="">
            <p:pic>
              <p:nvPicPr>
                <p:cNvPr id="401" name="Ink 400">
                  <a:extLst>
                    <a:ext uri="{FF2B5EF4-FFF2-40B4-BE49-F238E27FC236}">
                      <a16:creationId xmlns:a16="http://schemas.microsoft.com/office/drawing/2014/main" id="{06F765CB-6D10-5EF0-E0F3-02B01AC26791}"/>
                    </a:ext>
                  </a:extLst>
                </p:cNvPr>
                <p:cNvPicPr/>
                <p:nvPr/>
              </p:nvPicPr>
              <p:blipFill>
                <a:blip r:embed="rId150"/>
                <a:stretch>
                  <a:fillRect/>
                </a:stretch>
              </p:blipFill>
              <p:spPr>
                <a:xfrm>
                  <a:off x="9463731" y="4090629"/>
                  <a:ext cx="151200" cy="1472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51">
            <p14:nvContentPartPr>
              <p14:cNvPr id="405" name="Ink 404">
                <a:extLst>
                  <a:ext uri="{FF2B5EF4-FFF2-40B4-BE49-F238E27FC236}">
                    <a16:creationId xmlns:a16="http://schemas.microsoft.com/office/drawing/2014/main" id="{8ECFC9E3-1D73-18B0-DED5-BA65855FF375}"/>
                  </a:ext>
                </a:extLst>
              </p14:cNvPr>
              <p14:cNvContentPartPr/>
              <p14:nvPr/>
            </p14:nvContentPartPr>
            <p14:xfrm>
              <a:off x="9311348" y="4024888"/>
              <a:ext cx="252360" cy="210960"/>
            </p14:xfrm>
          </p:contentPart>
        </mc:Choice>
        <mc:Fallback xmlns="">
          <p:pic>
            <p:nvPicPr>
              <p:cNvPr id="405" name="Ink 404">
                <a:extLst>
                  <a:ext uri="{FF2B5EF4-FFF2-40B4-BE49-F238E27FC236}">
                    <a16:creationId xmlns:a16="http://schemas.microsoft.com/office/drawing/2014/main" id="{8ECFC9E3-1D73-18B0-DED5-BA65855FF375}"/>
                  </a:ext>
                </a:extLst>
              </p:cNvPr>
              <p:cNvPicPr/>
              <p:nvPr/>
            </p:nvPicPr>
            <p:blipFill>
              <a:blip r:embed="rId152"/>
              <a:stretch>
                <a:fillRect/>
              </a:stretch>
            </p:blipFill>
            <p:spPr>
              <a:xfrm>
                <a:off x="9305228" y="4018768"/>
                <a:ext cx="264600" cy="22320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404" name="Ink 403">
                <a:extLst>
                  <a:ext uri="{FF2B5EF4-FFF2-40B4-BE49-F238E27FC236}">
                    <a16:creationId xmlns:a16="http://schemas.microsoft.com/office/drawing/2014/main" id="{1DC87A18-5D1B-81D9-0ED3-8C6330CD33A5}"/>
                  </a:ext>
                </a:extLst>
              </p14:cNvPr>
              <p14:cNvContentPartPr/>
              <p14:nvPr/>
            </p14:nvContentPartPr>
            <p14:xfrm>
              <a:off x="9344828" y="4020928"/>
              <a:ext cx="218520" cy="19080"/>
            </p14:xfrm>
          </p:contentPart>
        </mc:Choice>
        <mc:Fallback xmlns="">
          <p:pic>
            <p:nvPicPr>
              <p:cNvPr id="404" name="Ink 403">
                <a:extLst>
                  <a:ext uri="{FF2B5EF4-FFF2-40B4-BE49-F238E27FC236}">
                    <a16:creationId xmlns:a16="http://schemas.microsoft.com/office/drawing/2014/main" id="{1DC87A18-5D1B-81D9-0ED3-8C6330CD33A5}"/>
                  </a:ext>
                </a:extLst>
              </p:cNvPr>
              <p:cNvPicPr/>
              <p:nvPr/>
            </p:nvPicPr>
            <p:blipFill>
              <a:blip r:embed="rId154"/>
              <a:stretch>
                <a:fillRect/>
              </a:stretch>
            </p:blipFill>
            <p:spPr>
              <a:xfrm>
                <a:off x="9338708" y="4014921"/>
                <a:ext cx="230760" cy="31093"/>
              </a:xfrm>
              <a:prstGeom prst="rect">
                <a:avLst/>
              </a:prstGeom>
            </p:spPr>
          </p:pic>
        </mc:Fallback>
      </mc:AlternateContent>
      <p:grpSp>
        <p:nvGrpSpPr>
          <p:cNvPr id="424" name="Group 423">
            <a:extLst>
              <a:ext uri="{FF2B5EF4-FFF2-40B4-BE49-F238E27FC236}">
                <a16:creationId xmlns:a16="http://schemas.microsoft.com/office/drawing/2014/main" id="{7F72C8A4-2D3B-FCA3-5290-9E3CD916AE0D}"/>
              </a:ext>
            </a:extLst>
          </p:cNvPr>
          <p:cNvGrpSpPr/>
          <p:nvPr/>
        </p:nvGrpSpPr>
        <p:grpSpPr>
          <a:xfrm>
            <a:off x="9305228" y="4035328"/>
            <a:ext cx="340200" cy="251280"/>
            <a:chOff x="9305228" y="4035328"/>
            <a:chExt cx="340200" cy="251280"/>
          </a:xfrm>
        </p:grpSpPr>
        <mc:AlternateContent xmlns:mc="http://schemas.openxmlformats.org/markup-compatibility/2006" xmlns:p14="http://schemas.microsoft.com/office/powerpoint/2010/main">
          <mc:Choice Requires="p14">
            <p:contentPart p14:bwMode="auto" r:id="rId155">
              <p14:nvContentPartPr>
                <p14:cNvPr id="406" name="Ink 405">
                  <a:extLst>
                    <a:ext uri="{FF2B5EF4-FFF2-40B4-BE49-F238E27FC236}">
                      <a16:creationId xmlns:a16="http://schemas.microsoft.com/office/drawing/2014/main" id="{A7837883-7822-256C-E548-E2979233BF83}"/>
                    </a:ext>
                  </a:extLst>
                </p14:cNvPr>
                <p14:cNvContentPartPr/>
                <p14:nvPr/>
              </p14:nvContentPartPr>
              <p14:xfrm>
                <a:off x="9331508" y="4058728"/>
                <a:ext cx="313920" cy="194040"/>
              </p14:xfrm>
            </p:contentPart>
          </mc:Choice>
          <mc:Fallback xmlns="">
            <p:pic>
              <p:nvPicPr>
                <p:cNvPr id="406" name="Ink 405">
                  <a:extLst>
                    <a:ext uri="{FF2B5EF4-FFF2-40B4-BE49-F238E27FC236}">
                      <a16:creationId xmlns:a16="http://schemas.microsoft.com/office/drawing/2014/main" id="{A7837883-7822-256C-E548-E2979233BF83}"/>
                    </a:ext>
                  </a:extLst>
                </p:cNvPr>
                <p:cNvPicPr/>
                <p:nvPr/>
              </p:nvPicPr>
              <p:blipFill>
                <a:blip r:embed="rId156"/>
                <a:stretch>
                  <a:fillRect/>
                </a:stretch>
              </p:blipFill>
              <p:spPr>
                <a:xfrm>
                  <a:off x="9325388" y="4052597"/>
                  <a:ext cx="326160" cy="206303"/>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407" name="Ink 406">
                  <a:extLst>
                    <a:ext uri="{FF2B5EF4-FFF2-40B4-BE49-F238E27FC236}">
                      <a16:creationId xmlns:a16="http://schemas.microsoft.com/office/drawing/2014/main" id="{5DC2A779-087A-FFB1-50A7-378C6D7B4E5C}"/>
                    </a:ext>
                  </a:extLst>
                </p14:cNvPr>
                <p14:cNvContentPartPr/>
                <p14:nvPr/>
              </p14:nvContentPartPr>
              <p14:xfrm>
                <a:off x="9607628" y="4126048"/>
                <a:ext cx="19440" cy="46440"/>
              </p14:xfrm>
            </p:contentPart>
          </mc:Choice>
          <mc:Fallback xmlns="">
            <p:pic>
              <p:nvPicPr>
                <p:cNvPr id="407" name="Ink 406">
                  <a:extLst>
                    <a:ext uri="{FF2B5EF4-FFF2-40B4-BE49-F238E27FC236}">
                      <a16:creationId xmlns:a16="http://schemas.microsoft.com/office/drawing/2014/main" id="{5DC2A779-087A-FFB1-50A7-378C6D7B4E5C}"/>
                    </a:ext>
                  </a:extLst>
                </p:cNvPr>
                <p:cNvPicPr/>
                <p:nvPr/>
              </p:nvPicPr>
              <p:blipFill>
                <a:blip r:embed="rId158"/>
                <a:stretch>
                  <a:fillRect/>
                </a:stretch>
              </p:blipFill>
              <p:spPr>
                <a:xfrm>
                  <a:off x="9601508" y="4119928"/>
                  <a:ext cx="31680" cy="5868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408" name="Ink 407">
                  <a:extLst>
                    <a:ext uri="{FF2B5EF4-FFF2-40B4-BE49-F238E27FC236}">
                      <a16:creationId xmlns:a16="http://schemas.microsoft.com/office/drawing/2014/main" id="{FBB2922F-0DF3-2CC0-5346-E60DBD54AA3A}"/>
                    </a:ext>
                  </a:extLst>
                </p14:cNvPr>
                <p14:cNvContentPartPr/>
                <p14:nvPr/>
              </p14:nvContentPartPr>
              <p14:xfrm>
                <a:off x="9329348" y="4040368"/>
                <a:ext cx="229680" cy="180000"/>
              </p14:xfrm>
            </p:contentPart>
          </mc:Choice>
          <mc:Fallback xmlns="">
            <p:pic>
              <p:nvPicPr>
                <p:cNvPr id="408" name="Ink 407">
                  <a:extLst>
                    <a:ext uri="{FF2B5EF4-FFF2-40B4-BE49-F238E27FC236}">
                      <a16:creationId xmlns:a16="http://schemas.microsoft.com/office/drawing/2014/main" id="{FBB2922F-0DF3-2CC0-5346-E60DBD54AA3A}"/>
                    </a:ext>
                  </a:extLst>
                </p:cNvPr>
                <p:cNvPicPr/>
                <p:nvPr/>
              </p:nvPicPr>
              <p:blipFill>
                <a:blip r:embed="rId160"/>
                <a:stretch>
                  <a:fillRect/>
                </a:stretch>
              </p:blipFill>
              <p:spPr>
                <a:xfrm>
                  <a:off x="9323228" y="4034248"/>
                  <a:ext cx="241920" cy="19224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415" name="Ink 414">
                  <a:extLst>
                    <a:ext uri="{FF2B5EF4-FFF2-40B4-BE49-F238E27FC236}">
                      <a16:creationId xmlns:a16="http://schemas.microsoft.com/office/drawing/2014/main" id="{815903EF-314A-19BA-6B52-319E6E0A24D3}"/>
                    </a:ext>
                  </a:extLst>
                </p14:cNvPr>
                <p14:cNvContentPartPr/>
                <p14:nvPr/>
              </p14:nvContentPartPr>
              <p14:xfrm>
                <a:off x="9309548" y="4035328"/>
                <a:ext cx="24840" cy="121320"/>
              </p14:xfrm>
            </p:contentPart>
          </mc:Choice>
          <mc:Fallback xmlns="">
            <p:pic>
              <p:nvPicPr>
                <p:cNvPr id="415" name="Ink 414">
                  <a:extLst>
                    <a:ext uri="{FF2B5EF4-FFF2-40B4-BE49-F238E27FC236}">
                      <a16:creationId xmlns:a16="http://schemas.microsoft.com/office/drawing/2014/main" id="{815903EF-314A-19BA-6B52-319E6E0A24D3}"/>
                    </a:ext>
                  </a:extLst>
                </p:cNvPr>
                <p:cNvPicPr/>
                <p:nvPr/>
              </p:nvPicPr>
              <p:blipFill>
                <a:blip r:embed="rId162"/>
                <a:stretch>
                  <a:fillRect/>
                </a:stretch>
              </p:blipFill>
              <p:spPr>
                <a:xfrm>
                  <a:off x="9303428" y="4029208"/>
                  <a:ext cx="37080" cy="13356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418" name="Ink 417">
                  <a:extLst>
                    <a:ext uri="{FF2B5EF4-FFF2-40B4-BE49-F238E27FC236}">
                      <a16:creationId xmlns:a16="http://schemas.microsoft.com/office/drawing/2014/main" id="{2F8E51CB-54FF-48E9-0E61-0B80614B8E05}"/>
                    </a:ext>
                  </a:extLst>
                </p14:cNvPr>
                <p14:cNvContentPartPr/>
                <p14:nvPr/>
              </p14:nvContentPartPr>
              <p14:xfrm>
                <a:off x="9305228" y="4039648"/>
                <a:ext cx="105120" cy="222840"/>
              </p14:xfrm>
            </p:contentPart>
          </mc:Choice>
          <mc:Fallback xmlns="">
            <p:pic>
              <p:nvPicPr>
                <p:cNvPr id="418" name="Ink 417">
                  <a:extLst>
                    <a:ext uri="{FF2B5EF4-FFF2-40B4-BE49-F238E27FC236}">
                      <a16:creationId xmlns:a16="http://schemas.microsoft.com/office/drawing/2014/main" id="{2F8E51CB-54FF-48E9-0E61-0B80614B8E05}"/>
                    </a:ext>
                  </a:extLst>
                </p:cNvPr>
                <p:cNvPicPr/>
                <p:nvPr/>
              </p:nvPicPr>
              <p:blipFill>
                <a:blip r:embed="rId164"/>
                <a:stretch>
                  <a:fillRect/>
                </a:stretch>
              </p:blipFill>
              <p:spPr>
                <a:xfrm>
                  <a:off x="9299108" y="4033528"/>
                  <a:ext cx="117360" cy="23508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421" name="Ink 420">
                  <a:extLst>
                    <a:ext uri="{FF2B5EF4-FFF2-40B4-BE49-F238E27FC236}">
                      <a16:creationId xmlns:a16="http://schemas.microsoft.com/office/drawing/2014/main" id="{23F1896E-3E1A-B415-0119-F871AB6AB250}"/>
                    </a:ext>
                  </a:extLst>
                </p14:cNvPr>
                <p14:cNvContentPartPr/>
                <p14:nvPr/>
              </p14:nvContentPartPr>
              <p14:xfrm>
                <a:off x="9384428" y="4259248"/>
                <a:ext cx="184680" cy="27360"/>
              </p14:xfrm>
            </p:contentPart>
          </mc:Choice>
          <mc:Fallback xmlns="">
            <p:pic>
              <p:nvPicPr>
                <p:cNvPr id="421" name="Ink 420">
                  <a:extLst>
                    <a:ext uri="{FF2B5EF4-FFF2-40B4-BE49-F238E27FC236}">
                      <a16:creationId xmlns:a16="http://schemas.microsoft.com/office/drawing/2014/main" id="{23F1896E-3E1A-B415-0119-F871AB6AB250}"/>
                    </a:ext>
                  </a:extLst>
                </p:cNvPr>
                <p:cNvPicPr/>
                <p:nvPr/>
              </p:nvPicPr>
              <p:blipFill>
                <a:blip r:embed="rId166"/>
                <a:stretch>
                  <a:fillRect/>
                </a:stretch>
              </p:blipFill>
              <p:spPr>
                <a:xfrm>
                  <a:off x="9378308" y="4253128"/>
                  <a:ext cx="19692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422" name="Ink 421">
                  <a:extLst>
                    <a:ext uri="{FF2B5EF4-FFF2-40B4-BE49-F238E27FC236}">
                      <a16:creationId xmlns:a16="http://schemas.microsoft.com/office/drawing/2014/main" id="{EDAA054F-B1E5-CECA-6AB6-41D58B3E4A7E}"/>
                    </a:ext>
                  </a:extLst>
                </p14:cNvPr>
                <p14:cNvContentPartPr/>
                <p14:nvPr/>
              </p14:nvContentPartPr>
              <p14:xfrm>
                <a:off x="9551108" y="4217488"/>
                <a:ext cx="74160" cy="63360"/>
              </p14:xfrm>
            </p:contentPart>
          </mc:Choice>
          <mc:Fallback xmlns="">
            <p:pic>
              <p:nvPicPr>
                <p:cNvPr id="422" name="Ink 421">
                  <a:extLst>
                    <a:ext uri="{FF2B5EF4-FFF2-40B4-BE49-F238E27FC236}">
                      <a16:creationId xmlns:a16="http://schemas.microsoft.com/office/drawing/2014/main" id="{EDAA054F-B1E5-CECA-6AB6-41D58B3E4A7E}"/>
                    </a:ext>
                  </a:extLst>
                </p:cNvPr>
                <p:cNvPicPr/>
                <p:nvPr/>
              </p:nvPicPr>
              <p:blipFill>
                <a:blip r:embed="rId168"/>
                <a:stretch>
                  <a:fillRect/>
                </a:stretch>
              </p:blipFill>
              <p:spPr>
                <a:xfrm>
                  <a:off x="9544988" y="4211333"/>
                  <a:ext cx="86400" cy="75670"/>
                </a:xfrm>
                <a:prstGeom prst="rect">
                  <a:avLst/>
                </a:prstGeom>
              </p:spPr>
            </p:pic>
          </mc:Fallback>
        </mc:AlternateContent>
      </p:grpSp>
      <p:grpSp>
        <p:nvGrpSpPr>
          <p:cNvPr id="435" name="Group 434">
            <a:extLst>
              <a:ext uri="{FF2B5EF4-FFF2-40B4-BE49-F238E27FC236}">
                <a16:creationId xmlns:a16="http://schemas.microsoft.com/office/drawing/2014/main" id="{DC5FA079-FAFC-3B33-9599-FBF1944A1B62}"/>
              </a:ext>
            </a:extLst>
          </p:cNvPr>
          <p:cNvGrpSpPr/>
          <p:nvPr/>
        </p:nvGrpSpPr>
        <p:grpSpPr>
          <a:xfrm>
            <a:off x="9252055" y="2788450"/>
            <a:ext cx="573480" cy="323972"/>
            <a:chOff x="9252055" y="2788450"/>
            <a:chExt cx="573480" cy="323972"/>
          </a:xfrm>
        </p:grpSpPr>
        <mc:AlternateContent xmlns:mc="http://schemas.openxmlformats.org/markup-compatibility/2006" xmlns:p14="http://schemas.microsoft.com/office/powerpoint/2010/main">
          <mc:Choice Requires="p14">
            <p:contentPart p14:bwMode="auto" r:id="rId169">
              <p14:nvContentPartPr>
                <p14:cNvPr id="40" name="Ink 39">
                  <a:extLst>
                    <a:ext uri="{FF2B5EF4-FFF2-40B4-BE49-F238E27FC236}">
                      <a16:creationId xmlns:a16="http://schemas.microsoft.com/office/drawing/2014/main" id="{772991B5-0203-2F56-7A24-7CABCEBDF094}"/>
                    </a:ext>
                  </a:extLst>
                </p14:cNvPr>
                <p14:cNvContentPartPr/>
                <p14:nvPr/>
              </p14:nvContentPartPr>
              <p14:xfrm>
                <a:off x="9252055" y="2832342"/>
                <a:ext cx="78120" cy="234000"/>
              </p14:xfrm>
            </p:contentPart>
          </mc:Choice>
          <mc:Fallback xmlns="">
            <p:pic>
              <p:nvPicPr>
                <p:cNvPr id="40" name="Ink 39">
                  <a:extLst>
                    <a:ext uri="{FF2B5EF4-FFF2-40B4-BE49-F238E27FC236}">
                      <a16:creationId xmlns:a16="http://schemas.microsoft.com/office/drawing/2014/main" id="{772991B5-0203-2F56-7A24-7CABCEBDF094}"/>
                    </a:ext>
                  </a:extLst>
                </p:cNvPr>
                <p:cNvPicPr/>
                <p:nvPr/>
              </p:nvPicPr>
              <p:blipFill>
                <a:blip r:embed="rId170"/>
                <a:stretch>
                  <a:fillRect/>
                </a:stretch>
              </p:blipFill>
              <p:spPr>
                <a:xfrm>
                  <a:off x="9245963" y="2826213"/>
                  <a:ext cx="90304" cy="246259"/>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41" name="Ink 40">
                  <a:extLst>
                    <a:ext uri="{FF2B5EF4-FFF2-40B4-BE49-F238E27FC236}">
                      <a16:creationId xmlns:a16="http://schemas.microsoft.com/office/drawing/2014/main" id="{8E6AB9DE-B361-0510-DEBD-D1FFB6D32F1C}"/>
                    </a:ext>
                  </a:extLst>
                </p14:cNvPr>
                <p14:cNvContentPartPr/>
                <p14:nvPr/>
              </p14:nvContentPartPr>
              <p14:xfrm>
                <a:off x="9484975" y="2821182"/>
                <a:ext cx="9000" cy="280080"/>
              </p14:xfrm>
            </p:contentPart>
          </mc:Choice>
          <mc:Fallback xmlns="">
            <p:pic>
              <p:nvPicPr>
                <p:cNvPr id="41" name="Ink 40">
                  <a:extLst>
                    <a:ext uri="{FF2B5EF4-FFF2-40B4-BE49-F238E27FC236}">
                      <a16:creationId xmlns:a16="http://schemas.microsoft.com/office/drawing/2014/main" id="{8E6AB9DE-B361-0510-DEBD-D1FFB6D32F1C}"/>
                    </a:ext>
                  </a:extLst>
                </p:cNvPr>
                <p:cNvPicPr/>
                <p:nvPr/>
              </p:nvPicPr>
              <p:blipFill>
                <a:blip r:embed="rId172"/>
                <a:stretch>
                  <a:fillRect/>
                </a:stretch>
              </p:blipFill>
              <p:spPr>
                <a:xfrm>
                  <a:off x="9478855" y="2815062"/>
                  <a:ext cx="21240" cy="29232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44" name="Ink 43">
                  <a:extLst>
                    <a:ext uri="{FF2B5EF4-FFF2-40B4-BE49-F238E27FC236}">
                      <a16:creationId xmlns:a16="http://schemas.microsoft.com/office/drawing/2014/main" id="{55F66A39-40A8-F1FB-9A83-D8E5872AA195}"/>
                    </a:ext>
                  </a:extLst>
                </p14:cNvPr>
                <p14:cNvContentPartPr/>
                <p14:nvPr/>
              </p14:nvContentPartPr>
              <p14:xfrm>
                <a:off x="9627895" y="2815422"/>
                <a:ext cx="197640" cy="297000"/>
              </p14:xfrm>
            </p:contentPart>
          </mc:Choice>
          <mc:Fallback xmlns="">
            <p:pic>
              <p:nvPicPr>
                <p:cNvPr id="44" name="Ink 43">
                  <a:extLst>
                    <a:ext uri="{FF2B5EF4-FFF2-40B4-BE49-F238E27FC236}">
                      <a16:creationId xmlns:a16="http://schemas.microsoft.com/office/drawing/2014/main" id="{55F66A39-40A8-F1FB-9A83-D8E5872AA195}"/>
                    </a:ext>
                  </a:extLst>
                </p:cNvPr>
                <p:cNvPicPr/>
                <p:nvPr/>
              </p:nvPicPr>
              <p:blipFill>
                <a:blip r:embed="rId174"/>
                <a:stretch>
                  <a:fillRect/>
                </a:stretch>
              </p:blipFill>
              <p:spPr>
                <a:xfrm>
                  <a:off x="9621775" y="2809309"/>
                  <a:ext cx="209880" cy="309225"/>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426" name="Ink 425">
                  <a:extLst>
                    <a:ext uri="{FF2B5EF4-FFF2-40B4-BE49-F238E27FC236}">
                      <a16:creationId xmlns:a16="http://schemas.microsoft.com/office/drawing/2014/main" id="{061FC9F6-9459-FEAE-371B-AB4BAB121E54}"/>
                    </a:ext>
                  </a:extLst>
                </p14:cNvPr>
                <p14:cNvContentPartPr/>
                <p14:nvPr/>
              </p14:nvContentPartPr>
              <p14:xfrm>
                <a:off x="9305718" y="2788450"/>
                <a:ext cx="126720" cy="281520"/>
              </p14:xfrm>
            </p:contentPart>
          </mc:Choice>
          <mc:Fallback xmlns="">
            <p:pic>
              <p:nvPicPr>
                <p:cNvPr id="426" name="Ink 425">
                  <a:extLst>
                    <a:ext uri="{FF2B5EF4-FFF2-40B4-BE49-F238E27FC236}">
                      <a16:creationId xmlns:a16="http://schemas.microsoft.com/office/drawing/2014/main" id="{061FC9F6-9459-FEAE-371B-AB4BAB121E54}"/>
                    </a:ext>
                  </a:extLst>
                </p:cNvPr>
                <p:cNvPicPr/>
                <p:nvPr/>
              </p:nvPicPr>
              <p:blipFill>
                <a:blip r:embed="rId176"/>
                <a:stretch>
                  <a:fillRect/>
                </a:stretch>
              </p:blipFill>
              <p:spPr>
                <a:xfrm>
                  <a:off x="9299598" y="2782330"/>
                  <a:ext cx="138960" cy="29376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429" name="Ink 428">
                  <a:extLst>
                    <a:ext uri="{FF2B5EF4-FFF2-40B4-BE49-F238E27FC236}">
                      <a16:creationId xmlns:a16="http://schemas.microsoft.com/office/drawing/2014/main" id="{469AA63B-EECF-EB04-D35C-2FB98A710A31}"/>
                    </a:ext>
                  </a:extLst>
                </p14:cNvPr>
                <p14:cNvContentPartPr/>
                <p14:nvPr/>
              </p14:nvContentPartPr>
              <p14:xfrm>
                <a:off x="9567438" y="2825170"/>
                <a:ext cx="121320" cy="273240"/>
              </p14:xfrm>
            </p:contentPart>
          </mc:Choice>
          <mc:Fallback xmlns="">
            <p:pic>
              <p:nvPicPr>
                <p:cNvPr id="429" name="Ink 428">
                  <a:extLst>
                    <a:ext uri="{FF2B5EF4-FFF2-40B4-BE49-F238E27FC236}">
                      <a16:creationId xmlns:a16="http://schemas.microsoft.com/office/drawing/2014/main" id="{469AA63B-EECF-EB04-D35C-2FB98A710A31}"/>
                    </a:ext>
                  </a:extLst>
                </p:cNvPr>
                <p:cNvPicPr/>
                <p:nvPr/>
              </p:nvPicPr>
              <p:blipFill>
                <a:blip r:embed="rId178"/>
                <a:stretch>
                  <a:fillRect/>
                </a:stretch>
              </p:blipFill>
              <p:spPr>
                <a:xfrm>
                  <a:off x="9561318" y="2819050"/>
                  <a:ext cx="133560" cy="28548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432" name="Ink 431">
                  <a:extLst>
                    <a:ext uri="{FF2B5EF4-FFF2-40B4-BE49-F238E27FC236}">
                      <a16:creationId xmlns:a16="http://schemas.microsoft.com/office/drawing/2014/main" id="{16AC79A4-8F04-6E3D-8632-AD50F5B74A94}"/>
                    </a:ext>
                  </a:extLst>
                </p14:cNvPr>
                <p14:cNvContentPartPr/>
                <p14:nvPr/>
              </p14:nvContentPartPr>
              <p14:xfrm>
                <a:off x="9329118" y="3076810"/>
                <a:ext cx="36720" cy="32760"/>
              </p14:xfrm>
            </p:contentPart>
          </mc:Choice>
          <mc:Fallback xmlns="">
            <p:pic>
              <p:nvPicPr>
                <p:cNvPr id="432" name="Ink 431">
                  <a:extLst>
                    <a:ext uri="{FF2B5EF4-FFF2-40B4-BE49-F238E27FC236}">
                      <a16:creationId xmlns:a16="http://schemas.microsoft.com/office/drawing/2014/main" id="{16AC79A4-8F04-6E3D-8632-AD50F5B74A94}"/>
                    </a:ext>
                  </a:extLst>
                </p:cNvPr>
                <p:cNvPicPr/>
                <p:nvPr/>
              </p:nvPicPr>
              <p:blipFill>
                <a:blip r:embed="rId180"/>
                <a:stretch>
                  <a:fillRect/>
                </a:stretch>
              </p:blipFill>
              <p:spPr>
                <a:xfrm>
                  <a:off x="9322998" y="3070690"/>
                  <a:ext cx="48960" cy="4500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433" name="Ink 432">
                  <a:extLst>
                    <a:ext uri="{FF2B5EF4-FFF2-40B4-BE49-F238E27FC236}">
                      <a16:creationId xmlns:a16="http://schemas.microsoft.com/office/drawing/2014/main" id="{4CAFC76E-E1FB-7D9D-073A-F05C83DD72FA}"/>
                    </a:ext>
                  </a:extLst>
                </p14:cNvPr>
                <p14:cNvContentPartPr/>
                <p14:nvPr/>
              </p14:nvContentPartPr>
              <p14:xfrm>
                <a:off x="9409758" y="3035410"/>
                <a:ext cx="52920" cy="73080"/>
              </p14:xfrm>
            </p:contentPart>
          </mc:Choice>
          <mc:Fallback xmlns="">
            <p:pic>
              <p:nvPicPr>
                <p:cNvPr id="433" name="Ink 432">
                  <a:extLst>
                    <a:ext uri="{FF2B5EF4-FFF2-40B4-BE49-F238E27FC236}">
                      <a16:creationId xmlns:a16="http://schemas.microsoft.com/office/drawing/2014/main" id="{4CAFC76E-E1FB-7D9D-073A-F05C83DD72FA}"/>
                    </a:ext>
                  </a:extLst>
                </p:cNvPr>
                <p:cNvPicPr/>
                <p:nvPr/>
              </p:nvPicPr>
              <p:blipFill>
                <a:blip r:embed="rId182"/>
                <a:stretch>
                  <a:fillRect/>
                </a:stretch>
              </p:blipFill>
              <p:spPr>
                <a:xfrm>
                  <a:off x="9403596" y="3029290"/>
                  <a:ext cx="65244" cy="85320"/>
                </a:xfrm>
                <a:prstGeom prst="rect">
                  <a:avLst/>
                </a:prstGeom>
              </p:spPr>
            </p:pic>
          </mc:Fallback>
        </mc:AlternateContent>
      </p:grpSp>
      <p:sp>
        <p:nvSpPr>
          <p:cNvPr id="280" name="TextBox 279">
            <a:extLst>
              <a:ext uri="{FF2B5EF4-FFF2-40B4-BE49-F238E27FC236}">
                <a16:creationId xmlns:a16="http://schemas.microsoft.com/office/drawing/2014/main" id="{E6234115-4A6B-F463-AA12-9A221B0DB167}"/>
              </a:ext>
            </a:extLst>
          </p:cNvPr>
          <p:cNvSpPr txBox="1"/>
          <p:nvPr/>
        </p:nvSpPr>
        <p:spPr>
          <a:xfrm>
            <a:off x="2727747" y="1118375"/>
            <a:ext cx="6726485" cy="830997"/>
          </a:xfrm>
          <a:prstGeom prst="rect">
            <a:avLst/>
          </a:prstGeom>
          <a:noFill/>
        </p:spPr>
        <p:txBody>
          <a:bodyPr wrap="square">
            <a:spAutoFit/>
          </a:bodyPr>
          <a:lstStyle/>
          <a:p>
            <a:pPr lvl="0" algn="ctr">
              <a:defRPr/>
            </a:pPr>
            <a:r>
              <a:rPr lang="en-US" sz="4800" b="1" spc="-150" dirty="0">
                <a:solidFill>
                  <a:srgbClr val="140812"/>
                </a:solidFill>
                <a:latin typeface="Century Gothic" panose="020B0502020202020204" pitchFamily="34" charset="0"/>
              </a:rPr>
              <a:t>Thanks for listening!!!</a:t>
            </a:r>
            <a:endParaRPr kumimoji="0" lang="en-US" sz="4800" b="1" i="0" u="none" strike="noStrike" kern="1200" cap="none" spc="-150" normalizeH="0" baseline="0" noProof="0" dirty="0">
              <a:ln>
                <a:noFill/>
              </a:ln>
              <a:solidFill>
                <a:srgbClr val="140812"/>
              </a:solidFill>
              <a:effectLst/>
              <a:uLnTx/>
              <a:uFillTx/>
              <a:latin typeface="Century Gothic" panose="020B0502020202020204" pitchFamily="34" charset="0"/>
            </a:endParaRPr>
          </a:p>
        </p:txBody>
      </p:sp>
    </p:spTree>
    <p:extLst>
      <p:ext uri="{BB962C8B-B14F-4D97-AF65-F5344CB8AC3E}">
        <p14:creationId xmlns:p14="http://schemas.microsoft.com/office/powerpoint/2010/main" val="1918205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4CBEE47-4141-2200-9A33-ADE75DA0B25B}"/>
              </a:ext>
            </a:extLst>
          </p:cNvPr>
          <p:cNvSpPr txBox="1"/>
          <p:nvPr/>
        </p:nvSpPr>
        <p:spPr>
          <a:xfrm>
            <a:off x="2618332" y="1524248"/>
            <a:ext cx="7006725" cy="3348609"/>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3600" kern="0">
                <a:solidFill>
                  <a:prstClr val="white"/>
                </a:solidFill>
                <a:latin typeface="Century Gothic" panose="020B0502020202020204" pitchFamily="34" charset="0"/>
              </a:rPr>
              <a:t>The </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sz="13600" kern="0">
                <a:solidFill>
                  <a:prstClr val="white"/>
                </a:solidFill>
                <a:latin typeface="Century Gothic" panose="020B0502020202020204" pitchFamily="34" charset="0"/>
              </a:rPr>
              <a:t>Problem</a:t>
            </a:r>
            <a:endParaRPr kumimoji="0" lang="en-US" sz="1360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25" name="Group 24">
            <a:extLst>
              <a:ext uri="{FF2B5EF4-FFF2-40B4-BE49-F238E27FC236}">
                <a16:creationId xmlns:a16="http://schemas.microsoft.com/office/drawing/2014/main" id="{47DC4B3A-0AD4-E06B-F336-E86A673A779E}"/>
              </a:ext>
            </a:extLst>
          </p:cNvPr>
          <p:cNvGrpSpPr/>
          <p:nvPr/>
        </p:nvGrpSpPr>
        <p:grpSpPr>
          <a:xfrm>
            <a:off x="1707481" y="9066843"/>
            <a:ext cx="8777039" cy="2853260"/>
            <a:chOff x="1707481" y="2462663"/>
            <a:chExt cx="8777039" cy="2853260"/>
          </a:xfrm>
        </p:grpSpPr>
        <p:sp>
          <p:nvSpPr>
            <p:cNvPr id="31" name="TextBox 30">
              <a:extLst>
                <a:ext uri="{FF2B5EF4-FFF2-40B4-BE49-F238E27FC236}">
                  <a16:creationId xmlns:a16="http://schemas.microsoft.com/office/drawing/2014/main" id="{61AA8404-D5C9-11C6-1D04-B117FB793719}"/>
                </a:ext>
              </a:extLst>
            </p:cNvPr>
            <p:cNvSpPr txBox="1"/>
            <p:nvPr/>
          </p:nvSpPr>
          <p:spPr>
            <a:xfrm>
              <a:off x="1707481" y="2462663"/>
              <a:ext cx="8777039" cy="1873333"/>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5400" b="0" i="0" u="none" strike="noStrike" kern="1200" cap="none" spc="-150" normalizeH="0" baseline="0" noProof="0">
                  <a:ln>
                    <a:noFill/>
                  </a:ln>
                  <a:solidFill>
                    <a:prstClr val="white"/>
                  </a:solidFill>
                  <a:effectLst/>
                  <a:uLnTx/>
                  <a:uFillTx/>
                  <a:latin typeface="Darker Grotesque SemiBold"/>
                  <a:ea typeface="+mn-ea"/>
                  <a:cs typeface="+mn-cs"/>
                </a:rPr>
                <a:t>Your super-duper awesome mission goes right</a:t>
              </a:r>
              <a:r>
                <a:rPr kumimoji="0" lang="en-GB" sz="5400" b="0" i="0" u="none" strike="noStrike" kern="1200" cap="none" spc="-150" normalizeH="0" noProof="0">
                  <a:ln>
                    <a:noFill/>
                  </a:ln>
                  <a:solidFill>
                    <a:prstClr val="white"/>
                  </a:solidFill>
                  <a:effectLst/>
                  <a:uLnTx/>
                  <a:uFillTx/>
                  <a:latin typeface="Darker Grotesque SemiBold"/>
                  <a:ea typeface="+mn-ea"/>
                  <a:cs typeface="+mn-cs"/>
                </a:rPr>
                <a:t> here. 10x your PPT skills with One Skill.</a:t>
              </a:r>
              <a:endParaRPr kumimoji="0" lang="en-GB" sz="5400" b="0" i="0" u="none" strike="noStrike" kern="1200" cap="none" spc="-150" normalizeH="0" baseline="0" noProof="0">
                <a:ln>
                  <a:noFill/>
                </a:ln>
                <a:solidFill>
                  <a:prstClr val="white"/>
                </a:solidFill>
                <a:effectLst/>
                <a:uLnTx/>
                <a:uFillTx/>
                <a:latin typeface="Darker Grotesque SemiBold"/>
                <a:ea typeface="+mn-ea"/>
                <a:cs typeface="+mn-cs"/>
              </a:endParaRPr>
            </a:p>
          </p:txBody>
        </p:sp>
        <p:grpSp>
          <p:nvGrpSpPr>
            <p:cNvPr id="32" name="Group 31">
              <a:extLst>
                <a:ext uri="{FF2B5EF4-FFF2-40B4-BE49-F238E27FC236}">
                  <a16:creationId xmlns:a16="http://schemas.microsoft.com/office/drawing/2014/main" id="{0E7F377E-C35C-B198-E068-304FE63FF75C}"/>
                </a:ext>
              </a:extLst>
            </p:cNvPr>
            <p:cNvGrpSpPr/>
            <p:nvPr/>
          </p:nvGrpSpPr>
          <p:grpSpPr>
            <a:xfrm>
              <a:off x="1794947" y="4633703"/>
              <a:ext cx="2093188" cy="682220"/>
              <a:chOff x="661888" y="3503215"/>
              <a:chExt cx="2093188" cy="682220"/>
            </a:xfrm>
          </p:grpSpPr>
          <p:pic>
            <p:nvPicPr>
              <p:cNvPr id="33" name="Picture 32">
                <a:extLst>
                  <a:ext uri="{FF2B5EF4-FFF2-40B4-BE49-F238E27FC236}">
                    <a16:creationId xmlns:a16="http://schemas.microsoft.com/office/drawing/2014/main" id="{477FDB6C-B654-4EDA-9E91-01C6388668F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61888" y="3503215"/>
                <a:ext cx="682220" cy="682220"/>
              </a:xfrm>
              <a:prstGeom prst="ellipse">
                <a:avLst/>
              </a:prstGeom>
            </p:spPr>
          </p:pic>
          <p:sp>
            <p:nvSpPr>
              <p:cNvPr id="34" name="TextBox 33">
                <a:extLst>
                  <a:ext uri="{FF2B5EF4-FFF2-40B4-BE49-F238E27FC236}">
                    <a16:creationId xmlns:a16="http://schemas.microsoft.com/office/drawing/2014/main" id="{9DC77D4C-A236-5446-0E6C-20FAE213677B}"/>
                  </a:ext>
                </a:extLst>
              </p:cNvPr>
              <p:cNvSpPr txBox="1"/>
              <p:nvPr/>
            </p:nvSpPr>
            <p:spPr>
              <a:xfrm>
                <a:off x="1390600" y="3553301"/>
                <a:ext cx="136447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Darker Grotesque" pitchFamily="2" charset="0"/>
                  </a:rPr>
                  <a:t>One Skill</a:t>
                </a:r>
                <a:endParaRPr kumimoji="0" lang="en-GB" sz="1400" b="0" i="0" u="none" strike="noStrike" kern="1200" cap="none" spc="0" normalizeH="0" baseline="0" noProof="0">
                  <a:ln>
                    <a:noFill/>
                  </a:ln>
                  <a:solidFill>
                    <a:prstClr val="white">
                      <a:lumMod val="50000"/>
                    </a:prstClr>
                  </a:solidFill>
                  <a:effectLst/>
                  <a:uLnTx/>
                  <a:uFillTx/>
                  <a:latin typeface="Darker Grotesque"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Darker Grotesque SemiBold"/>
                    <a:ea typeface="+mn-ea"/>
                    <a:cs typeface="+mn-cs"/>
                  </a:rPr>
                  <a:t>PPT Connoisseur </a:t>
                </a:r>
                <a:endParaRPr kumimoji="0" lang="en-US" sz="1400" b="0" i="0" u="none" strike="noStrike" kern="1200" cap="none" spc="0" normalizeH="0" baseline="0" noProof="0">
                  <a:ln>
                    <a:noFill/>
                  </a:ln>
                  <a:solidFill>
                    <a:prstClr val="white"/>
                  </a:solidFill>
                  <a:effectLst/>
                  <a:uLnTx/>
                  <a:uFillTx/>
                  <a:latin typeface="Darker Grotesque SemiBold"/>
                  <a:ea typeface="+mn-ea"/>
                  <a:cs typeface="+mn-cs"/>
                </a:endParaRPr>
              </a:p>
            </p:txBody>
          </p:sp>
        </p:grpSp>
      </p:grpSp>
      <p:grpSp>
        <p:nvGrpSpPr>
          <p:cNvPr id="26" name="Group 25">
            <a:extLst>
              <a:ext uri="{FF2B5EF4-FFF2-40B4-BE49-F238E27FC236}">
                <a16:creationId xmlns:a16="http://schemas.microsoft.com/office/drawing/2014/main" id="{9418E4A9-697A-F984-D410-E0EBA0D710B6}"/>
              </a:ext>
            </a:extLst>
          </p:cNvPr>
          <p:cNvGrpSpPr/>
          <p:nvPr/>
        </p:nvGrpSpPr>
        <p:grpSpPr>
          <a:xfrm>
            <a:off x="299484" y="7434459"/>
            <a:ext cx="11644423" cy="507586"/>
            <a:chOff x="299484" y="369986"/>
            <a:chExt cx="11644423" cy="507586"/>
          </a:xfrm>
        </p:grpSpPr>
        <p:cxnSp>
          <p:nvCxnSpPr>
            <p:cNvPr id="27" name="Straight Connector 26">
              <a:extLst>
                <a:ext uri="{FF2B5EF4-FFF2-40B4-BE49-F238E27FC236}">
                  <a16:creationId xmlns:a16="http://schemas.microsoft.com/office/drawing/2014/main" id="{03D533FC-301F-4241-F885-36A143CB5AD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8" name="!!mission">
              <a:extLst>
                <a:ext uri="{FF2B5EF4-FFF2-40B4-BE49-F238E27FC236}">
                  <a16:creationId xmlns:a16="http://schemas.microsoft.com/office/drawing/2014/main" id="{78936679-7C61-4065-06C1-7E6D95B9FA11}"/>
                </a:ext>
              </a:extLst>
            </p:cNvPr>
            <p:cNvGrpSpPr/>
            <p:nvPr/>
          </p:nvGrpSpPr>
          <p:grpSpPr>
            <a:xfrm>
              <a:off x="5842207" y="369986"/>
              <a:ext cx="507586" cy="507586"/>
              <a:chOff x="1700837" y="1711757"/>
              <a:chExt cx="507586" cy="507586"/>
            </a:xfrm>
          </p:grpSpPr>
          <p:sp useBgFill="1">
            <p:nvSpPr>
              <p:cNvPr id="29" name="Oval 28">
                <a:extLst>
                  <a:ext uri="{FF2B5EF4-FFF2-40B4-BE49-F238E27FC236}">
                    <a16:creationId xmlns:a16="http://schemas.microsoft.com/office/drawing/2014/main" id="{971099E7-F054-4A7B-A4C7-FB199C82A717}"/>
                  </a:ext>
                </a:extLst>
              </p:cNvPr>
              <p:cNvSpPr/>
              <p:nvPr/>
            </p:nvSpPr>
            <p:spPr>
              <a:xfrm>
                <a:off x="1700837" y="1711757"/>
                <a:ext cx="507586" cy="507586"/>
              </a:xfrm>
              <a:prstGeom prst="ellipse">
                <a:avLst/>
              </a:prstGeom>
              <a:blipFill dpi="0" rotWithShape="0">
                <a:blip r:embed="rId4">
                  <a:lum/>
                </a:blip>
                <a:srcRect/>
                <a:stretch>
                  <a:fillRect l="-379491" t="-367961" r="-1922467"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30" name="Graphic 29">
                <a:extLst>
                  <a:ext uri="{FF2B5EF4-FFF2-40B4-BE49-F238E27FC236}">
                    <a16:creationId xmlns:a16="http://schemas.microsoft.com/office/drawing/2014/main" id="{6EE4E794-E472-C5DB-EC17-CB376EC148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8630" y="1839550"/>
                <a:ext cx="252000" cy="252000"/>
              </a:xfrm>
              <a:prstGeom prst="rect">
                <a:avLst/>
              </a:prstGeom>
            </p:spPr>
          </p:pic>
        </p:grpSp>
      </p:grpSp>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0">
        <p159:morph option="byObject"/>
      </p:transition>
    </mc:Choice>
    <mc:Fallback xmlns="">
      <p:transition spd="slow"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4CBEE47-4141-2200-9A33-ADE75DA0B25B}"/>
              </a:ext>
            </a:extLst>
          </p:cNvPr>
          <p:cNvSpPr txBox="1"/>
          <p:nvPr/>
        </p:nvSpPr>
        <p:spPr>
          <a:xfrm>
            <a:off x="2618332" y="1524248"/>
            <a:ext cx="7006725" cy="3348609"/>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3600" kern="0">
                <a:solidFill>
                  <a:prstClr val="white"/>
                </a:solidFill>
                <a:latin typeface="Century Gothic" panose="020B0502020202020204" pitchFamily="34" charset="0"/>
              </a:rPr>
              <a:t>The </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sz="13600" kern="0">
                <a:solidFill>
                  <a:prstClr val="white"/>
                </a:solidFill>
                <a:latin typeface="Century Gothic" panose="020B0502020202020204" pitchFamily="34" charset="0"/>
              </a:rPr>
              <a:t>Problem</a:t>
            </a:r>
            <a:endParaRPr kumimoji="0" lang="en-US" sz="1360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25" name="Group 24">
            <a:extLst>
              <a:ext uri="{FF2B5EF4-FFF2-40B4-BE49-F238E27FC236}">
                <a16:creationId xmlns:a16="http://schemas.microsoft.com/office/drawing/2014/main" id="{47DC4B3A-0AD4-E06B-F336-E86A673A779E}"/>
              </a:ext>
            </a:extLst>
          </p:cNvPr>
          <p:cNvGrpSpPr/>
          <p:nvPr/>
        </p:nvGrpSpPr>
        <p:grpSpPr>
          <a:xfrm>
            <a:off x="1707481" y="9066843"/>
            <a:ext cx="8777039" cy="2853260"/>
            <a:chOff x="1707481" y="2462663"/>
            <a:chExt cx="8777039" cy="2853260"/>
          </a:xfrm>
        </p:grpSpPr>
        <p:sp>
          <p:nvSpPr>
            <p:cNvPr id="31" name="TextBox 30">
              <a:extLst>
                <a:ext uri="{FF2B5EF4-FFF2-40B4-BE49-F238E27FC236}">
                  <a16:creationId xmlns:a16="http://schemas.microsoft.com/office/drawing/2014/main" id="{61AA8404-D5C9-11C6-1D04-B117FB793719}"/>
                </a:ext>
              </a:extLst>
            </p:cNvPr>
            <p:cNvSpPr txBox="1"/>
            <p:nvPr/>
          </p:nvSpPr>
          <p:spPr>
            <a:xfrm>
              <a:off x="1707481" y="2462663"/>
              <a:ext cx="8777039" cy="1873333"/>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5400" b="0" i="0" u="none" strike="noStrike" kern="1200" cap="none" spc="-150" normalizeH="0" baseline="0" noProof="0">
                  <a:ln>
                    <a:noFill/>
                  </a:ln>
                  <a:solidFill>
                    <a:prstClr val="white"/>
                  </a:solidFill>
                  <a:effectLst/>
                  <a:uLnTx/>
                  <a:uFillTx/>
                  <a:latin typeface="Darker Grotesque SemiBold"/>
                  <a:ea typeface="+mn-ea"/>
                  <a:cs typeface="+mn-cs"/>
                </a:rPr>
                <a:t>Your super-duper awesome mission goes right</a:t>
              </a:r>
              <a:r>
                <a:rPr kumimoji="0" lang="en-GB" sz="5400" b="0" i="0" u="none" strike="noStrike" kern="1200" cap="none" spc="-150" normalizeH="0" noProof="0">
                  <a:ln>
                    <a:noFill/>
                  </a:ln>
                  <a:solidFill>
                    <a:prstClr val="white"/>
                  </a:solidFill>
                  <a:effectLst/>
                  <a:uLnTx/>
                  <a:uFillTx/>
                  <a:latin typeface="Darker Grotesque SemiBold"/>
                  <a:ea typeface="+mn-ea"/>
                  <a:cs typeface="+mn-cs"/>
                </a:rPr>
                <a:t> here. 10x your PPT skills with One Skill.</a:t>
              </a:r>
              <a:endParaRPr kumimoji="0" lang="en-GB" sz="5400" b="0" i="0" u="none" strike="noStrike" kern="1200" cap="none" spc="-150" normalizeH="0" baseline="0" noProof="0">
                <a:ln>
                  <a:noFill/>
                </a:ln>
                <a:solidFill>
                  <a:prstClr val="white"/>
                </a:solidFill>
                <a:effectLst/>
                <a:uLnTx/>
                <a:uFillTx/>
                <a:latin typeface="Darker Grotesque SemiBold"/>
                <a:ea typeface="+mn-ea"/>
                <a:cs typeface="+mn-cs"/>
              </a:endParaRPr>
            </a:p>
          </p:txBody>
        </p:sp>
        <p:grpSp>
          <p:nvGrpSpPr>
            <p:cNvPr id="32" name="Group 31">
              <a:extLst>
                <a:ext uri="{FF2B5EF4-FFF2-40B4-BE49-F238E27FC236}">
                  <a16:creationId xmlns:a16="http://schemas.microsoft.com/office/drawing/2014/main" id="{0E7F377E-C35C-B198-E068-304FE63FF75C}"/>
                </a:ext>
              </a:extLst>
            </p:cNvPr>
            <p:cNvGrpSpPr/>
            <p:nvPr/>
          </p:nvGrpSpPr>
          <p:grpSpPr>
            <a:xfrm>
              <a:off x="1794947" y="4633703"/>
              <a:ext cx="2093188" cy="682220"/>
              <a:chOff x="661888" y="3503215"/>
              <a:chExt cx="2093188" cy="682220"/>
            </a:xfrm>
          </p:grpSpPr>
          <p:pic>
            <p:nvPicPr>
              <p:cNvPr id="33" name="Picture 32">
                <a:extLst>
                  <a:ext uri="{FF2B5EF4-FFF2-40B4-BE49-F238E27FC236}">
                    <a16:creationId xmlns:a16="http://schemas.microsoft.com/office/drawing/2014/main" id="{477FDB6C-B654-4EDA-9E91-01C6388668F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61888" y="3503215"/>
                <a:ext cx="682220" cy="682220"/>
              </a:xfrm>
              <a:prstGeom prst="ellipse">
                <a:avLst/>
              </a:prstGeom>
            </p:spPr>
          </p:pic>
          <p:sp>
            <p:nvSpPr>
              <p:cNvPr id="34" name="TextBox 33">
                <a:extLst>
                  <a:ext uri="{FF2B5EF4-FFF2-40B4-BE49-F238E27FC236}">
                    <a16:creationId xmlns:a16="http://schemas.microsoft.com/office/drawing/2014/main" id="{9DC77D4C-A236-5446-0E6C-20FAE213677B}"/>
                  </a:ext>
                </a:extLst>
              </p:cNvPr>
              <p:cNvSpPr txBox="1"/>
              <p:nvPr/>
            </p:nvSpPr>
            <p:spPr>
              <a:xfrm>
                <a:off x="1390600" y="3553301"/>
                <a:ext cx="136447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Darker Grotesque" pitchFamily="2" charset="0"/>
                  </a:rPr>
                  <a:t>One Skill</a:t>
                </a:r>
                <a:endParaRPr kumimoji="0" lang="en-GB" sz="1400" b="0" i="0" u="none" strike="noStrike" kern="1200" cap="none" spc="0" normalizeH="0" baseline="0" noProof="0">
                  <a:ln>
                    <a:noFill/>
                  </a:ln>
                  <a:solidFill>
                    <a:prstClr val="white">
                      <a:lumMod val="50000"/>
                    </a:prstClr>
                  </a:solidFill>
                  <a:effectLst/>
                  <a:uLnTx/>
                  <a:uFillTx/>
                  <a:latin typeface="Darker Grotesque"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Darker Grotesque SemiBold"/>
                    <a:ea typeface="+mn-ea"/>
                    <a:cs typeface="+mn-cs"/>
                  </a:rPr>
                  <a:t>PPT Connoisseur </a:t>
                </a:r>
                <a:endParaRPr kumimoji="0" lang="en-US" sz="1400" b="0" i="0" u="none" strike="noStrike" kern="1200" cap="none" spc="0" normalizeH="0" baseline="0" noProof="0">
                  <a:ln>
                    <a:noFill/>
                  </a:ln>
                  <a:solidFill>
                    <a:prstClr val="white"/>
                  </a:solidFill>
                  <a:effectLst/>
                  <a:uLnTx/>
                  <a:uFillTx/>
                  <a:latin typeface="Darker Grotesque SemiBold"/>
                  <a:ea typeface="+mn-ea"/>
                  <a:cs typeface="+mn-cs"/>
                </a:endParaRPr>
              </a:p>
            </p:txBody>
          </p:sp>
        </p:grpSp>
      </p:grpSp>
      <p:grpSp>
        <p:nvGrpSpPr>
          <p:cNvPr id="26" name="Group 25">
            <a:extLst>
              <a:ext uri="{FF2B5EF4-FFF2-40B4-BE49-F238E27FC236}">
                <a16:creationId xmlns:a16="http://schemas.microsoft.com/office/drawing/2014/main" id="{9418E4A9-697A-F984-D410-E0EBA0D710B6}"/>
              </a:ext>
            </a:extLst>
          </p:cNvPr>
          <p:cNvGrpSpPr/>
          <p:nvPr/>
        </p:nvGrpSpPr>
        <p:grpSpPr>
          <a:xfrm>
            <a:off x="299484" y="7434459"/>
            <a:ext cx="11644423" cy="507586"/>
            <a:chOff x="299484" y="369986"/>
            <a:chExt cx="11644423" cy="507586"/>
          </a:xfrm>
        </p:grpSpPr>
        <p:cxnSp>
          <p:nvCxnSpPr>
            <p:cNvPr id="27" name="Straight Connector 26">
              <a:extLst>
                <a:ext uri="{FF2B5EF4-FFF2-40B4-BE49-F238E27FC236}">
                  <a16:creationId xmlns:a16="http://schemas.microsoft.com/office/drawing/2014/main" id="{03D533FC-301F-4241-F885-36A143CB5AD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8" name="!!mission">
              <a:extLst>
                <a:ext uri="{FF2B5EF4-FFF2-40B4-BE49-F238E27FC236}">
                  <a16:creationId xmlns:a16="http://schemas.microsoft.com/office/drawing/2014/main" id="{78936679-7C61-4065-06C1-7E6D95B9FA11}"/>
                </a:ext>
              </a:extLst>
            </p:cNvPr>
            <p:cNvGrpSpPr/>
            <p:nvPr/>
          </p:nvGrpSpPr>
          <p:grpSpPr>
            <a:xfrm>
              <a:off x="5842207" y="369986"/>
              <a:ext cx="507586" cy="507586"/>
              <a:chOff x="1700837" y="1711757"/>
              <a:chExt cx="507586" cy="507586"/>
            </a:xfrm>
          </p:grpSpPr>
          <p:sp useBgFill="1">
            <p:nvSpPr>
              <p:cNvPr id="29" name="Oval 28">
                <a:extLst>
                  <a:ext uri="{FF2B5EF4-FFF2-40B4-BE49-F238E27FC236}">
                    <a16:creationId xmlns:a16="http://schemas.microsoft.com/office/drawing/2014/main" id="{971099E7-F054-4A7B-A4C7-FB199C82A717}"/>
                  </a:ext>
                </a:extLst>
              </p:cNvPr>
              <p:cNvSpPr/>
              <p:nvPr/>
            </p:nvSpPr>
            <p:spPr>
              <a:xfrm>
                <a:off x="1700837" y="1711757"/>
                <a:ext cx="507586" cy="507586"/>
              </a:xfrm>
              <a:prstGeom prst="ellipse">
                <a:avLst/>
              </a:prstGeom>
              <a:blipFill dpi="0" rotWithShape="0">
                <a:blip r:embed="rId4">
                  <a:lum/>
                </a:blip>
                <a:srcRect/>
                <a:stretch>
                  <a:fillRect l="-379491" t="-367961" r="-1922467"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30" name="Graphic 29">
                <a:extLst>
                  <a:ext uri="{FF2B5EF4-FFF2-40B4-BE49-F238E27FC236}">
                    <a16:creationId xmlns:a16="http://schemas.microsoft.com/office/drawing/2014/main" id="{6EE4E794-E472-C5DB-EC17-CB376EC148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8630" y="1839550"/>
                <a:ext cx="252000" cy="252000"/>
              </a:xfrm>
              <a:prstGeom prst="rect">
                <a:avLst/>
              </a:prstGeom>
            </p:spPr>
          </p:pic>
        </p:grpSp>
      </p:grpSp>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0">
        <p159:morph option="byObject"/>
      </p:transition>
    </mc:Choice>
    <mc:Fallback>
      <p:transition spd="slow" advTm="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on a chair&#10;&#10;AI-generated content may be incorrect.">
            <a:extLst>
              <a:ext uri="{FF2B5EF4-FFF2-40B4-BE49-F238E27FC236}">
                <a16:creationId xmlns:a16="http://schemas.microsoft.com/office/drawing/2014/main" id="{E002697B-9FAE-AAE0-9B05-1B4940BC7755}"/>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val="0"/>
              </a:ext>
            </a:extLst>
          </a:blip>
          <a:stretch>
            <a:fillRect/>
          </a:stretch>
        </p:blipFill>
        <p:spPr>
          <a:xfrm>
            <a:off x="0" y="0"/>
            <a:ext cx="12192000" cy="7439186"/>
          </a:xfrm>
          <a:prstGeom prst="rect">
            <a:avLst/>
          </a:prstGeom>
        </p:spPr>
      </p:pic>
      <p:sp>
        <p:nvSpPr>
          <p:cNvPr id="8" name="TextBox 7">
            <a:extLst>
              <a:ext uri="{FF2B5EF4-FFF2-40B4-BE49-F238E27FC236}">
                <a16:creationId xmlns:a16="http://schemas.microsoft.com/office/drawing/2014/main" id="{CF2753BC-A19C-EA62-95CA-98BE0DAD536F}"/>
              </a:ext>
            </a:extLst>
          </p:cNvPr>
          <p:cNvSpPr txBox="1"/>
          <p:nvPr/>
        </p:nvSpPr>
        <p:spPr>
          <a:xfrm>
            <a:off x="427342" y="407551"/>
            <a:ext cx="11974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F3D4A"/>
                </a:solidFill>
                <a:effectLst/>
                <a:uLnTx/>
                <a:uFillTx/>
                <a:latin typeface="Darker Grotesque" pitchFamily="2" charset="0"/>
              </a:rPr>
              <a:t>The Problem</a:t>
            </a:r>
          </a:p>
        </p:txBody>
      </p:sp>
      <p:sp>
        <p:nvSpPr>
          <p:cNvPr id="15" name="TextBox 14">
            <a:extLst>
              <a:ext uri="{FF2B5EF4-FFF2-40B4-BE49-F238E27FC236}">
                <a16:creationId xmlns:a16="http://schemas.microsoft.com/office/drawing/2014/main" id="{D6176D25-46DC-8511-5261-2FB41F2FA223}"/>
              </a:ext>
            </a:extLst>
          </p:cNvPr>
          <p:cNvSpPr txBox="1"/>
          <p:nvPr/>
        </p:nvSpPr>
        <p:spPr>
          <a:xfrm>
            <a:off x="534326" y="3591262"/>
            <a:ext cx="6887651" cy="1446550"/>
          </a:xfrm>
          <a:prstGeom prst="rect">
            <a:avLst/>
          </a:prstGeom>
          <a:noFill/>
        </p:spPr>
        <p:txBody>
          <a:bodyPr wrap="square" rtlCol="0">
            <a:spAutoFit/>
          </a:bodyPr>
          <a:lstStyle/>
          <a:p>
            <a:pPr lvl="0">
              <a:defRPr/>
            </a:pPr>
            <a:r>
              <a:rPr lang="en-US" sz="4400" b="1">
                <a:solidFill>
                  <a:schemeClr val="tx2"/>
                </a:solidFill>
              </a:rPr>
              <a:t>65% of older adults</a:t>
            </a:r>
            <a:r>
              <a:rPr lang="en-US" sz="4400">
                <a:solidFill>
                  <a:schemeClr val="tx2"/>
                </a:solidFill>
              </a:rPr>
              <a:t> report </a:t>
            </a:r>
            <a:r>
              <a:rPr lang="en-US" sz="4400" b="1">
                <a:solidFill>
                  <a:schemeClr val="tx2"/>
                </a:solidFill>
              </a:rPr>
              <a:t>chronic musculoskeletal pain</a:t>
            </a:r>
            <a:endParaRPr lang="en-US" sz="4400" spc="-150">
              <a:solidFill>
                <a:schemeClr val="tx2"/>
              </a:solidFill>
              <a:latin typeface="Darker Grotesque SemiBold"/>
            </a:endParaRPr>
          </a:p>
        </p:txBody>
      </p:sp>
      <p:grpSp>
        <p:nvGrpSpPr>
          <p:cNvPr id="13" name="Group 12">
            <a:extLst>
              <a:ext uri="{FF2B5EF4-FFF2-40B4-BE49-F238E27FC236}">
                <a16:creationId xmlns:a16="http://schemas.microsoft.com/office/drawing/2014/main" id="{CE78C0B1-9145-3B15-D39F-A30E0292DE88}"/>
              </a:ext>
            </a:extLst>
          </p:cNvPr>
          <p:cNvGrpSpPr/>
          <p:nvPr/>
        </p:nvGrpSpPr>
        <p:grpSpPr>
          <a:xfrm>
            <a:off x="273788" y="407551"/>
            <a:ext cx="11644423" cy="507586"/>
            <a:chOff x="299484" y="369986"/>
            <a:chExt cx="11644423" cy="507586"/>
          </a:xfrm>
        </p:grpSpPr>
        <p:cxnSp>
          <p:nvCxnSpPr>
            <p:cNvPr id="5" name="Straight Connector 4">
              <a:extLst>
                <a:ext uri="{FF2B5EF4-FFF2-40B4-BE49-F238E27FC236}">
                  <a16:creationId xmlns:a16="http://schemas.microsoft.com/office/drawing/2014/main" id="{8DE788B0-3D24-B444-9A30-B6D3868BFED3}"/>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grpSp>
          <p:nvGrpSpPr>
            <p:cNvPr id="10" name="!!mission">
              <a:extLst>
                <a:ext uri="{FF2B5EF4-FFF2-40B4-BE49-F238E27FC236}">
                  <a16:creationId xmlns:a16="http://schemas.microsoft.com/office/drawing/2014/main" id="{98F7707E-45E4-7874-747F-539EE3211649}"/>
                </a:ext>
              </a:extLst>
            </p:cNvPr>
            <p:cNvGrpSpPr/>
            <p:nvPr/>
          </p:nvGrpSpPr>
          <p:grpSpPr>
            <a:xfrm>
              <a:off x="5842207" y="369986"/>
              <a:ext cx="507586" cy="507586"/>
              <a:chOff x="1700837" y="1711757"/>
              <a:chExt cx="507586" cy="507586"/>
            </a:xfrm>
          </p:grpSpPr>
          <p:sp>
            <p:nvSpPr>
              <p:cNvPr id="11" name="Oval 10">
                <a:extLst>
                  <a:ext uri="{FF2B5EF4-FFF2-40B4-BE49-F238E27FC236}">
                    <a16:creationId xmlns:a16="http://schemas.microsoft.com/office/drawing/2014/main" id="{174FF9FF-5E40-050C-56CC-5CC8886A5C3A}"/>
                  </a:ext>
                </a:extLst>
              </p:cNvPr>
              <p:cNvSpPr/>
              <p:nvPr/>
            </p:nvSpPr>
            <p:spPr>
              <a:xfrm>
                <a:off x="1700837" y="1711757"/>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12" name="Graphic 11">
                <a:extLst>
                  <a:ext uri="{FF2B5EF4-FFF2-40B4-BE49-F238E27FC236}">
                    <a16:creationId xmlns:a16="http://schemas.microsoft.com/office/drawing/2014/main" id="{AFDAC79A-DBA9-31BE-8292-1DCB10D53F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8630" y="1839550"/>
                <a:ext cx="252000" cy="252000"/>
              </a:xfrm>
              <a:prstGeom prst="rect">
                <a:avLst/>
              </a:prstGeom>
            </p:spPr>
          </p:pic>
        </p:grpSp>
      </p:grpSp>
      <p:pic>
        <p:nvPicPr>
          <p:cNvPr id="19" name="quackdaduck._httpss.mj.runBqf6fMxgPV4_base_on_the_given_image_72c06c59-afc3-4389-84b4-9559cfcb9c6d_3">
            <a:hlinkClick r:id="" action="ppaction://media"/>
            <a:extLst>
              <a:ext uri="{FF2B5EF4-FFF2-40B4-BE49-F238E27FC236}">
                <a16:creationId xmlns:a16="http://schemas.microsoft.com/office/drawing/2014/main" id="{AAF07FA9-C5A9-1746-0CF2-38A24B358D08}"/>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7561070" y="1340704"/>
            <a:ext cx="3951482" cy="5562023"/>
          </a:xfrm>
          <a:prstGeom prst="rect">
            <a:avLst/>
          </a:prstGeom>
        </p:spPr>
      </p:pic>
      <p:grpSp>
        <p:nvGrpSpPr>
          <p:cNvPr id="20" name="Group 19">
            <a:extLst>
              <a:ext uri="{FF2B5EF4-FFF2-40B4-BE49-F238E27FC236}">
                <a16:creationId xmlns:a16="http://schemas.microsoft.com/office/drawing/2014/main" id="{7A00A103-E80B-1AE1-B0C8-D6E161E8A366}"/>
              </a:ext>
            </a:extLst>
          </p:cNvPr>
          <p:cNvGrpSpPr/>
          <p:nvPr/>
        </p:nvGrpSpPr>
        <p:grpSpPr>
          <a:xfrm>
            <a:off x="1390661" y="-3905061"/>
            <a:ext cx="8851700" cy="3646030"/>
            <a:chOff x="1670150" y="1637219"/>
            <a:chExt cx="8851700" cy="3646030"/>
          </a:xfrm>
        </p:grpSpPr>
        <p:grpSp>
          <p:nvGrpSpPr>
            <p:cNvPr id="21" name="Group 20">
              <a:extLst>
                <a:ext uri="{FF2B5EF4-FFF2-40B4-BE49-F238E27FC236}">
                  <a16:creationId xmlns:a16="http://schemas.microsoft.com/office/drawing/2014/main" id="{852C2A85-7BB8-DF31-43BD-79DF9C25D4D7}"/>
                </a:ext>
              </a:extLst>
            </p:cNvPr>
            <p:cNvGrpSpPr/>
            <p:nvPr/>
          </p:nvGrpSpPr>
          <p:grpSpPr>
            <a:xfrm>
              <a:off x="1794389" y="2982796"/>
              <a:ext cx="7962261" cy="2300453"/>
              <a:chOff x="1847058" y="3545303"/>
              <a:chExt cx="7962261" cy="2300453"/>
            </a:xfrm>
          </p:grpSpPr>
          <p:sp>
            <p:nvSpPr>
              <p:cNvPr id="23" name="TextBox 22">
                <a:extLst>
                  <a:ext uri="{FF2B5EF4-FFF2-40B4-BE49-F238E27FC236}">
                    <a16:creationId xmlns:a16="http://schemas.microsoft.com/office/drawing/2014/main" id="{78B963A3-2FDA-C368-7024-D6A79D7190AF}"/>
                  </a:ext>
                </a:extLst>
              </p:cNvPr>
              <p:cNvSpPr txBox="1"/>
              <p:nvPr/>
            </p:nvSpPr>
            <p:spPr>
              <a:xfrm>
                <a:off x="1847058" y="4522317"/>
                <a:ext cx="2551123" cy="132343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sz="2000">
                    <a:solidFill>
                      <a:schemeClr val="tx1"/>
                    </a:solidFill>
                  </a:rPr>
                  <a:t>pain causes from </a:t>
                </a:r>
                <a:r>
                  <a:rPr lang="en-GB" sz="2000">
                    <a:solidFill>
                      <a:schemeClr val="bg1"/>
                    </a:solidFill>
                    <a:highlight>
                      <a:srgbClr val="2F3D4A"/>
                    </a:highlight>
                  </a:rPr>
                  <a:t>knee/hip discomfort</a:t>
                </a:r>
                <a:r>
                  <a:rPr lang="en-GB" sz="2000">
                    <a:solidFill>
                      <a:schemeClr val="bg1"/>
                    </a:solidFill>
                  </a:rPr>
                  <a:t> </a:t>
                </a:r>
                <a:r>
                  <a:rPr lang="en-GB" sz="2000">
                    <a:solidFill>
                      <a:schemeClr val="tx1"/>
                    </a:solidFill>
                  </a:rPr>
                  <a:t>when standing up from a chair.</a:t>
                </a:r>
              </a:p>
            </p:txBody>
          </p:sp>
          <p:grpSp>
            <p:nvGrpSpPr>
              <p:cNvPr id="24" name="Group 23">
                <a:extLst>
                  <a:ext uri="{FF2B5EF4-FFF2-40B4-BE49-F238E27FC236}">
                    <a16:creationId xmlns:a16="http://schemas.microsoft.com/office/drawing/2014/main" id="{13516078-CB69-DE8E-9A98-966124BE1DD7}"/>
                  </a:ext>
                </a:extLst>
              </p:cNvPr>
              <p:cNvGrpSpPr/>
              <p:nvPr/>
            </p:nvGrpSpPr>
            <p:grpSpPr>
              <a:xfrm>
                <a:off x="2385886" y="3545303"/>
                <a:ext cx="7423433" cy="1494530"/>
                <a:chOff x="2393899" y="3545303"/>
                <a:chExt cx="7423433" cy="1494530"/>
              </a:xfrm>
            </p:grpSpPr>
            <p:cxnSp>
              <p:nvCxnSpPr>
                <p:cNvPr id="25" name="Straight Connector 24">
                  <a:extLst>
                    <a:ext uri="{FF2B5EF4-FFF2-40B4-BE49-F238E27FC236}">
                      <a16:creationId xmlns:a16="http://schemas.microsoft.com/office/drawing/2014/main" id="{AC1F0DC5-4317-2E32-3B37-423CBE5FA701}"/>
                    </a:ext>
                  </a:extLst>
                </p:cNvPr>
                <p:cNvCxnSpPr>
                  <a:cxnSpLocks/>
                </p:cNvCxnSpPr>
                <p:nvPr/>
              </p:nvCxnSpPr>
              <p:spPr>
                <a:xfrm>
                  <a:off x="4659404"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6" name="TextBox 25">
                  <a:extLst>
                    <a:ext uri="{FF2B5EF4-FFF2-40B4-BE49-F238E27FC236}">
                      <a16:creationId xmlns:a16="http://schemas.microsoft.com/office/drawing/2014/main" id="{2A0FCEB9-AAA4-2007-2CD5-67849EE75421}"/>
                    </a:ext>
                  </a:extLst>
                </p:cNvPr>
                <p:cNvSpPr txBox="1"/>
                <p:nvPr/>
              </p:nvSpPr>
              <p:spPr>
                <a:xfrm>
                  <a:off x="5283118" y="3545303"/>
                  <a:ext cx="1648208"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a:solidFill>
                        <a:srgbClr val="27333D"/>
                      </a:solidFill>
                    </a:rPr>
                    <a:t>93%</a:t>
                  </a:r>
                  <a:endParaRPr lang="en-GB" sz="6600">
                    <a:solidFill>
                      <a:srgbClr val="27333D"/>
                    </a:solidFill>
                  </a:endParaRPr>
                </a:p>
              </p:txBody>
            </p:sp>
            <p:sp>
              <p:nvSpPr>
                <p:cNvPr id="27" name="TextBox 26">
                  <a:extLst>
                    <a:ext uri="{FF2B5EF4-FFF2-40B4-BE49-F238E27FC236}">
                      <a16:creationId xmlns:a16="http://schemas.microsoft.com/office/drawing/2014/main" id="{AE774B5C-D16B-EDF2-C4C4-4ED6633EB56E}"/>
                    </a:ext>
                  </a:extLst>
                </p:cNvPr>
                <p:cNvSpPr txBox="1"/>
                <p:nvPr/>
              </p:nvSpPr>
              <p:spPr>
                <a:xfrm>
                  <a:off x="8169125" y="3545303"/>
                  <a:ext cx="1648207"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AU" sz="6600">
                      <a:solidFill>
                        <a:srgbClr val="27333D"/>
                      </a:solidFill>
                    </a:rPr>
                    <a:t>97</a:t>
                  </a:r>
                  <a:r>
                    <a:rPr lang="en-US" sz="6600">
                      <a:solidFill>
                        <a:srgbClr val="27333D"/>
                      </a:solidFill>
                    </a:rPr>
                    <a:t>%</a:t>
                  </a:r>
                  <a:endParaRPr lang="en-GB" sz="6600">
                    <a:solidFill>
                      <a:srgbClr val="27333D"/>
                    </a:solidFill>
                  </a:endParaRPr>
                </a:p>
              </p:txBody>
            </p:sp>
            <p:sp>
              <p:nvSpPr>
                <p:cNvPr id="28" name="TextBox 27">
                  <a:extLst>
                    <a:ext uri="{FF2B5EF4-FFF2-40B4-BE49-F238E27FC236}">
                      <a16:creationId xmlns:a16="http://schemas.microsoft.com/office/drawing/2014/main" id="{AD8D34F8-B7AF-18A4-499B-3C0F176A707A}"/>
                    </a:ext>
                  </a:extLst>
                </p:cNvPr>
                <p:cNvSpPr txBox="1"/>
                <p:nvPr/>
              </p:nvSpPr>
              <p:spPr>
                <a:xfrm>
                  <a:off x="2393899" y="3545303"/>
                  <a:ext cx="1648208"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a:solidFill>
                        <a:srgbClr val="27333D"/>
                      </a:solidFill>
                    </a:rPr>
                    <a:t>87%</a:t>
                  </a:r>
                  <a:endParaRPr lang="en-GB" sz="6600">
                    <a:solidFill>
                      <a:srgbClr val="27333D"/>
                    </a:solidFill>
                  </a:endParaRPr>
                </a:p>
              </p:txBody>
            </p:sp>
            <p:cxnSp>
              <p:nvCxnSpPr>
                <p:cNvPr id="29" name="Straight Connector 28">
                  <a:extLst>
                    <a:ext uri="{FF2B5EF4-FFF2-40B4-BE49-F238E27FC236}">
                      <a16:creationId xmlns:a16="http://schemas.microsoft.com/office/drawing/2014/main" id="{BE99D3B8-3580-E03B-96E3-69CF3CB90914}"/>
                    </a:ext>
                  </a:extLst>
                </p:cNvPr>
                <p:cNvCxnSpPr>
                  <a:cxnSpLocks/>
                </p:cNvCxnSpPr>
                <p:nvPr/>
              </p:nvCxnSpPr>
              <p:spPr>
                <a:xfrm>
                  <a:off x="7555035"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grpSp>
        <p:sp>
          <p:nvSpPr>
            <p:cNvPr id="22" name="TextBox 21">
              <a:extLst>
                <a:ext uri="{FF2B5EF4-FFF2-40B4-BE49-F238E27FC236}">
                  <a16:creationId xmlns:a16="http://schemas.microsoft.com/office/drawing/2014/main" id="{CA23A7EB-32AF-9C01-7A21-C086D04421F1}"/>
                </a:ext>
              </a:extLst>
            </p:cNvPr>
            <p:cNvSpPr txBox="1"/>
            <p:nvPr/>
          </p:nvSpPr>
          <p:spPr>
            <a:xfrm>
              <a:off x="1670150" y="1637219"/>
              <a:ext cx="8851700"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endParaRPr lang="en-GB" sz="4800">
                <a:solidFill>
                  <a:srgbClr val="27333D"/>
                </a:solidFill>
              </a:endParaRPr>
            </a:p>
          </p:txBody>
        </p:sp>
      </p:grpSp>
      <p:pic>
        <p:nvPicPr>
          <p:cNvPr id="30" name="Picture 29" descr="A drawing of a human leg&#10;&#10;AI-generated content may be incorrect.">
            <a:extLst>
              <a:ext uri="{FF2B5EF4-FFF2-40B4-BE49-F238E27FC236}">
                <a16:creationId xmlns:a16="http://schemas.microsoft.com/office/drawing/2014/main" id="{833BDF5D-E541-0B59-0E39-F30F0FA886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22157" y="-4872746"/>
            <a:ext cx="1911350" cy="1911350"/>
          </a:xfrm>
          <a:prstGeom prst="flowChartConnector">
            <a:avLst/>
          </a:prstGeom>
        </p:spPr>
      </p:pic>
      <p:pic>
        <p:nvPicPr>
          <p:cNvPr id="31" name="Picture 30" descr="A person sitting on a chair&#10;&#10;AI-generated content may be incorrect.">
            <a:extLst>
              <a:ext uri="{FF2B5EF4-FFF2-40B4-BE49-F238E27FC236}">
                <a16:creationId xmlns:a16="http://schemas.microsoft.com/office/drawing/2014/main" id="{DB565FB1-2203-1778-1D09-491D7DD8ADB2}"/>
              </a:ext>
            </a:extLst>
          </p:cNvPr>
          <p:cNvPicPr>
            <a:picLocks noChangeAspect="1"/>
          </p:cNvPicPr>
          <p:nvPr/>
        </p:nvPicPr>
        <p:blipFill>
          <a:blip r:embed="rId10">
            <a:extLst>
              <a:ext uri="{28A0092B-C50C-407E-A947-70E740481C1C}">
                <a14:useLocalDpi xmlns:a14="http://schemas.microsoft.com/office/drawing/2010/main" val="0"/>
              </a:ext>
            </a:extLst>
          </a:blip>
          <a:srcRect l="15267" t="5395" r="16173" b="5395"/>
          <a:stretch>
            <a:fillRect/>
          </a:stretch>
        </p:blipFill>
        <p:spPr>
          <a:xfrm>
            <a:off x="4792002" y="-4862026"/>
            <a:ext cx="1950097" cy="1911350"/>
          </a:xfrm>
          <a:prstGeom prst="flowChartConnector">
            <a:avLst/>
          </a:prstGeom>
        </p:spPr>
      </p:pic>
      <p:pic>
        <p:nvPicPr>
          <p:cNvPr id="32" name="Picture 31" descr="A blue circle with a check mark in it&#10;&#10;AI-generated content may be incorrect.">
            <a:extLst>
              <a:ext uri="{FF2B5EF4-FFF2-40B4-BE49-F238E27FC236}">
                <a16:creationId xmlns:a16="http://schemas.microsoft.com/office/drawing/2014/main" id="{5E3AEA85-5577-7DAC-4BE1-E7B79F209D0C}"/>
              </a:ext>
            </a:extLst>
          </p:cNvPr>
          <p:cNvPicPr>
            <a:picLocks noChangeAspect="1"/>
          </p:cNvPicPr>
          <p:nvPr/>
        </p:nvPicPr>
        <p:blipFill>
          <a:blip r:embed="rId11">
            <a:extLst>
              <a:ext uri="{28A0092B-C50C-407E-A947-70E740481C1C}">
                <a14:useLocalDpi xmlns:a14="http://schemas.microsoft.com/office/drawing/2010/main" val="0"/>
              </a:ext>
            </a:extLst>
          </a:blip>
          <a:srcRect l="28797" t="23704" r="30839" b="23704"/>
          <a:stretch>
            <a:fillRect/>
          </a:stretch>
        </p:blipFill>
        <p:spPr>
          <a:xfrm>
            <a:off x="7561069" y="-4862026"/>
            <a:ext cx="1950098" cy="1913930"/>
          </a:xfrm>
          <a:prstGeom prst="flowChartConnector">
            <a:avLst/>
          </a:prstGeom>
        </p:spPr>
      </p:pic>
      <p:sp>
        <p:nvSpPr>
          <p:cNvPr id="33" name="TextBox 32">
            <a:extLst>
              <a:ext uri="{FF2B5EF4-FFF2-40B4-BE49-F238E27FC236}">
                <a16:creationId xmlns:a16="http://schemas.microsoft.com/office/drawing/2014/main" id="{74DBA865-9374-413F-F2EE-5B13B77516DC}"/>
              </a:ext>
            </a:extLst>
          </p:cNvPr>
          <p:cNvSpPr txBox="1"/>
          <p:nvPr/>
        </p:nvSpPr>
        <p:spPr>
          <a:xfrm>
            <a:off x="4792002" y="-1514928"/>
            <a:ext cx="2629975" cy="132343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a:solidFill>
                  <a:schemeClr val="tx1"/>
                </a:solidFill>
              </a:rPr>
              <a:t>of elderly have </a:t>
            </a:r>
            <a:r>
              <a:rPr lang="en-US" sz="2000">
                <a:solidFill>
                  <a:schemeClr val="bg1"/>
                </a:solidFill>
                <a:highlight>
                  <a:srgbClr val="2F3D4A"/>
                </a:highlight>
              </a:rPr>
              <a:t>rely on armrests or another person </a:t>
            </a:r>
            <a:r>
              <a:rPr lang="en-US" sz="2000">
                <a:solidFill>
                  <a:schemeClr val="tx1"/>
                </a:solidFill>
              </a:rPr>
              <a:t>to help them stand.</a:t>
            </a:r>
            <a:endParaRPr lang="en-GB" sz="2000">
              <a:solidFill>
                <a:schemeClr val="tx1"/>
              </a:solidFill>
            </a:endParaRPr>
          </a:p>
        </p:txBody>
      </p:sp>
      <p:sp>
        <p:nvSpPr>
          <p:cNvPr id="34" name="TextBox 33">
            <a:extLst>
              <a:ext uri="{FF2B5EF4-FFF2-40B4-BE49-F238E27FC236}">
                <a16:creationId xmlns:a16="http://schemas.microsoft.com/office/drawing/2014/main" id="{C27B0FCB-6DCB-B1B1-99F6-1D9F574F6157}"/>
              </a:ext>
            </a:extLst>
          </p:cNvPr>
          <p:cNvSpPr txBox="1"/>
          <p:nvPr/>
        </p:nvSpPr>
        <p:spPr>
          <a:xfrm>
            <a:off x="7851548" y="-1517362"/>
            <a:ext cx="2306742" cy="101566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a:solidFill>
                  <a:schemeClr val="tx1"/>
                </a:solidFill>
              </a:rPr>
              <a:t>would like a </a:t>
            </a:r>
            <a:r>
              <a:rPr lang="en-US" sz="2000">
                <a:solidFill>
                  <a:schemeClr val="bg1"/>
                </a:solidFill>
                <a:highlight>
                  <a:srgbClr val="2F3D4A"/>
                </a:highlight>
              </a:rPr>
              <a:t>safer, easier way </a:t>
            </a:r>
            <a:r>
              <a:rPr lang="en-US" sz="2000">
                <a:solidFill>
                  <a:schemeClr val="tx1"/>
                </a:solidFill>
              </a:rPr>
              <a:t>to stand up independently.</a:t>
            </a:r>
            <a:endParaRPr lang="en-GB" sz="2000">
              <a:solidFill>
                <a:schemeClr val="tx1"/>
              </a:solidFill>
            </a:endParaRPr>
          </a:p>
        </p:txBody>
      </p:sp>
      <p:pic>
        <p:nvPicPr>
          <p:cNvPr id="35" name="Picture 34" descr="A logo with text and a square with a arrow up&#10;&#10;AI-generated content may be incorrect.">
            <a:extLst>
              <a:ext uri="{FF2B5EF4-FFF2-40B4-BE49-F238E27FC236}">
                <a16:creationId xmlns:a16="http://schemas.microsoft.com/office/drawing/2014/main" id="{848FBD97-0D98-E42A-EE8C-331C2D2694C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782299" y="174421"/>
            <a:ext cx="1135911" cy="1135911"/>
          </a:xfrm>
          <a:prstGeom prst="roundRect">
            <a:avLst/>
          </a:prstGeom>
        </p:spPr>
      </p:pic>
      <p:sp>
        <p:nvSpPr>
          <p:cNvPr id="2" name="TextBox 1">
            <a:extLst>
              <a:ext uri="{FF2B5EF4-FFF2-40B4-BE49-F238E27FC236}">
                <a16:creationId xmlns:a16="http://schemas.microsoft.com/office/drawing/2014/main" id="{DBBA5352-2BC2-4A81-A4F7-9D82E7715215}"/>
              </a:ext>
            </a:extLst>
          </p:cNvPr>
          <p:cNvSpPr txBox="1"/>
          <p:nvPr/>
        </p:nvSpPr>
        <p:spPr>
          <a:xfrm>
            <a:off x="427342" y="1726299"/>
            <a:ext cx="7569814" cy="1446550"/>
          </a:xfrm>
          <a:prstGeom prst="rect">
            <a:avLst/>
          </a:prstGeom>
          <a:noFill/>
        </p:spPr>
        <p:txBody>
          <a:bodyPr wrap="square" rtlCol="0">
            <a:spAutoFit/>
          </a:bodyPr>
          <a:lstStyle/>
          <a:p>
            <a:pPr lvl="0">
              <a:defRPr/>
            </a:pPr>
            <a:r>
              <a:rPr kumimoji="0" lang="en-US" sz="4400" b="0" i="0" u="none" strike="noStrike" kern="1200" cap="none" spc="-150" normalizeH="0" baseline="0" noProof="0" dirty="0">
                <a:ln>
                  <a:noFill/>
                </a:ln>
                <a:solidFill>
                  <a:schemeClr val="tx2"/>
                </a:solidFill>
                <a:effectLst/>
                <a:uLnTx/>
                <a:uFillTx/>
                <a:latin typeface="Darker Grotesque SemiBold"/>
                <a:ea typeface="+mn-ea"/>
                <a:cs typeface="+mn-cs"/>
              </a:rPr>
              <a:t>Adults go through the STS maneuver </a:t>
            </a:r>
            <a:r>
              <a:rPr kumimoji="0" lang="en-US" sz="4400" b="1" i="0" u="none" strike="noStrike" kern="1200" cap="none" spc="-150" normalizeH="0" baseline="0" noProof="0" dirty="0">
                <a:ln>
                  <a:noFill/>
                </a:ln>
                <a:solidFill>
                  <a:schemeClr val="tx2"/>
                </a:solidFill>
                <a:effectLst/>
                <a:uLnTx/>
                <a:uFillTx/>
                <a:latin typeface="Darker Grotesque SemiBold"/>
                <a:ea typeface="+mn-ea"/>
                <a:cs typeface="+mn-cs"/>
              </a:rPr>
              <a:t>30 -70 times a day</a:t>
            </a:r>
            <a:endParaRPr lang="en-US" sz="4400" b="1" spc="-150" dirty="0">
              <a:solidFill>
                <a:schemeClr val="tx2"/>
              </a:solidFill>
              <a:latin typeface="Darker Grotesque SemiBold"/>
            </a:endParaRPr>
          </a:p>
        </p:txBody>
      </p:sp>
    </p:spTree>
    <p:extLst>
      <p:ext uri="{BB962C8B-B14F-4D97-AF65-F5344CB8AC3E}">
        <p14:creationId xmlns:p14="http://schemas.microsoft.com/office/powerpoint/2010/main" val="6105707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5209"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19"/>
                </p:tgtEl>
              </p:cMediaNode>
            </p:video>
            <p:seq concurrent="1" nextAc="seek">
              <p:cTn id="11" restart="whenNotActive" fill="hold" evtFilter="cancelBubble" nodeType="interactiveSeq">
                <p:stCondLst>
                  <p:cond evt="onClick" delay="0">
                    <p:tgtEl>
                      <p:spTgt spid="19"/>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childTnLst>
                                </p:cTn>
                              </p:par>
                            </p:childTnLst>
                          </p:cTn>
                        </p:par>
                      </p:childTnLst>
                    </p:cTn>
                  </p:par>
                </p:childTnLst>
              </p:cTn>
              <p:nextCondLst>
                <p:cond evt="onClick" delay="0">
                  <p:tgtEl>
                    <p:spTgt spid="1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white and blue background&#10;&#10;AI-generated content may be incorrect.">
            <a:extLst>
              <a:ext uri="{FF2B5EF4-FFF2-40B4-BE49-F238E27FC236}">
                <a16:creationId xmlns:a16="http://schemas.microsoft.com/office/drawing/2014/main" id="{18544036-43CC-FF5C-1325-E601248A1D5E}"/>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val="0"/>
              </a:ext>
            </a:extLst>
          </a:blip>
          <a:stretch>
            <a:fillRect/>
          </a:stretch>
        </p:blipFill>
        <p:spPr>
          <a:xfrm>
            <a:off x="0" y="18840"/>
            <a:ext cx="12192000" cy="6839159"/>
          </a:xfrm>
          <a:prstGeom prst="rect">
            <a:avLst/>
          </a:prstGeom>
        </p:spPr>
      </p:pic>
      <p:sp>
        <p:nvSpPr>
          <p:cNvPr id="15" name="TextBox 14">
            <a:extLst>
              <a:ext uri="{FF2B5EF4-FFF2-40B4-BE49-F238E27FC236}">
                <a16:creationId xmlns:a16="http://schemas.microsoft.com/office/drawing/2014/main" id="{E67E7352-B98C-2C21-BAFE-0E927185B1A7}"/>
              </a:ext>
            </a:extLst>
          </p:cNvPr>
          <p:cNvSpPr txBox="1"/>
          <p:nvPr/>
        </p:nvSpPr>
        <p:spPr>
          <a:xfrm>
            <a:off x="299484" y="407551"/>
            <a:ext cx="795089"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7333D"/>
                </a:solidFill>
                <a:effectLst/>
                <a:uLnTx/>
                <a:uFillTx/>
                <a:latin typeface="Darker Grotesque" pitchFamily="2" charset="0"/>
              </a:rPr>
              <a:t>Problem</a:t>
            </a:r>
          </a:p>
        </p:txBody>
      </p:sp>
      <p:grpSp>
        <p:nvGrpSpPr>
          <p:cNvPr id="6" name="Group 5">
            <a:extLst>
              <a:ext uri="{FF2B5EF4-FFF2-40B4-BE49-F238E27FC236}">
                <a16:creationId xmlns:a16="http://schemas.microsoft.com/office/drawing/2014/main" id="{FB57A717-45CE-8C27-99BC-89DD6C71935E}"/>
              </a:ext>
            </a:extLst>
          </p:cNvPr>
          <p:cNvGrpSpPr/>
          <p:nvPr/>
        </p:nvGrpSpPr>
        <p:grpSpPr>
          <a:xfrm>
            <a:off x="1670150" y="1974099"/>
            <a:ext cx="8851700" cy="4261583"/>
            <a:chOff x="1670150" y="1637219"/>
            <a:chExt cx="8851700" cy="4261583"/>
          </a:xfrm>
        </p:grpSpPr>
        <p:grpSp>
          <p:nvGrpSpPr>
            <p:cNvPr id="14" name="Group 13">
              <a:extLst>
                <a:ext uri="{FF2B5EF4-FFF2-40B4-BE49-F238E27FC236}">
                  <a16:creationId xmlns:a16="http://schemas.microsoft.com/office/drawing/2014/main" id="{BE2AADDB-9839-407D-B7E9-B4989FC81C97}"/>
                </a:ext>
              </a:extLst>
            </p:cNvPr>
            <p:cNvGrpSpPr/>
            <p:nvPr/>
          </p:nvGrpSpPr>
          <p:grpSpPr>
            <a:xfrm>
              <a:off x="1794389" y="2982796"/>
              <a:ext cx="7962261" cy="2916006"/>
              <a:chOff x="1847058" y="3545303"/>
              <a:chExt cx="7962261" cy="2916006"/>
            </a:xfrm>
          </p:grpSpPr>
          <p:sp>
            <p:nvSpPr>
              <p:cNvPr id="10" name="TextBox 9">
                <a:extLst>
                  <a:ext uri="{FF2B5EF4-FFF2-40B4-BE49-F238E27FC236}">
                    <a16:creationId xmlns:a16="http://schemas.microsoft.com/office/drawing/2014/main" id="{D76181FA-3973-D418-6C77-BB6BC20F15AF}"/>
                  </a:ext>
                </a:extLst>
              </p:cNvPr>
              <p:cNvSpPr txBox="1"/>
              <p:nvPr/>
            </p:nvSpPr>
            <p:spPr>
              <a:xfrm>
                <a:off x="1847058" y="4522317"/>
                <a:ext cx="2551123" cy="193899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a:solidFill>
                      <a:schemeClr val="tx1"/>
                    </a:solidFill>
                  </a:rPr>
                  <a:t>of adults with knee osteoarthritis report </a:t>
                </a:r>
                <a:r>
                  <a:rPr lang="en-US" sz="2000" b="1">
                    <a:solidFill>
                      <a:schemeClr val="tx1"/>
                    </a:solidFill>
                  </a:rPr>
                  <a:t>increased pain or difficulty</a:t>
                </a:r>
                <a:r>
                  <a:rPr lang="en-US" sz="2000">
                    <a:solidFill>
                      <a:schemeClr val="tx1"/>
                    </a:solidFill>
                  </a:rPr>
                  <a:t> specifically when rising from a chair.</a:t>
                </a:r>
                <a:endParaRPr lang="en-GB" sz="2000">
                  <a:solidFill>
                    <a:schemeClr val="tx1"/>
                  </a:solidFill>
                </a:endParaRPr>
              </a:p>
            </p:txBody>
          </p:sp>
          <p:grpSp>
            <p:nvGrpSpPr>
              <p:cNvPr id="5" name="Group 4">
                <a:extLst>
                  <a:ext uri="{FF2B5EF4-FFF2-40B4-BE49-F238E27FC236}">
                    <a16:creationId xmlns:a16="http://schemas.microsoft.com/office/drawing/2014/main" id="{518BEEE3-D54A-1098-E799-60A88D92D602}"/>
                  </a:ext>
                </a:extLst>
              </p:cNvPr>
              <p:cNvGrpSpPr/>
              <p:nvPr/>
            </p:nvGrpSpPr>
            <p:grpSpPr>
              <a:xfrm>
                <a:off x="2175092" y="3545303"/>
                <a:ext cx="7634227" cy="1494530"/>
                <a:chOff x="2183105" y="3545303"/>
                <a:chExt cx="7634227" cy="1494530"/>
              </a:xfrm>
            </p:grpSpPr>
            <p:cxnSp>
              <p:nvCxnSpPr>
                <p:cNvPr id="2" name="Straight Connector 1">
                  <a:extLst>
                    <a:ext uri="{FF2B5EF4-FFF2-40B4-BE49-F238E27FC236}">
                      <a16:creationId xmlns:a16="http://schemas.microsoft.com/office/drawing/2014/main" id="{45383275-FE40-7236-CE18-484116F83217}"/>
                    </a:ext>
                  </a:extLst>
                </p:cNvPr>
                <p:cNvCxnSpPr>
                  <a:cxnSpLocks/>
                </p:cNvCxnSpPr>
                <p:nvPr/>
              </p:nvCxnSpPr>
              <p:spPr>
                <a:xfrm>
                  <a:off x="4659404"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F305D3EC-B8E9-FBDE-1C61-572059A14309}"/>
                    </a:ext>
                  </a:extLst>
                </p:cNvPr>
                <p:cNvSpPr txBox="1"/>
                <p:nvPr/>
              </p:nvSpPr>
              <p:spPr>
                <a:xfrm>
                  <a:off x="5072324" y="3545303"/>
                  <a:ext cx="2069797"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a:solidFill>
                        <a:srgbClr val="27333D"/>
                      </a:solidFill>
                    </a:rPr>
                    <a:t>&lt;50%</a:t>
                  </a:r>
                  <a:endParaRPr lang="en-GB" sz="6600">
                    <a:solidFill>
                      <a:srgbClr val="27333D"/>
                    </a:solidFill>
                  </a:endParaRPr>
                </a:p>
              </p:txBody>
            </p:sp>
            <p:sp>
              <p:nvSpPr>
                <p:cNvPr id="12" name="TextBox 11">
                  <a:extLst>
                    <a:ext uri="{FF2B5EF4-FFF2-40B4-BE49-F238E27FC236}">
                      <a16:creationId xmlns:a16="http://schemas.microsoft.com/office/drawing/2014/main" id="{F66710A4-5104-7206-1975-ADB6A71EBA30}"/>
                    </a:ext>
                  </a:extLst>
                </p:cNvPr>
                <p:cNvSpPr txBox="1"/>
                <p:nvPr/>
              </p:nvSpPr>
              <p:spPr>
                <a:xfrm>
                  <a:off x="8169125" y="3545303"/>
                  <a:ext cx="1648207"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AU" sz="6600">
                      <a:solidFill>
                        <a:srgbClr val="27333D"/>
                      </a:solidFill>
                    </a:rPr>
                    <a:t>97</a:t>
                  </a:r>
                  <a:r>
                    <a:rPr lang="en-US" sz="6600">
                      <a:solidFill>
                        <a:srgbClr val="27333D"/>
                      </a:solidFill>
                    </a:rPr>
                    <a:t>%</a:t>
                  </a:r>
                  <a:endParaRPr lang="en-GB" sz="6600">
                    <a:solidFill>
                      <a:srgbClr val="27333D"/>
                    </a:solidFill>
                  </a:endParaRPr>
                </a:p>
              </p:txBody>
            </p:sp>
            <p:sp>
              <p:nvSpPr>
                <p:cNvPr id="13" name="TextBox 12">
                  <a:extLst>
                    <a:ext uri="{FF2B5EF4-FFF2-40B4-BE49-F238E27FC236}">
                      <a16:creationId xmlns:a16="http://schemas.microsoft.com/office/drawing/2014/main" id="{30AC0C40-1003-AEB7-5F20-8DD03C8F0BDE}"/>
                    </a:ext>
                  </a:extLst>
                </p:cNvPr>
                <p:cNvSpPr txBox="1"/>
                <p:nvPr/>
              </p:nvSpPr>
              <p:spPr>
                <a:xfrm>
                  <a:off x="2183105" y="3545303"/>
                  <a:ext cx="2069797" cy="772840"/>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a:solidFill>
                        <a:schemeClr val="tx1"/>
                      </a:solidFill>
                    </a:rPr>
                    <a:t>&gt;70</a:t>
                  </a:r>
                  <a:r>
                    <a:rPr lang="en-001" sz="6600">
                      <a:solidFill>
                        <a:schemeClr val="tx1"/>
                      </a:solidFill>
                    </a:rPr>
                    <a:t>%</a:t>
                  </a:r>
                  <a:endParaRPr lang="en-GB" sz="6600">
                    <a:solidFill>
                      <a:schemeClr val="tx1"/>
                    </a:solidFill>
                  </a:endParaRPr>
                </a:p>
              </p:txBody>
            </p:sp>
            <p:cxnSp>
              <p:nvCxnSpPr>
                <p:cNvPr id="17" name="Straight Connector 16">
                  <a:extLst>
                    <a:ext uri="{FF2B5EF4-FFF2-40B4-BE49-F238E27FC236}">
                      <a16:creationId xmlns:a16="http://schemas.microsoft.com/office/drawing/2014/main" id="{CFA1EB9F-4727-68FB-237B-FCEF9301CD13}"/>
                    </a:ext>
                  </a:extLst>
                </p:cNvPr>
                <p:cNvCxnSpPr>
                  <a:cxnSpLocks/>
                </p:cNvCxnSpPr>
                <p:nvPr/>
              </p:nvCxnSpPr>
              <p:spPr>
                <a:xfrm>
                  <a:off x="7555035"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grpSp>
        <p:sp>
          <p:nvSpPr>
            <p:cNvPr id="3" name="TextBox 2">
              <a:extLst>
                <a:ext uri="{FF2B5EF4-FFF2-40B4-BE49-F238E27FC236}">
                  <a16:creationId xmlns:a16="http://schemas.microsoft.com/office/drawing/2014/main" id="{756A0E85-544A-19F7-2DF0-C1BAC88AE41A}"/>
                </a:ext>
              </a:extLst>
            </p:cNvPr>
            <p:cNvSpPr txBox="1"/>
            <p:nvPr/>
          </p:nvSpPr>
          <p:spPr>
            <a:xfrm>
              <a:off x="1670150" y="1637219"/>
              <a:ext cx="8851700"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endParaRPr lang="en-GB" sz="4800">
                <a:solidFill>
                  <a:srgbClr val="27333D"/>
                </a:solidFill>
              </a:endParaRPr>
            </a:p>
          </p:txBody>
        </p:sp>
      </p:grpSp>
      <p:sp>
        <p:nvSpPr>
          <p:cNvPr id="19" name="TextBox 18">
            <a:extLst>
              <a:ext uri="{FF2B5EF4-FFF2-40B4-BE49-F238E27FC236}">
                <a16:creationId xmlns:a16="http://schemas.microsoft.com/office/drawing/2014/main" id="{6E3226A1-6EF1-E555-07B7-A1AB5517445C}"/>
              </a:ext>
            </a:extLst>
          </p:cNvPr>
          <p:cNvSpPr txBox="1"/>
          <p:nvPr/>
        </p:nvSpPr>
        <p:spPr>
          <a:xfrm>
            <a:off x="4781012" y="4299124"/>
            <a:ext cx="2629975" cy="132343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a:solidFill>
                  <a:schemeClr val="tx1"/>
                </a:solidFill>
              </a:rPr>
              <a:t>Of older adults require support from </a:t>
            </a:r>
            <a:r>
              <a:rPr lang="en-US" sz="2000" b="1">
                <a:solidFill>
                  <a:schemeClr val="tx1"/>
                </a:solidFill>
              </a:rPr>
              <a:t>armrests, hands, or another person</a:t>
            </a:r>
            <a:r>
              <a:rPr lang="en-US" sz="2000">
                <a:solidFill>
                  <a:schemeClr val="tx1"/>
                </a:solidFill>
              </a:rPr>
              <a:t> to stand up</a:t>
            </a:r>
            <a:endParaRPr lang="en-GB" sz="2000">
              <a:solidFill>
                <a:schemeClr val="tx1"/>
              </a:solidFill>
            </a:endParaRPr>
          </a:p>
        </p:txBody>
      </p:sp>
      <p:sp>
        <p:nvSpPr>
          <p:cNvPr id="20" name="TextBox 19">
            <a:extLst>
              <a:ext uri="{FF2B5EF4-FFF2-40B4-BE49-F238E27FC236}">
                <a16:creationId xmlns:a16="http://schemas.microsoft.com/office/drawing/2014/main" id="{4939352C-0C69-22FB-EF15-77B68E21736D}"/>
              </a:ext>
            </a:extLst>
          </p:cNvPr>
          <p:cNvSpPr txBox="1"/>
          <p:nvPr/>
        </p:nvSpPr>
        <p:spPr>
          <a:xfrm>
            <a:off x="7840558" y="4296690"/>
            <a:ext cx="2306742" cy="101566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a:solidFill>
                  <a:schemeClr val="tx1"/>
                </a:solidFill>
              </a:rPr>
              <a:t>would like a safer, easier way to stand up independently.</a:t>
            </a:r>
            <a:endParaRPr lang="en-GB" sz="2000">
              <a:solidFill>
                <a:schemeClr val="tx1"/>
              </a:solidFill>
            </a:endParaRPr>
          </a:p>
        </p:txBody>
      </p:sp>
      <p:pic>
        <p:nvPicPr>
          <p:cNvPr id="24" name="Picture 23" descr="A drawing of a human leg&#10;&#10;AI-generated content may be incorrect.">
            <a:extLst>
              <a:ext uri="{FF2B5EF4-FFF2-40B4-BE49-F238E27FC236}">
                <a16:creationId xmlns:a16="http://schemas.microsoft.com/office/drawing/2014/main" id="{D9C67282-0FA1-2BB3-D6A2-A6A7801C24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01646" y="1006414"/>
            <a:ext cx="1911350" cy="1911350"/>
          </a:xfrm>
          <a:prstGeom prst="flowChartConnector">
            <a:avLst/>
          </a:prstGeom>
        </p:spPr>
      </p:pic>
      <p:pic>
        <p:nvPicPr>
          <p:cNvPr id="30" name="Picture 29" descr="A person sitting on a chair&#10;&#10;AI-generated content may be incorrect.">
            <a:extLst>
              <a:ext uri="{FF2B5EF4-FFF2-40B4-BE49-F238E27FC236}">
                <a16:creationId xmlns:a16="http://schemas.microsoft.com/office/drawing/2014/main" id="{55467990-473E-0B5A-EC93-4B67114EF0E1}"/>
              </a:ext>
            </a:extLst>
          </p:cNvPr>
          <p:cNvPicPr>
            <a:picLocks noChangeAspect="1"/>
          </p:cNvPicPr>
          <p:nvPr/>
        </p:nvPicPr>
        <p:blipFill>
          <a:blip r:embed="rId7">
            <a:extLst>
              <a:ext uri="{28A0092B-C50C-407E-A947-70E740481C1C}">
                <a14:useLocalDpi xmlns:a14="http://schemas.microsoft.com/office/drawing/2010/main" val="0"/>
              </a:ext>
            </a:extLst>
          </a:blip>
          <a:srcRect l="15267" t="5395" r="16173" b="5395"/>
          <a:stretch>
            <a:fillRect/>
          </a:stretch>
        </p:blipFill>
        <p:spPr>
          <a:xfrm>
            <a:off x="5071491" y="1017134"/>
            <a:ext cx="1950097" cy="1911350"/>
          </a:xfrm>
          <a:prstGeom prst="flowChartConnector">
            <a:avLst/>
          </a:prstGeom>
        </p:spPr>
      </p:pic>
      <p:pic>
        <p:nvPicPr>
          <p:cNvPr id="32" name="Picture 31" descr="A blue circle with a check mark in it&#10;&#10;AI-generated content may be incorrect.">
            <a:extLst>
              <a:ext uri="{FF2B5EF4-FFF2-40B4-BE49-F238E27FC236}">
                <a16:creationId xmlns:a16="http://schemas.microsoft.com/office/drawing/2014/main" id="{EEEB1578-54B3-15FA-9C16-F60A5B11E3B1}"/>
              </a:ext>
            </a:extLst>
          </p:cNvPr>
          <p:cNvPicPr>
            <a:picLocks noChangeAspect="1"/>
          </p:cNvPicPr>
          <p:nvPr/>
        </p:nvPicPr>
        <p:blipFill>
          <a:blip r:embed="rId8">
            <a:extLst>
              <a:ext uri="{28A0092B-C50C-407E-A947-70E740481C1C}">
                <a14:useLocalDpi xmlns:a14="http://schemas.microsoft.com/office/drawing/2010/main" val="0"/>
              </a:ext>
            </a:extLst>
          </a:blip>
          <a:srcRect l="28797" t="23704" r="30839" b="23704"/>
          <a:stretch>
            <a:fillRect/>
          </a:stretch>
        </p:blipFill>
        <p:spPr>
          <a:xfrm>
            <a:off x="7840558" y="1017134"/>
            <a:ext cx="1950098" cy="1913930"/>
          </a:xfrm>
          <a:prstGeom prst="flowChartConnector">
            <a:avLst/>
          </a:prstGeom>
        </p:spPr>
      </p:pic>
      <p:grpSp>
        <p:nvGrpSpPr>
          <p:cNvPr id="33" name="Group 32">
            <a:extLst>
              <a:ext uri="{FF2B5EF4-FFF2-40B4-BE49-F238E27FC236}">
                <a16:creationId xmlns:a16="http://schemas.microsoft.com/office/drawing/2014/main" id="{4F13D709-38F0-D29B-1BD1-21C1E30541C5}"/>
              </a:ext>
            </a:extLst>
          </p:cNvPr>
          <p:cNvGrpSpPr/>
          <p:nvPr/>
        </p:nvGrpSpPr>
        <p:grpSpPr>
          <a:xfrm>
            <a:off x="273788" y="407551"/>
            <a:ext cx="11644423" cy="507586"/>
            <a:chOff x="299484" y="369986"/>
            <a:chExt cx="11644423" cy="507586"/>
          </a:xfrm>
        </p:grpSpPr>
        <p:cxnSp>
          <p:nvCxnSpPr>
            <p:cNvPr id="34" name="Straight Connector 33">
              <a:extLst>
                <a:ext uri="{FF2B5EF4-FFF2-40B4-BE49-F238E27FC236}">
                  <a16:creationId xmlns:a16="http://schemas.microsoft.com/office/drawing/2014/main" id="{A19B1020-C87A-F073-29D0-B140E3F94E04}"/>
                </a:ext>
              </a:extLst>
            </p:cNvPr>
            <p:cNvCxnSpPr/>
            <p:nvPr/>
          </p:nvCxnSpPr>
          <p:spPr>
            <a:xfrm>
              <a:off x="299484" y="623779"/>
              <a:ext cx="11644423" cy="0"/>
            </a:xfrm>
            <a:prstGeom prst="line">
              <a:avLst/>
            </a:prstGeom>
            <a:ln/>
          </p:spPr>
          <p:style>
            <a:lnRef idx="1">
              <a:schemeClr val="dk1"/>
            </a:lnRef>
            <a:fillRef idx="0">
              <a:schemeClr val="dk1"/>
            </a:fillRef>
            <a:effectRef idx="0">
              <a:schemeClr val="dk1"/>
            </a:effectRef>
            <a:fontRef idx="minor">
              <a:schemeClr val="tx1"/>
            </a:fontRef>
          </p:style>
        </p:cxnSp>
        <p:grpSp>
          <p:nvGrpSpPr>
            <p:cNvPr id="35" name="!!mission">
              <a:extLst>
                <a:ext uri="{FF2B5EF4-FFF2-40B4-BE49-F238E27FC236}">
                  <a16:creationId xmlns:a16="http://schemas.microsoft.com/office/drawing/2014/main" id="{D731F45E-7778-77B7-36F9-23B2E7A0878D}"/>
                </a:ext>
              </a:extLst>
            </p:cNvPr>
            <p:cNvGrpSpPr/>
            <p:nvPr/>
          </p:nvGrpSpPr>
          <p:grpSpPr>
            <a:xfrm>
              <a:off x="5842207" y="369986"/>
              <a:ext cx="507586" cy="507586"/>
              <a:chOff x="1700837" y="1711757"/>
              <a:chExt cx="507586" cy="507586"/>
            </a:xfrm>
          </p:grpSpPr>
          <p:sp>
            <p:nvSpPr>
              <p:cNvPr id="36" name="Oval 35">
                <a:extLst>
                  <a:ext uri="{FF2B5EF4-FFF2-40B4-BE49-F238E27FC236}">
                    <a16:creationId xmlns:a16="http://schemas.microsoft.com/office/drawing/2014/main" id="{C1DC4C9A-D9FF-5229-B351-220C0BD87EF6}"/>
                  </a:ext>
                </a:extLst>
              </p:cNvPr>
              <p:cNvSpPr/>
              <p:nvPr/>
            </p:nvSpPr>
            <p:spPr>
              <a:xfrm>
                <a:off x="1700837" y="1711757"/>
                <a:ext cx="507586" cy="507586"/>
              </a:xfrm>
              <a:prstGeom prst="ellipse">
                <a:avLst/>
              </a:prstGeom>
              <a:solidFill>
                <a:srgbClr val="2F3D4A"/>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37" name="Graphic 36">
                <a:extLst>
                  <a:ext uri="{FF2B5EF4-FFF2-40B4-BE49-F238E27FC236}">
                    <a16:creationId xmlns:a16="http://schemas.microsoft.com/office/drawing/2014/main" id="{5C1C7801-393F-0516-9EDA-9775961ED6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8630" y="1839550"/>
                <a:ext cx="252000" cy="252000"/>
              </a:xfrm>
              <a:prstGeom prst="rect">
                <a:avLst/>
              </a:prstGeom>
            </p:spPr>
          </p:pic>
        </p:grpSp>
      </p:grpSp>
      <p:sp>
        <p:nvSpPr>
          <p:cNvPr id="41" name="TextBox 40">
            <a:extLst>
              <a:ext uri="{FF2B5EF4-FFF2-40B4-BE49-F238E27FC236}">
                <a16:creationId xmlns:a16="http://schemas.microsoft.com/office/drawing/2014/main" id="{9F5FA877-6E03-70A3-6E5D-B1FA14E8F685}"/>
              </a:ext>
            </a:extLst>
          </p:cNvPr>
          <p:cNvSpPr txBox="1"/>
          <p:nvPr/>
        </p:nvSpPr>
        <p:spPr>
          <a:xfrm>
            <a:off x="567769" y="7631545"/>
            <a:ext cx="7569814" cy="2123658"/>
          </a:xfrm>
          <a:prstGeom prst="rect">
            <a:avLst/>
          </a:prstGeom>
          <a:noFill/>
        </p:spPr>
        <p:txBody>
          <a:bodyPr wrap="square" rtlCol="0">
            <a:spAutoFit/>
          </a:bodyPr>
          <a:lstStyle/>
          <a:p>
            <a:pPr lvl="0">
              <a:defRPr/>
            </a:pPr>
            <a:r>
              <a:rPr kumimoji="0" lang="en-US" sz="4400" b="0" i="0" u="none" strike="noStrike" kern="1200" cap="none" spc="-150" normalizeH="0" baseline="0" noProof="0">
                <a:ln>
                  <a:noFill/>
                </a:ln>
                <a:solidFill>
                  <a:srgbClr val="2F3D4A"/>
                </a:solidFill>
                <a:effectLst/>
                <a:uLnTx/>
                <a:uFillTx/>
                <a:latin typeface="Darker Grotesque SemiBold"/>
                <a:ea typeface="+mn-ea"/>
                <a:cs typeface="+mn-cs"/>
              </a:rPr>
              <a:t>1 in 5 elderly </a:t>
            </a:r>
            <a:r>
              <a:rPr lang="en-US" sz="4400" spc="-150">
                <a:solidFill>
                  <a:srgbClr val="2F3D4A"/>
                </a:solidFill>
                <a:latin typeface="Darker Grotesque SemiBold"/>
              </a:rPr>
              <a:t>feel pain from lower back to knee from </a:t>
            </a:r>
            <a:r>
              <a:rPr kumimoji="0" lang="en-US" sz="4400" b="0" i="0" u="none" strike="noStrike" kern="1200" cap="none" spc="-150" normalizeH="0" baseline="0" noProof="0">
                <a:ln>
                  <a:noFill/>
                </a:ln>
                <a:solidFill>
                  <a:schemeClr val="bg1"/>
                </a:solidFill>
                <a:effectLst/>
                <a:highlight>
                  <a:srgbClr val="27333D"/>
                </a:highlight>
                <a:uLnTx/>
                <a:uFillTx/>
                <a:latin typeface="Darker Grotesque SemiBold"/>
                <a:ea typeface="+mn-ea"/>
                <a:cs typeface="+mn-cs"/>
              </a:rPr>
              <a:t>standing up </a:t>
            </a:r>
            <a:r>
              <a:rPr kumimoji="0" lang="en-US" sz="4400" b="0" i="0" u="none" strike="noStrike" kern="1200" cap="none" spc="-150" normalizeH="0" baseline="0" noProof="0">
                <a:ln>
                  <a:noFill/>
                </a:ln>
                <a:solidFill>
                  <a:srgbClr val="2F3D4A"/>
                </a:solidFill>
                <a:effectLst/>
                <a:uLnTx/>
                <a:uFillTx/>
                <a:latin typeface="Darker Grotesque SemiBold"/>
                <a:ea typeface="+mn-ea"/>
                <a:cs typeface="+mn-cs"/>
              </a:rPr>
              <a:t>from chairs everyday…</a:t>
            </a:r>
            <a:endParaRPr lang="en-US" sz="4400" spc="-150">
              <a:solidFill>
                <a:srgbClr val="2F3D4A"/>
              </a:solidFill>
              <a:latin typeface="Darker Grotesque SemiBold"/>
            </a:endParaRPr>
          </a:p>
        </p:txBody>
      </p:sp>
      <p:sp>
        <p:nvSpPr>
          <p:cNvPr id="42" name="Rectangle 2">
            <a:extLst>
              <a:ext uri="{FF2B5EF4-FFF2-40B4-BE49-F238E27FC236}">
                <a16:creationId xmlns:a16="http://schemas.microsoft.com/office/drawing/2014/main" id="{F27CFE27-769C-11E4-A918-1226091DA5DF}"/>
              </a:ext>
            </a:extLst>
          </p:cNvPr>
          <p:cNvSpPr>
            <a:spLocks noChangeArrowheads="1"/>
          </p:cNvSpPr>
          <p:nvPr/>
        </p:nvSpPr>
        <p:spPr bwMode="auto">
          <a:xfrm>
            <a:off x="837644" y="10389613"/>
            <a:ext cx="703006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2000">
                <a:solidFill>
                  <a:srgbClr val="2F3D4A"/>
                </a:solidFill>
                <a:latin typeface="+mj-lt"/>
              </a:rPr>
              <a:t> </a:t>
            </a:r>
            <a:r>
              <a:rPr kumimoji="0" lang="en-US" altLang="en-US" sz="2000" b="0" i="0" u="none" strike="noStrike" cap="none" normalizeH="0" baseline="0">
                <a:ln>
                  <a:noFill/>
                </a:ln>
                <a:solidFill>
                  <a:srgbClr val="2F3D4A"/>
                </a:solidFill>
                <a:effectLst/>
                <a:latin typeface="+mj-lt"/>
              </a:rPr>
              <a:t>High repetitive load put pressure on hips, knees, shoulders.</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2000">
                <a:solidFill>
                  <a:srgbClr val="2F3D4A"/>
                </a:solidFill>
                <a:latin typeface="+mj-lt"/>
              </a:rPr>
              <a:t> Hard to mobility and higher risk from other injuries.</a:t>
            </a:r>
            <a:endParaRPr kumimoji="0" lang="en-US" altLang="en-US" sz="2000" b="0" i="0" u="none" strike="noStrike" cap="none" normalizeH="0" baseline="0">
              <a:ln>
                <a:noFill/>
              </a:ln>
              <a:solidFill>
                <a:srgbClr val="2F3D4A"/>
              </a:solidFill>
              <a:effectLst/>
              <a:latin typeface="+mj-lt"/>
            </a:endParaRPr>
          </a:p>
        </p:txBody>
      </p:sp>
      <p:pic>
        <p:nvPicPr>
          <p:cNvPr id="43" name="quackdaduck._httpss.mj.runBqf6fMxgPV4_base_on_the_given_image_72c06c59-afc3-4389-84b4-9559cfcb9c6d_3">
            <a:hlinkClick r:id="" action="ppaction://media"/>
            <a:extLst>
              <a:ext uri="{FF2B5EF4-FFF2-40B4-BE49-F238E27FC236}">
                <a16:creationId xmlns:a16="http://schemas.microsoft.com/office/drawing/2014/main" id="{6A3778C3-34BF-76C7-DBBC-6236D6699762}"/>
              </a:ext>
            </a:extLst>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a:off x="7620058" y="7355508"/>
            <a:ext cx="3905251" cy="5562023"/>
          </a:xfrm>
          <a:prstGeom prst="rect">
            <a:avLst/>
          </a:prstGeom>
        </p:spPr>
      </p:pic>
      <p:pic>
        <p:nvPicPr>
          <p:cNvPr id="45" name="Picture 44" descr="A logo with text and a square with a arrow up&#10;&#10;AI-generated content may be incorrect.">
            <a:extLst>
              <a:ext uri="{FF2B5EF4-FFF2-40B4-BE49-F238E27FC236}">
                <a16:creationId xmlns:a16="http://schemas.microsoft.com/office/drawing/2014/main" id="{0ACAAA5E-69EB-624D-894E-DF3DB812976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782299" y="174421"/>
            <a:ext cx="1135911" cy="1135911"/>
          </a:xfrm>
          <a:prstGeom prst="roundRect">
            <a:avLst/>
          </a:prstGeom>
        </p:spPr>
      </p:pic>
    </p:spTree>
    <p:extLst>
      <p:ext uri="{BB962C8B-B14F-4D97-AF65-F5344CB8AC3E}">
        <p14:creationId xmlns:p14="http://schemas.microsoft.com/office/powerpoint/2010/main" val="40760359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video>
              <p:cMediaNode vol="80000">
                <p:cTn id="2" fill="hold" display="0">
                  <p:stCondLst>
                    <p:cond delay="indefinite"/>
                  </p:stCondLst>
                </p:cTn>
                <p:tgtEl>
                  <p:spTgt spid="43"/>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533467" y="1863814"/>
            <a:ext cx="8873066" cy="348281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3600" kern="0">
                <a:solidFill>
                  <a:prstClr val="white"/>
                </a:solidFill>
                <a:latin typeface="Century Gothic" panose="020B0502020202020204" pitchFamily="34" charset="0"/>
              </a:rPr>
              <a:t>Existing Solutions</a:t>
            </a:r>
            <a:endParaRPr kumimoji="0" lang="en-US" sz="13600" b="0" i="0" u="none" strike="noStrike" kern="0" cap="none" spc="0" normalizeH="0" baseline="0" noProof="0">
              <a:ln>
                <a:noFill/>
              </a:ln>
              <a:solidFill>
                <a:prstClr val="white"/>
              </a:solidFill>
              <a:effectLst/>
              <a:uLnTx/>
              <a:uFillTx/>
              <a:latin typeface="Century Gothic" panose="020B0502020202020204" pitchFamily="34" charset="0"/>
            </a:endParaRPr>
          </a:p>
        </p:txBody>
      </p:sp>
      <p:pic>
        <p:nvPicPr>
          <p:cNvPr id="40" name="Picture 39" descr="A white and blue background&#10;&#10;AI-generated content may be incorrect.">
            <a:extLst>
              <a:ext uri="{FF2B5EF4-FFF2-40B4-BE49-F238E27FC236}">
                <a16:creationId xmlns:a16="http://schemas.microsoft.com/office/drawing/2014/main" id="{7E897B69-DB4E-5082-707E-FB02CC576540}"/>
              </a:ext>
            </a:extLst>
          </p:cNvPr>
          <p:cNvPicPr/>
          <p:nvPr/>
        </p:nvPicPr>
        <p:blipFill>
          <a:blip r:embed="rId2">
            <a:extLst>
              <a:ext uri="{28A0092B-C50C-407E-A947-70E740481C1C}">
                <a14:useLocalDpi xmlns:a14="http://schemas.microsoft.com/office/drawing/2010/main" val="0"/>
              </a:ext>
            </a:extLst>
          </a:blip>
          <a:stretch>
            <a:fillRect/>
          </a:stretch>
        </p:blipFill>
        <p:spPr>
          <a:xfrm>
            <a:off x="0" y="7299568"/>
            <a:ext cx="12192000" cy="6858000"/>
          </a:xfrm>
          <a:prstGeom prst="rect">
            <a:avLst/>
          </a:prstGeom>
        </p:spPr>
      </p:pic>
      <p:sp>
        <p:nvSpPr>
          <p:cNvPr id="41" name="TextBox 40">
            <a:extLst>
              <a:ext uri="{FF2B5EF4-FFF2-40B4-BE49-F238E27FC236}">
                <a16:creationId xmlns:a16="http://schemas.microsoft.com/office/drawing/2014/main" id="{636DB7F2-F061-76E1-DC1B-5D4643814C55}"/>
              </a:ext>
            </a:extLst>
          </p:cNvPr>
          <p:cNvSpPr txBox="1"/>
          <p:nvPr/>
        </p:nvSpPr>
        <p:spPr>
          <a:xfrm>
            <a:off x="299484" y="7707119"/>
            <a:ext cx="1617430"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F3D4A"/>
                </a:solidFill>
                <a:effectLst/>
                <a:uLnTx/>
                <a:uFillTx/>
                <a:latin typeface="Darker Grotesque" pitchFamily="2" charset="0"/>
              </a:rPr>
              <a:t>Existing solutions</a:t>
            </a:r>
          </a:p>
        </p:txBody>
      </p:sp>
      <p:sp>
        <p:nvSpPr>
          <p:cNvPr id="42" name="TextBox 41">
            <a:extLst>
              <a:ext uri="{FF2B5EF4-FFF2-40B4-BE49-F238E27FC236}">
                <a16:creationId xmlns:a16="http://schemas.microsoft.com/office/drawing/2014/main" id="{FA0E1AE2-7FAC-FF4C-4245-2516B0639E25}"/>
              </a:ext>
            </a:extLst>
          </p:cNvPr>
          <p:cNvSpPr txBox="1"/>
          <p:nvPr/>
        </p:nvSpPr>
        <p:spPr>
          <a:xfrm>
            <a:off x="931161" y="7707119"/>
            <a:ext cx="6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latin typeface="Darker Grotesque" pitchFamily="2" charset="0"/>
            </a:endParaRPr>
          </a:p>
        </p:txBody>
      </p:sp>
      <p:cxnSp>
        <p:nvCxnSpPr>
          <p:cNvPr id="43" name="Straight Connector 42">
            <a:extLst>
              <a:ext uri="{FF2B5EF4-FFF2-40B4-BE49-F238E27FC236}">
                <a16:creationId xmlns:a16="http://schemas.microsoft.com/office/drawing/2014/main" id="{FE887A4D-A223-7B99-584C-41E3BFFEFDDC}"/>
              </a:ext>
            </a:extLst>
          </p:cNvPr>
          <p:cNvCxnSpPr/>
          <p:nvPr/>
        </p:nvCxnSpPr>
        <p:spPr>
          <a:xfrm>
            <a:off x="299484" y="7911131"/>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986441FF-A1B5-401E-C574-C0E0D1DAE6F8}"/>
              </a:ext>
            </a:extLst>
          </p:cNvPr>
          <p:cNvSpPr/>
          <p:nvPr/>
        </p:nvSpPr>
        <p:spPr>
          <a:xfrm>
            <a:off x="5842207" y="7669554"/>
            <a:ext cx="507586" cy="483154"/>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grpSp>
        <p:nvGrpSpPr>
          <p:cNvPr id="45" name="Group 44">
            <a:extLst>
              <a:ext uri="{FF2B5EF4-FFF2-40B4-BE49-F238E27FC236}">
                <a16:creationId xmlns:a16="http://schemas.microsoft.com/office/drawing/2014/main" id="{513E4F8B-2467-73C1-E5DB-6E5B90706D58}"/>
              </a:ext>
            </a:extLst>
          </p:cNvPr>
          <p:cNvGrpSpPr/>
          <p:nvPr/>
        </p:nvGrpSpPr>
        <p:grpSpPr>
          <a:xfrm>
            <a:off x="248093" y="7791196"/>
            <a:ext cx="6826475" cy="1406338"/>
            <a:chOff x="248093" y="497779"/>
            <a:chExt cx="6826475" cy="1477455"/>
          </a:xfrm>
        </p:grpSpPr>
        <p:sp>
          <p:nvSpPr>
            <p:cNvPr id="46" name="TextBox 45">
              <a:extLst>
                <a:ext uri="{FF2B5EF4-FFF2-40B4-BE49-F238E27FC236}">
                  <a16:creationId xmlns:a16="http://schemas.microsoft.com/office/drawing/2014/main" id="{126AAD5E-FB0B-5824-A5B4-F820F9D797F1}"/>
                </a:ext>
              </a:extLst>
            </p:cNvPr>
            <p:cNvSpPr txBox="1"/>
            <p:nvPr/>
          </p:nvSpPr>
          <p:spPr>
            <a:xfrm>
              <a:off x="248093" y="1163312"/>
              <a:ext cx="6826475" cy="81192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6600">
                <a:solidFill>
                  <a:srgbClr val="2F3D4A"/>
                </a:solidFill>
              </a:endParaRPr>
            </a:p>
          </p:txBody>
        </p:sp>
        <p:pic>
          <p:nvPicPr>
            <p:cNvPr id="47" name="Graphic 46">
              <a:extLst>
                <a:ext uri="{FF2B5EF4-FFF2-40B4-BE49-F238E27FC236}">
                  <a16:creationId xmlns:a16="http://schemas.microsoft.com/office/drawing/2014/main" id="{9FA5F931-122F-C8EE-BAD2-C015A1543C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97779"/>
              <a:ext cx="252000" cy="252000"/>
            </a:xfrm>
            <a:prstGeom prst="rect">
              <a:avLst/>
            </a:prstGeom>
          </p:spPr>
        </p:pic>
      </p:grpSp>
      <p:pic>
        <p:nvPicPr>
          <p:cNvPr id="48" name="Picture 2" descr="123 number icon vector. One, two, and three symbols in circle background  26966950 Vector Art at Vecteezy">
            <a:extLst>
              <a:ext uri="{FF2B5EF4-FFF2-40B4-BE49-F238E27FC236}">
                <a16:creationId xmlns:a16="http://schemas.microsoft.com/office/drawing/2014/main" id="{693B49F9-B989-093A-EF2B-8522F2FC3248}"/>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0000" b="90000" l="6615" r="90000">
                        <a14:foregroundMark x1="22500" y1="44271" x2="17969" y2="44271"/>
                        <a14:foregroundMark x1="17969" y1="44271" x2="18958" y2="48229"/>
                        <a14:foregroundMark x1="19740" y1="38021" x2="18854" y2="39896"/>
                        <a14:foregroundMark x1="19740" y1="50313" x2="21146" y2="62708"/>
                        <a14:foregroundMark x1="12448" y1="35208" x2="12292" y2="46354"/>
                        <a14:foregroundMark x1="10365" y1="36146" x2="6615" y2="49479"/>
                        <a14:foregroundMark x1="7292" y1="48750" x2="12292" y2="62604"/>
                        <a14:foregroundMark x1="12292" y1="62604" x2="18958" y2="65625"/>
                        <a14:foregroundMark x1="18958" y1="65625" x2="23490" y2="59583"/>
                        <a14:foregroundMark x1="23490" y1="59583" x2="24531" y2="45104"/>
                        <a14:foregroundMark x1="24531" y1="45104" x2="19479" y2="36354"/>
                        <a14:foregroundMark x1="19479" y1="36354" x2="13542" y2="47396"/>
                        <a14:foregroundMark x1="13542" y1="47396" x2="14063" y2="61250"/>
                        <a14:foregroundMark x1="14063" y1="61250" x2="15208" y2="63750"/>
                      </a14:backgroundRemoval>
                    </a14:imgEffect>
                  </a14:imgLayer>
                </a14:imgProps>
              </a:ext>
              <a:ext uri="{28A0092B-C50C-407E-A947-70E740481C1C}">
                <a14:useLocalDpi xmlns:a14="http://schemas.microsoft.com/office/drawing/2010/main" val="0"/>
              </a:ext>
            </a:extLst>
          </a:blip>
          <a:srcRect l="5020" t="22650" r="67426" b="23496"/>
          <a:stretch>
            <a:fillRect/>
          </a:stretch>
        </p:blipFill>
        <p:spPr bwMode="auto">
          <a:xfrm>
            <a:off x="461152" y="8188562"/>
            <a:ext cx="736759" cy="72000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123 number icon vector. One, two, and three symbols in circle background  26966950 Vector Art at Vecteezy">
            <a:extLst>
              <a:ext uri="{FF2B5EF4-FFF2-40B4-BE49-F238E27FC236}">
                <a16:creationId xmlns:a16="http://schemas.microsoft.com/office/drawing/2014/main" id="{E3022D04-24B0-021B-3C17-DF5015B96439}"/>
              </a:ext>
            </a:extLst>
          </p:cNvPr>
          <p:cNvPicPr>
            <a:picLocks noChangeAspect="1" noChangeArrowheads="1"/>
          </p:cNvPicPr>
          <p:nvPr/>
        </p:nvPicPr>
        <p:blipFill rotWithShape="1">
          <a:blip r:embed="rId7">
            <a:extLst>
              <a:ext uri="{BEBA8EAE-BF5A-486C-A8C5-ECC9F3942E4B}">
                <a14:imgProps xmlns:a14="http://schemas.microsoft.com/office/drawing/2010/main">
                  <a14:imgLayer r:embed="rId6">
                    <a14:imgEffect>
                      <a14:backgroundRemoval t="27292" b="73542" l="38385" r="62292">
                        <a14:foregroundMark x1="49844" y1="42083" x2="51354" y2="50000"/>
                        <a14:foregroundMark x1="51354" y1="50000" x2="50885" y2="59688"/>
                        <a14:foregroundMark x1="50885" y1="59688" x2="55781" y2="50208"/>
                        <a14:foregroundMark x1="55781" y1="50208" x2="51563" y2="41042"/>
                        <a14:foregroundMark x1="51563" y1="41042" x2="45885" y2="38646"/>
                        <a14:foregroundMark x1="45885" y1="38646" x2="46771" y2="38333"/>
                        <a14:foregroundMark x1="49792" y1="51458" x2="48073" y2="58750"/>
                        <a14:foregroundMark x1="57969" y1="53854" x2="57969" y2="56667"/>
                        <a14:foregroundMark x1="55833" y1="67708" x2="52812" y2="72396"/>
                        <a14:foregroundMark x1="51615" y1="73542" x2="51615" y2="73542"/>
                        <a14:foregroundMark x1="49792" y1="58333" x2="49792" y2="58333"/>
                        <a14:foregroundMark x1="47083" y1="60417" x2="51458" y2="60729"/>
                        <a14:foregroundMark x1="51458" y1="60729" x2="54167" y2="60521"/>
                        <a14:foregroundMark x1="47083" y1="56667" x2="51563" y2="40938"/>
                        <a14:foregroundMark x1="51563" y1="40938" x2="48750" y2="34688"/>
                        <a14:foregroundMark x1="48750" y1="34688" x2="47396" y2="34583"/>
                        <a14:foregroundMark x1="50313" y1="32813" x2="55052" y2="39583"/>
                        <a14:foregroundMark x1="51823" y1="37083" x2="54115" y2="46979"/>
                        <a14:foregroundMark x1="50938" y1="27604" x2="50625" y2="27292"/>
                        <a14:foregroundMark x1="38385" y1="46771" x2="38385" y2="46771"/>
                      </a14:backgroundRemoval>
                    </a14:imgEffect>
                  </a14:imgLayer>
                </a14:imgProps>
              </a:ext>
              <a:ext uri="{28A0092B-C50C-407E-A947-70E740481C1C}">
                <a14:useLocalDpi xmlns:a14="http://schemas.microsoft.com/office/drawing/2010/main" val="0"/>
              </a:ext>
            </a:extLst>
          </a:blip>
          <a:srcRect l="35683" t="22239" r="34708" b="22357"/>
          <a:stretch>
            <a:fillRect/>
          </a:stretch>
        </p:blipFill>
        <p:spPr bwMode="auto">
          <a:xfrm>
            <a:off x="4294048" y="8188562"/>
            <a:ext cx="773010" cy="72324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123 number icon vector. One, two, and three symbols in circle background  26966950 Vector Art at Vecteezy">
            <a:extLst>
              <a:ext uri="{FF2B5EF4-FFF2-40B4-BE49-F238E27FC236}">
                <a16:creationId xmlns:a16="http://schemas.microsoft.com/office/drawing/2014/main" id="{6A500014-D048-F19A-290C-BA0B3C1F9DD1}"/>
              </a:ext>
            </a:extLst>
          </p:cNvPr>
          <p:cNvPicPr>
            <a:picLocks noChangeAspect="1" noChangeArrowheads="1"/>
          </p:cNvPicPr>
          <p:nvPr/>
        </p:nvPicPr>
        <p:blipFill rotWithShape="1">
          <a:blip r:embed="rId8">
            <a:extLst>
              <a:ext uri="{BEBA8EAE-BF5A-486C-A8C5-ECC9F3942E4B}">
                <a14:imgProps xmlns:a14="http://schemas.microsoft.com/office/drawing/2010/main">
                  <a14:imgLayer r:embed="rId6">
                    <a14:imgEffect>
                      <a14:backgroundRemoval t="25521" b="73125" l="69167" r="93229">
                        <a14:foregroundMark x1="79844" y1="38542" x2="84219" y2="44896"/>
                        <a14:foregroundMark x1="84219" y1="44896" x2="83802" y2="58333"/>
                        <a14:foregroundMark x1="83802" y1="58333" x2="78750" y2="60000"/>
                        <a14:foregroundMark x1="78750" y1="60000" x2="78750" y2="60000"/>
                        <a14:foregroundMark x1="80000" y1="61458" x2="83385" y2="63750"/>
                        <a14:foregroundMark x1="83125" y1="38542" x2="84219" y2="46146"/>
                        <a14:foregroundMark x1="82448" y1="48229" x2="80990" y2="51979"/>
                        <a14:foregroundMark x1="82865" y1="39792" x2="76406" y2="39792"/>
                        <a14:foregroundMark x1="80938" y1="27187" x2="81458" y2="25521"/>
                        <a14:foregroundMark x1="70417" y1="45729" x2="69531" y2="47188"/>
                        <a14:foregroundMark x1="82448" y1="71042" x2="82448" y2="73125"/>
                        <a14:foregroundMark x1="93281" y1="52917" x2="93281" y2="52917"/>
                        <a14:foregroundMark x1="69167" y1="50729" x2="69167" y2="50729"/>
                      </a14:backgroundRemoval>
                    </a14:imgEffect>
                  </a14:imgLayer>
                </a14:imgProps>
              </a:ext>
              <a:ext uri="{28A0092B-C50C-407E-A947-70E740481C1C}">
                <a14:useLocalDpi xmlns:a14="http://schemas.microsoft.com/office/drawing/2010/main" val="0"/>
              </a:ext>
            </a:extLst>
          </a:blip>
          <a:srcRect l="67031" t="21875" r="4179" b="21563"/>
          <a:stretch>
            <a:fillRect/>
          </a:stretch>
        </p:blipFill>
        <p:spPr bwMode="auto">
          <a:xfrm>
            <a:off x="8208508" y="8188562"/>
            <a:ext cx="732950" cy="72000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86D8A7DE-E916-5635-F3D6-A92C10E7F6BD}"/>
              </a:ext>
            </a:extLst>
          </p:cNvPr>
          <p:cNvSpPr txBox="1"/>
          <p:nvPr/>
        </p:nvSpPr>
        <p:spPr>
          <a:xfrm>
            <a:off x="1274611" y="8249077"/>
            <a:ext cx="2898079" cy="646331"/>
          </a:xfrm>
          <a:prstGeom prst="rect">
            <a:avLst/>
          </a:prstGeom>
          <a:noFill/>
        </p:spPr>
        <p:txBody>
          <a:bodyPr wrap="square">
            <a:spAutoFit/>
          </a:bodyPr>
          <a:lstStyle/>
          <a:p>
            <a:r>
              <a:rPr lang="en-AU" b="1" err="1">
                <a:solidFill>
                  <a:srgbClr val="27333D"/>
                </a:solidFill>
                <a:latin typeface="Century Gothic" panose="020B0502020202020204" pitchFamily="34" charset="0"/>
              </a:rPr>
              <a:t>SitnStand</a:t>
            </a:r>
            <a:r>
              <a:rPr lang="en-AU" b="1">
                <a:latin typeface="Century Gothic" panose="020B0502020202020204" pitchFamily="34" charset="0"/>
              </a:rPr>
              <a:t> Lift Assist </a:t>
            </a:r>
          </a:p>
          <a:p>
            <a:r>
              <a:rPr lang="en-AU" b="1">
                <a:latin typeface="Century Gothic" panose="020B0502020202020204" pitchFamily="34" charset="0"/>
              </a:rPr>
              <a:t>$1299 AUD </a:t>
            </a:r>
          </a:p>
        </p:txBody>
      </p:sp>
      <p:sp>
        <p:nvSpPr>
          <p:cNvPr id="52" name="TextBox 51">
            <a:extLst>
              <a:ext uri="{FF2B5EF4-FFF2-40B4-BE49-F238E27FC236}">
                <a16:creationId xmlns:a16="http://schemas.microsoft.com/office/drawing/2014/main" id="{5BDC65F4-FAFB-F121-7D63-4FA9AE1FA2DE}"/>
              </a:ext>
            </a:extLst>
          </p:cNvPr>
          <p:cNvSpPr txBox="1"/>
          <p:nvPr/>
        </p:nvSpPr>
        <p:spPr>
          <a:xfrm>
            <a:off x="5079392" y="8249077"/>
            <a:ext cx="2862748" cy="646331"/>
          </a:xfrm>
          <a:prstGeom prst="rect">
            <a:avLst/>
          </a:prstGeom>
          <a:noFill/>
        </p:spPr>
        <p:txBody>
          <a:bodyPr wrap="square">
            <a:spAutoFit/>
          </a:bodyPr>
          <a:lstStyle/>
          <a:p>
            <a:r>
              <a:rPr lang="en-US" b="1" dirty="0" err="1">
                <a:latin typeface="Century Gothic" panose="020B0502020202020204" pitchFamily="34" charset="0"/>
              </a:rPr>
              <a:t>Carex</a:t>
            </a:r>
            <a:r>
              <a:rPr lang="en-US" b="1" dirty="0">
                <a:latin typeface="Century Gothic" panose="020B0502020202020204" pitchFamily="34" charset="0"/>
              </a:rPr>
              <a:t> Uplift Seat Assist</a:t>
            </a:r>
          </a:p>
          <a:p>
            <a:r>
              <a:rPr lang="en-US" b="1" dirty="0">
                <a:latin typeface="Century Gothic" panose="020B0502020202020204" pitchFamily="34" charset="0"/>
              </a:rPr>
              <a:t>$247.52 AUD </a:t>
            </a:r>
            <a:endParaRPr lang="en-AU" b="1" dirty="0">
              <a:latin typeface="Century Gothic" panose="020B0502020202020204" pitchFamily="34" charset="0"/>
            </a:endParaRPr>
          </a:p>
        </p:txBody>
      </p:sp>
      <p:sp>
        <p:nvSpPr>
          <p:cNvPr id="53" name="TextBox 52">
            <a:extLst>
              <a:ext uri="{FF2B5EF4-FFF2-40B4-BE49-F238E27FC236}">
                <a16:creationId xmlns:a16="http://schemas.microsoft.com/office/drawing/2014/main" id="{3749D727-E0C7-9F3F-56EB-A6D340BAE985}"/>
              </a:ext>
            </a:extLst>
          </p:cNvPr>
          <p:cNvSpPr txBox="1"/>
          <p:nvPr/>
        </p:nvSpPr>
        <p:spPr>
          <a:xfrm>
            <a:off x="248093" y="11201398"/>
            <a:ext cx="3943916" cy="2062103"/>
          </a:xfrm>
          <a:prstGeom prst="rect">
            <a:avLst/>
          </a:prstGeom>
          <a:noFill/>
        </p:spPr>
        <p:txBody>
          <a:bodyPr wrap="square">
            <a:spAutoFit/>
          </a:bodyPr>
          <a:lstStyle/>
          <a:p>
            <a:r>
              <a:rPr lang="en-US" sz="1600" dirty="0"/>
              <a:t>Battery‑powered vertical lift with a two‑button remot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Highly portable</a:t>
            </a:r>
            <a:br>
              <a:rPr lang="en-US" sz="1600" dirty="0"/>
            </a:br>
            <a:endParaRPr lang="en-US" sz="1600" dirty="0"/>
          </a:p>
          <a:p>
            <a:pPr marL="285750" indent="-285750">
              <a:buFont typeface="Wingdings" panose="05000000000000000000" pitchFamily="2" charset="2"/>
              <a:buChar char="Ø"/>
            </a:pPr>
            <a:r>
              <a:rPr lang="en-US" sz="1600" dirty="0"/>
              <a:t> High cost </a:t>
            </a:r>
          </a:p>
          <a:p>
            <a:pPr marL="285750" indent="-285750">
              <a:buFont typeface="Wingdings" panose="05000000000000000000" pitchFamily="2" charset="2"/>
              <a:buChar char="Ø"/>
            </a:pPr>
            <a:r>
              <a:rPr lang="en-US" sz="1600" dirty="0"/>
              <a:t>Needs regular recharging</a:t>
            </a:r>
          </a:p>
          <a:p>
            <a:pPr marL="285750" indent="-285750">
              <a:buFont typeface="Wingdings" panose="05000000000000000000" pitchFamily="2" charset="2"/>
              <a:buChar char="Ø"/>
            </a:pPr>
            <a:r>
              <a:rPr lang="en-US" sz="1600" dirty="0"/>
              <a:t>Heavy and complex</a:t>
            </a:r>
            <a:endParaRPr lang="en-AU" sz="1600" dirty="0"/>
          </a:p>
        </p:txBody>
      </p:sp>
      <p:sp>
        <p:nvSpPr>
          <p:cNvPr id="54" name="Oval 53">
            <a:extLst>
              <a:ext uri="{FF2B5EF4-FFF2-40B4-BE49-F238E27FC236}">
                <a16:creationId xmlns:a16="http://schemas.microsoft.com/office/drawing/2014/main" id="{651E2824-CF67-FACD-6CC0-BEFB9CC4BB82}"/>
              </a:ext>
            </a:extLst>
          </p:cNvPr>
          <p:cNvSpPr/>
          <p:nvPr/>
        </p:nvSpPr>
        <p:spPr>
          <a:xfrm>
            <a:off x="977249" y="8916875"/>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sp>
        <p:nvSpPr>
          <p:cNvPr id="55" name="TextBox 54">
            <a:extLst>
              <a:ext uri="{FF2B5EF4-FFF2-40B4-BE49-F238E27FC236}">
                <a16:creationId xmlns:a16="http://schemas.microsoft.com/office/drawing/2014/main" id="{656D75AE-EB8F-9722-4CCB-760995B73032}"/>
              </a:ext>
            </a:extLst>
          </p:cNvPr>
          <p:cNvSpPr txBox="1"/>
          <p:nvPr/>
        </p:nvSpPr>
        <p:spPr>
          <a:xfrm>
            <a:off x="4343445" y="11192394"/>
            <a:ext cx="3419475" cy="2062103"/>
          </a:xfrm>
          <a:prstGeom prst="rect">
            <a:avLst/>
          </a:prstGeom>
          <a:noFill/>
        </p:spPr>
        <p:txBody>
          <a:bodyPr wrap="square">
            <a:spAutoFit/>
          </a:bodyPr>
          <a:lstStyle/>
          <a:p>
            <a:r>
              <a:rPr lang="en-US" sz="1600" dirty="0"/>
              <a:t>Non‑electric pneumatic seat that lifts up-to 50 % of the user’s weight</a:t>
            </a:r>
            <a:br>
              <a:rPr lang="en-US" sz="1600" dirty="0"/>
            </a:br>
            <a:endParaRPr lang="en-US" sz="1600" dirty="0"/>
          </a:p>
          <a:p>
            <a:pPr marL="285750" indent="-285750">
              <a:buFont typeface="Arial" panose="020B0604020202020204" pitchFamily="34" charset="0"/>
              <a:buChar char="•"/>
            </a:pPr>
            <a:r>
              <a:rPr lang="en-US" sz="1600" dirty="0"/>
              <a:t>Adjustable height.</a:t>
            </a:r>
          </a:p>
          <a:p>
            <a:pPr marL="285750" indent="-285750">
              <a:buFont typeface="Arial" panose="020B0604020202020204" pitchFamily="34" charset="0"/>
              <a:buChar char="•"/>
            </a:pPr>
            <a:r>
              <a:rPr lang="en-US" sz="1600" dirty="0"/>
              <a:t>Budget friendly </a:t>
            </a:r>
            <a:br>
              <a:rPr lang="en-US" sz="1600" dirty="0"/>
            </a:br>
            <a:endParaRPr lang="en-US" sz="1600" dirty="0"/>
          </a:p>
          <a:p>
            <a:pPr marL="285750" indent="-285750">
              <a:buFont typeface="Wingdings" panose="05000000000000000000" pitchFamily="2" charset="2"/>
              <a:buChar char="Ø"/>
            </a:pPr>
            <a:r>
              <a:rPr lang="en-US" sz="1600" dirty="0"/>
              <a:t>Bulky and unsafe.</a:t>
            </a:r>
          </a:p>
          <a:p>
            <a:pPr marL="285750" indent="-285750">
              <a:buFont typeface="Wingdings" panose="05000000000000000000" pitchFamily="2" charset="2"/>
              <a:buChar char="Ø"/>
            </a:pPr>
            <a:r>
              <a:rPr lang="en-US" sz="1600" dirty="0"/>
              <a:t>Hard to close down.</a:t>
            </a:r>
            <a:endParaRPr lang="en-AU" sz="1600" dirty="0"/>
          </a:p>
        </p:txBody>
      </p:sp>
      <p:sp>
        <p:nvSpPr>
          <p:cNvPr id="56" name="TextBox 55">
            <a:extLst>
              <a:ext uri="{FF2B5EF4-FFF2-40B4-BE49-F238E27FC236}">
                <a16:creationId xmlns:a16="http://schemas.microsoft.com/office/drawing/2014/main" id="{D8040A07-0FEE-EE36-6B1F-32CA8AB29A77}"/>
              </a:ext>
            </a:extLst>
          </p:cNvPr>
          <p:cNvSpPr txBox="1"/>
          <p:nvPr/>
        </p:nvSpPr>
        <p:spPr>
          <a:xfrm>
            <a:off x="8351608" y="11192394"/>
            <a:ext cx="3419475" cy="2554545"/>
          </a:xfrm>
          <a:prstGeom prst="rect">
            <a:avLst/>
          </a:prstGeom>
          <a:noFill/>
        </p:spPr>
        <p:txBody>
          <a:bodyPr wrap="square">
            <a:spAutoFit/>
          </a:bodyPr>
          <a:lstStyle/>
          <a:p>
            <a:r>
              <a:rPr lang="en-US" sz="1600" dirty="0"/>
              <a:t>Manually actuated seat providing up to 70 % lift assistance and supports users up to 130kg. </a:t>
            </a:r>
          </a:p>
          <a:p>
            <a:endParaRPr lang="en-US" sz="1600" dirty="0"/>
          </a:p>
          <a:p>
            <a:pPr marL="285750" indent="-285750">
              <a:buFont typeface="Arial" panose="020B0604020202020204" pitchFamily="34" charset="0"/>
              <a:buChar char="•"/>
            </a:pPr>
            <a:r>
              <a:rPr lang="en-US" sz="1600" dirty="0"/>
              <a:t> Adjustable weight range</a:t>
            </a:r>
          </a:p>
          <a:p>
            <a:pPr marL="285750" indent="-285750">
              <a:buFont typeface="Arial" panose="020B0604020202020204" pitchFamily="34" charset="0"/>
              <a:buChar char="•"/>
            </a:pPr>
            <a:r>
              <a:rPr lang="en-US" sz="1600" dirty="0"/>
              <a:t>Washable polyester cover.</a:t>
            </a:r>
          </a:p>
          <a:p>
            <a:endParaRPr lang="en-US" sz="1600" dirty="0"/>
          </a:p>
          <a:p>
            <a:pPr marL="285750" indent="-285750">
              <a:buFont typeface="Wingdings" panose="05000000000000000000" pitchFamily="2" charset="2"/>
              <a:buChar char="Ø"/>
            </a:pPr>
            <a:r>
              <a:rPr lang="en-US" sz="1600" dirty="0"/>
              <a:t>Mid‑range price </a:t>
            </a:r>
          </a:p>
          <a:p>
            <a:pPr marL="285750" indent="-285750">
              <a:buFont typeface="Wingdings" panose="05000000000000000000" pitchFamily="2" charset="2"/>
              <a:buChar char="Ø"/>
            </a:pPr>
            <a:r>
              <a:rPr lang="en-US" sz="1600" dirty="0"/>
              <a:t>Weight about 4.5 kg </a:t>
            </a:r>
          </a:p>
          <a:p>
            <a:pPr marL="285750" indent="-285750">
              <a:buFont typeface="Wingdings" panose="05000000000000000000" pitchFamily="2" charset="2"/>
              <a:buChar char="Ø"/>
            </a:pPr>
            <a:r>
              <a:rPr lang="en-US" sz="1600" dirty="0"/>
              <a:t>Manual activation requires effort.</a:t>
            </a:r>
          </a:p>
        </p:txBody>
      </p:sp>
      <p:pic>
        <p:nvPicPr>
          <p:cNvPr id="57" name="Picture 56" descr="A logo with text and a square with a arrow up&#10;&#10;AI-generated content may be incorrect.">
            <a:extLst>
              <a:ext uri="{FF2B5EF4-FFF2-40B4-BE49-F238E27FC236}">
                <a16:creationId xmlns:a16="http://schemas.microsoft.com/office/drawing/2014/main" id="{1A197A86-A5A1-33EA-C535-4489078686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782299" y="7473989"/>
            <a:ext cx="1135911" cy="1135911"/>
          </a:xfrm>
          <a:prstGeom prst="roundRect">
            <a:avLst/>
          </a:prstGeom>
        </p:spPr>
      </p:pic>
      <p:sp>
        <p:nvSpPr>
          <p:cNvPr id="58" name="TextBox 57">
            <a:extLst>
              <a:ext uri="{FF2B5EF4-FFF2-40B4-BE49-F238E27FC236}">
                <a16:creationId xmlns:a16="http://schemas.microsoft.com/office/drawing/2014/main" id="{A52F1393-A52A-D2E2-A861-91AF86675814}"/>
              </a:ext>
            </a:extLst>
          </p:cNvPr>
          <p:cNvSpPr txBox="1"/>
          <p:nvPr/>
        </p:nvSpPr>
        <p:spPr>
          <a:xfrm>
            <a:off x="8941458" y="8198154"/>
            <a:ext cx="2939391" cy="646331"/>
          </a:xfrm>
          <a:prstGeom prst="rect">
            <a:avLst/>
          </a:prstGeom>
          <a:noFill/>
        </p:spPr>
        <p:txBody>
          <a:bodyPr wrap="square">
            <a:spAutoFit/>
          </a:bodyPr>
          <a:lstStyle/>
          <a:p>
            <a:r>
              <a:rPr lang="en-US" b="1" dirty="0"/>
              <a:t>Manual Lift Cushion</a:t>
            </a:r>
            <a:br>
              <a:rPr lang="en-US" b="1" dirty="0"/>
            </a:br>
            <a:r>
              <a:rPr lang="en-US" b="1" dirty="0"/>
              <a:t>$469.99 US </a:t>
            </a:r>
            <a:endParaRPr lang="en-AU" b="1" dirty="0"/>
          </a:p>
        </p:txBody>
      </p:sp>
      <p:pic>
        <p:nvPicPr>
          <p:cNvPr id="59" name="Picture 58">
            <a:extLst>
              <a:ext uri="{FF2B5EF4-FFF2-40B4-BE49-F238E27FC236}">
                <a16:creationId xmlns:a16="http://schemas.microsoft.com/office/drawing/2014/main" id="{5BF3F57A-9F39-6C85-E726-ED368EE938F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964915" y="8888333"/>
            <a:ext cx="2000761" cy="2053326"/>
          </a:xfrm>
          <a:prstGeom prst="rect">
            <a:avLst/>
          </a:prstGeom>
        </p:spPr>
      </p:pic>
      <p:sp>
        <p:nvSpPr>
          <p:cNvPr id="60" name="Oval 59">
            <a:extLst>
              <a:ext uri="{FF2B5EF4-FFF2-40B4-BE49-F238E27FC236}">
                <a16:creationId xmlns:a16="http://schemas.microsoft.com/office/drawing/2014/main" id="{DA802C11-A435-9206-4DE6-66C879DD1703}"/>
              </a:ext>
            </a:extLst>
          </p:cNvPr>
          <p:cNvSpPr/>
          <p:nvPr/>
        </p:nvSpPr>
        <p:spPr>
          <a:xfrm>
            <a:off x="5221619" y="8916875"/>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sp>
        <p:nvSpPr>
          <p:cNvPr id="61" name="Oval 60">
            <a:extLst>
              <a:ext uri="{FF2B5EF4-FFF2-40B4-BE49-F238E27FC236}">
                <a16:creationId xmlns:a16="http://schemas.microsoft.com/office/drawing/2014/main" id="{B6A44EA5-534B-CC6F-B13D-B4B568DC2267}"/>
              </a:ext>
            </a:extLst>
          </p:cNvPr>
          <p:cNvSpPr/>
          <p:nvPr/>
        </p:nvSpPr>
        <p:spPr>
          <a:xfrm>
            <a:off x="8941458" y="8895408"/>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pic>
        <p:nvPicPr>
          <p:cNvPr id="62" name="Picture 61">
            <a:extLst>
              <a:ext uri="{FF2B5EF4-FFF2-40B4-BE49-F238E27FC236}">
                <a16:creationId xmlns:a16="http://schemas.microsoft.com/office/drawing/2014/main" id="{034DDA44-3F1C-89E0-29E1-B3C6FBB701DC}"/>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984" b="89854" l="5893" r="99307">
                        <a14:foregroundMark x1="91248" y1="62825" x2="94627" y2="68101"/>
                        <a14:foregroundMark x1="5893" y1="64367" x2="5893" y2="64367"/>
                        <a14:foregroundMark x1="91594" y1="65990" x2="99307" y2="67289"/>
                      </a14:backgroundRemoval>
                    </a14:imgEffect>
                  </a14:imgLayer>
                </a14:imgProps>
              </a:ext>
            </a:extLst>
          </a:blip>
          <a:stretch>
            <a:fillRect/>
          </a:stretch>
        </p:blipFill>
        <p:spPr>
          <a:xfrm>
            <a:off x="5392334" y="8974644"/>
            <a:ext cx="1580663" cy="1687502"/>
          </a:xfrm>
          <a:prstGeom prst="rect">
            <a:avLst/>
          </a:prstGeom>
        </p:spPr>
      </p:pic>
      <p:pic>
        <p:nvPicPr>
          <p:cNvPr id="63" name="Picture 62">
            <a:extLst>
              <a:ext uri="{FF2B5EF4-FFF2-40B4-BE49-F238E27FC236}">
                <a16:creationId xmlns:a16="http://schemas.microsoft.com/office/drawing/2014/main" id="{A58AAC4A-905D-0D1B-B749-6271304A80C1}"/>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222" b="89948" l="3160" r="89955">
                        <a14:foregroundMark x1="26749" y1="5222" x2="26749" y2="5222"/>
                        <a14:foregroundMark x1="29233" y1="5614" x2="29233" y2="5614"/>
                        <a14:foregroundMark x1="7336" y1="20627" x2="7336" y2="20627"/>
                        <a14:foregroundMark x1="73815" y1="73238" x2="73815" y2="73238"/>
                        <a14:foregroundMark x1="73476" y1="71802" x2="66027" y2="74151"/>
                        <a14:foregroundMark x1="77540" y1="74935" x2="78781" y2="83812"/>
                        <a14:foregroundMark x1="80135" y1="82768" x2="79458" y2="89034"/>
                        <a14:foregroundMark x1="66479" y1="86554" x2="66479" y2="86554"/>
                        <a14:foregroundMark x1="3160" y1="63577" x2="3499" y2="63055"/>
                      </a14:backgroundRemoval>
                    </a14:imgEffect>
                  </a14:imgLayer>
                </a14:imgProps>
              </a:ext>
            </a:extLst>
          </a:blip>
          <a:stretch>
            <a:fillRect/>
          </a:stretch>
        </p:blipFill>
        <p:spPr>
          <a:xfrm>
            <a:off x="9089270" y="9197534"/>
            <a:ext cx="1879328" cy="1624792"/>
          </a:xfrm>
          <a:prstGeom prst="rect">
            <a:avLst/>
          </a:prstGeom>
        </p:spPr>
      </p:pic>
    </p:spTree>
    <p:extLst>
      <p:ext uri="{BB962C8B-B14F-4D97-AF65-F5344CB8AC3E}">
        <p14:creationId xmlns:p14="http://schemas.microsoft.com/office/powerpoint/2010/main" val="357696030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white and blue background&#10;&#10;AI-generated content may be incorrect.">
            <a:extLst>
              <a:ext uri="{FF2B5EF4-FFF2-40B4-BE49-F238E27FC236}">
                <a16:creationId xmlns:a16="http://schemas.microsoft.com/office/drawing/2014/main" id="{6920EABF-0AC5-B5AA-5F39-738BAE3151CA}"/>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503E04DF-AB99-4673-B660-11736184BE61}"/>
              </a:ext>
            </a:extLst>
          </p:cNvPr>
          <p:cNvSpPr txBox="1"/>
          <p:nvPr/>
        </p:nvSpPr>
        <p:spPr>
          <a:xfrm>
            <a:off x="299484" y="407551"/>
            <a:ext cx="1617430"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a:ln>
                  <a:noFill/>
                </a:ln>
                <a:solidFill>
                  <a:srgbClr val="2F3D4A"/>
                </a:solidFill>
                <a:effectLst/>
                <a:uLnTx/>
                <a:uFillTx/>
                <a:latin typeface="Darker Grotesque" pitchFamily="2" charset="0"/>
              </a:rPr>
              <a:t>Existing solutions</a:t>
            </a:r>
          </a:p>
        </p:txBody>
      </p:sp>
      <p:sp>
        <p:nvSpPr>
          <p:cNvPr id="10" name="TextBox 9">
            <a:extLst>
              <a:ext uri="{FF2B5EF4-FFF2-40B4-BE49-F238E27FC236}">
                <a16:creationId xmlns:a16="http://schemas.microsoft.com/office/drawing/2014/main" id="{F3C15845-C6CF-CA5F-2830-0AFF9266F2F3}"/>
              </a:ext>
            </a:extLst>
          </p:cNvPr>
          <p:cNvSpPr txBox="1"/>
          <p:nvPr/>
        </p:nvSpPr>
        <p:spPr>
          <a:xfrm>
            <a:off x="931161" y="407551"/>
            <a:ext cx="6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latin typeface="Darker Grotesque" pitchFamily="2" charset="0"/>
            </a:endParaRPr>
          </a:p>
        </p:txBody>
      </p:sp>
      <p:cxnSp>
        <p:nvCxnSpPr>
          <p:cNvPr id="35" name="Straight Connector 34">
            <a:extLst>
              <a:ext uri="{FF2B5EF4-FFF2-40B4-BE49-F238E27FC236}">
                <a16:creationId xmlns:a16="http://schemas.microsoft.com/office/drawing/2014/main" id="{3BAB0B5F-6B8D-3686-A4B3-D3A32A3C11BE}"/>
              </a:ext>
            </a:extLst>
          </p:cNvPr>
          <p:cNvCxnSpPr/>
          <p:nvPr/>
        </p:nvCxnSpPr>
        <p:spPr>
          <a:xfrm>
            <a:off x="299484" y="611563"/>
            <a:ext cx="11644423" cy="0"/>
          </a:xfrm>
          <a:prstGeom prst="line">
            <a:avLst/>
          </a:prstGeom>
          <a:ln/>
        </p:spPr>
        <p:style>
          <a:lnRef idx="1">
            <a:schemeClr val="dk1"/>
          </a:lnRef>
          <a:fillRef idx="0">
            <a:schemeClr val="dk1"/>
          </a:fillRef>
          <a:effectRef idx="0">
            <a:schemeClr val="dk1"/>
          </a:effectRef>
          <a:fontRef idx="minor">
            <a:schemeClr val="tx1"/>
          </a:fontRef>
        </p:style>
      </p:cxnSp>
      <p:sp>
        <p:nvSpPr>
          <p:cNvPr id="36" name="Oval 35">
            <a:extLst>
              <a:ext uri="{FF2B5EF4-FFF2-40B4-BE49-F238E27FC236}">
                <a16:creationId xmlns:a16="http://schemas.microsoft.com/office/drawing/2014/main" id="{264674FF-573F-ACAE-6DF2-1248484CCBC9}"/>
              </a:ext>
            </a:extLst>
          </p:cNvPr>
          <p:cNvSpPr/>
          <p:nvPr/>
        </p:nvSpPr>
        <p:spPr>
          <a:xfrm>
            <a:off x="5842207" y="369986"/>
            <a:ext cx="507586" cy="483154"/>
          </a:xfrm>
          <a:prstGeom prst="ellipse">
            <a:avLst/>
          </a:prstGeom>
          <a:solidFill>
            <a:srgbClr val="44596C"/>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grpSp>
        <p:nvGrpSpPr>
          <p:cNvPr id="2" name="Group 1">
            <a:extLst>
              <a:ext uri="{FF2B5EF4-FFF2-40B4-BE49-F238E27FC236}">
                <a16:creationId xmlns:a16="http://schemas.microsoft.com/office/drawing/2014/main" id="{B534559A-1E5B-321C-CC10-EDD304FCD722}"/>
              </a:ext>
            </a:extLst>
          </p:cNvPr>
          <p:cNvGrpSpPr/>
          <p:nvPr/>
        </p:nvGrpSpPr>
        <p:grpSpPr>
          <a:xfrm>
            <a:off x="248093" y="491628"/>
            <a:ext cx="6826475" cy="1406338"/>
            <a:chOff x="248093" y="497779"/>
            <a:chExt cx="6826475" cy="1477455"/>
          </a:xfrm>
        </p:grpSpPr>
        <p:sp>
          <p:nvSpPr>
            <p:cNvPr id="15" name="TextBox 14">
              <a:extLst>
                <a:ext uri="{FF2B5EF4-FFF2-40B4-BE49-F238E27FC236}">
                  <a16:creationId xmlns:a16="http://schemas.microsoft.com/office/drawing/2014/main" id="{D8A83AD7-0691-8BA1-610C-61E10C28478B}"/>
                </a:ext>
              </a:extLst>
            </p:cNvPr>
            <p:cNvSpPr txBox="1"/>
            <p:nvPr/>
          </p:nvSpPr>
          <p:spPr>
            <a:xfrm>
              <a:off x="248093" y="1163312"/>
              <a:ext cx="6826475" cy="81192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6600">
                <a:solidFill>
                  <a:srgbClr val="2F3D4A"/>
                </a:solidFill>
              </a:endParaRPr>
            </a:p>
          </p:txBody>
        </p:sp>
        <p:pic>
          <p:nvPicPr>
            <p:cNvPr id="24" name="Graphic 23">
              <a:extLst>
                <a:ext uri="{FF2B5EF4-FFF2-40B4-BE49-F238E27FC236}">
                  <a16:creationId xmlns:a16="http://schemas.microsoft.com/office/drawing/2014/main" id="{7E26FE28-9C5B-0BD9-94DA-B3B73633E7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70000" y="497779"/>
              <a:ext cx="252000" cy="252000"/>
            </a:xfrm>
            <a:prstGeom prst="rect">
              <a:avLst/>
            </a:prstGeom>
          </p:spPr>
        </p:pic>
      </p:grpSp>
      <p:pic>
        <p:nvPicPr>
          <p:cNvPr id="2050" name="Picture 2" descr="123 number icon vector. One, two, and three symbols in circle background  26966950 Vector Art at Vecteezy">
            <a:extLst>
              <a:ext uri="{FF2B5EF4-FFF2-40B4-BE49-F238E27FC236}">
                <a16:creationId xmlns:a16="http://schemas.microsoft.com/office/drawing/2014/main" id="{FA6D6927-F589-7BFA-60CE-F0FAF52DA9F1}"/>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10000" b="90000" l="6615" r="90000">
                        <a14:foregroundMark x1="22500" y1="44271" x2="17969" y2="44271"/>
                        <a14:foregroundMark x1="17969" y1="44271" x2="18958" y2="48229"/>
                        <a14:foregroundMark x1="19740" y1="38021" x2="18854" y2="39896"/>
                        <a14:foregroundMark x1="19740" y1="50313" x2="21146" y2="62708"/>
                        <a14:foregroundMark x1="12448" y1="35208" x2="12292" y2="46354"/>
                        <a14:foregroundMark x1="10365" y1="36146" x2="6615" y2="49479"/>
                        <a14:foregroundMark x1="7292" y1="48750" x2="12292" y2="62604"/>
                        <a14:foregroundMark x1="12292" y1="62604" x2="18958" y2="65625"/>
                        <a14:foregroundMark x1="18958" y1="65625" x2="23490" y2="59583"/>
                        <a14:foregroundMark x1="23490" y1="59583" x2="24531" y2="45104"/>
                        <a14:foregroundMark x1="24531" y1="45104" x2="19479" y2="36354"/>
                        <a14:foregroundMark x1="19479" y1="36354" x2="13542" y2="47396"/>
                        <a14:foregroundMark x1="13542" y1="47396" x2="14063" y2="61250"/>
                        <a14:foregroundMark x1="14063" y1="61250" x2="15208" y2="63750"/>
                      </a14:backgroundRemoval>
                    </a14:imgEffect>
                  </a14:imgLayer>
                </a14:imgProps>
              </a:ext>
              <a:ext uri="{28A0092B-C50C-407E-A947-70E740481C1C}">
                <a14:useLocalDpi xmlns:a14="http://schemas.microsoft.com/office/drawing/2010/main" val="0"/>
              </a:ext>
            </a:extLst>
          </a:blip>
          <a:srcRect l="5020" t="22650" r="67426" b="23496"/>
          <a:stretch>
            <a:fillRect/>
          </a:stretch>
        </p:blipFill>
        <p:spPr bwMode="auto">
          <a:xfrm>
            <a:off x="461152" y="888994"/>
            <a:ext cx="736759" cy="72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123 number icon vector. One, two, and three symbols in circle background  26966950 Vector Art at Vecteezy">
            <a:extLst>
              <a:ext uri="{FF2B5EF4-FFF2-40B4-BE49-F238E27FC236}">
                <a16:creationId xmlns:a16="http://schemas.microsoft.com/office/drawing/2014/main" id="{B16A16F6-E791-B1D2-6A39-2DF3D890B887}"/>
              </a:ext>
            </a:extLst>
          </p:cNvPr>
          <p:cNvPicPr>
            <a:picLocks noChangeAspect="1" noChangeArrowheads="1"/>
          </p:cNvPicPr>
          <p:nvPr/>
        </p:nvPicPr>
        <p:blipFill rotWithShape="1">
          <a:blip r:embed="rId8">
            <a:extLst>
              <a:ext uri="{BEBA8EAE-BF5A-486C-A8C5-ECC9F3942E4B}">
                <a14:imgProps xmlns:a14="http://schemas.microsoft.com/office/drawing/2010/main">
                  <a14:imgLayer r:embed="rId7">
                    <a14:imgEffect>
                      <a14:backgroundRemoval t="27292" b="73542" l="38385" r="62292">
                        <a14:foregroundMark x1="49844" y1="42083" x2="51354" y2="50000"/>
                        <a14:foregroundMark x1="51354" y1="50000" x2="50885" y2="59688"/>
                        <a14:foregroundMark x1="50885" y1="59688" x2="55781" y2="50208"/>
                        <a14:foregroundMark x1="55781" y1="50208" x2="51563" y2="41042"/>
                        <a14:foregroundMark x1="51563" y1="41042" x2="45885" y2="38646"/>
                        <a14:foregroundMark x1="45885" y1="38646" x2="46771" y2="38333"/>
                        <a14:foregroundMark x1="49792" y1="51458" x2="48073" y2="58750"/>
                        <a14:foregroundMark x1="57969" y1="53854" x2="57969" y2="56667"/>
                        <a14:foregroundMark x1="55833" y1="67708" x2="52812" y2="72396"/>
                        <a14:foregroundMark x1="51615" y1="73542" x2="51615" y2="73542"/>
                        <a14:foregroundMark x1="49792" y1="58333" x2="49792" y2="58333"/>
                        <a14:foregroundMark x1="47083" y1="60417" x2="51458" y2="60729"/>
                        <a14:foregroundMark x1="51458" y1="60729" x2="54167" y2="60521"/>
                        <a14:foregroundMark x1="47083" y1="56667" x2="51563" y2="40938"/>
                        <a14:foregroundMark x1="51563" y1="40938" x2="48750" y2="34688"/>
                        <a14:foregroundMark x1="48750" y1="34688" x2="47396" y2="34583"/>
                        <a14:foregroundMark x1="50313" y1="32813" x2="55052" y2="39583"/>
                        <a14:foregroundMark x1="51823" y1="37083" x2="54115" y2="46979"/>
                        <a14:foregroundMark x1="50938" y1="27604" x2="50625" y2="27292"/>
                        <a14:foregroundMark x1="38385" y1="46771" x2="38385" y2="46771"/>
                      </a14:backgroundRemoval>
                    </a14:imgEffect>
                  </a14:imgLayer>
                </a14:imgProps>
              </a:ext>
              <a:ext uri="{28A0092B-C50C-407E-A947-70E740481C1C}">
                <a14:useLocalDpi xmlns:a14="http://schemas.microsoft.com/office/drawing/2010/main" val="0"/>
              </a:ext>
            </a:extLst>
          </a:blip>
          <a:srcRect l="35683" t="22239" r="34708" b="22357"/>
          <a:stretch>
            <a:fillRect/>
          </a:stretch>
        </p:blipFill>
        <p:spPr bwMode="auto">
          <a:xfrm>
            <a:off x="4294048" y="888994"/>
            <a:ext cx="773010" cy="72324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123 number icon vector. One, two, and three symbols in circle background  26966950 Vector Art at Vecteezy">
            <a:extLst>
              <a:ext uri="{FF2B5EF4-FFF2-40B4-BE49-F238E27FC236}">
                <a16:creationId xmlns:a16="http://schemas.microsoft.com/office/drawing/2014/main" id="{6575359B-8EE3-0B31-33A8-5D104F835773}"/>
              </a:ext>
            </a:extLst>
          </p:cNvPr>
          <p:cNvPicPr>
            <a:picLocks noChangeAspect="1" noChangeArrowheads="1"/>
          </p:cNvPicPr>
          <p:nvPr/>
        </p:nvPicPr>
        <p:blipFill rotWithShape="1">
          <a:blip r:embed="rId9">
            <a:extLst>
              <a:ext uri="{BEBA8EAE-BF5A-486C-A8C5-ECC9F3942E4B}">
                <a14:imgProps xmlns:a14="http://schemas.microsoft.com/office/drawing/2010/main">
                  <a14:imgLayer r:embed="rId7">
                    <a14:imgEffect>
                      <a14:backgroundRemoval t="25521" b="73125" l="69167" r="93229">
                        <a14:foregroundMark x1="79844" y1="38542" x2="84219" y2="44896"/>
                        <a14:foregroundMark x1="84219" y1="44896" x2="83802" y2="58333"/>
                        <a14:foregroundMark x1="83802" y1="58333" x2="78750" y2="60000"/>
                        <a14:foregroundMark x1="78750" y1="60000" x2="78750" y2="60000"/>
                        <a14:foregroundMark x1="80000" y1="61458" x2="83385" y2="63750"/>
                        <a14:foregroundMark x1="83125" y1="38542" x2="84219" y2="46146"/>
                        <a14:foregroundMark x1="82448" y1="48229" x2="80990" y2="51979"/>
                        <a14:foregroundMark x1="82865" y1="39792" x2="76406" y2="39792"/>
                        <a14:foregroundMark x1="80938" y1="27187" x2="81458" y2="25521"/>
                        <a14:foregroundMark x1="70417" y1="45729" x2="69531" y2="47188"/>
                        <a14:foregroundMark x1="82448" y1="71042" x2="82448" y2="73125"/>
                        <a14:foregroundMark x1="93281" y1="52917" x2="93281" y2="52917"/>
                        <a14:foregroundMark x1="69167" y1="50729" x2="69167" y2="50729"/>
                      </a14:backgroundRemoval>
                    </a14:imgEffect>
                  </a14:imgLayer>
                </a14:imgProps>
              </a:ext>
              <a:ext uri="{28A0092B-C50C-407E-A947-70E740481C1C}">
                <a14:useLocalDpi xmlns:a14="http://schemas.microsoft.com/office/drawing/2010/main" val="0"/>
              </a:ext>
            </a:extLst>
          </a:blip>
          <a:srcRect l="67031" t="21875" r="4179" b="21563"/>
          <a:stretch>
            <a:fillRect/>
          </a:stretch>
        </p:blipFill>
        <p:spPr bwMode="auto">
          <a:xfrm>
            <a:off x="8208508" y="888994"/>
            <a:ext cx="732950" cy="720000"/>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1E9F8967-92C3-6B99-FDE1-049D8D8B9CAA}"/>
              </a:ext>
            </a:extLst>
          </p:cNvPr>
          <p:cNvSpPr txBox="1"/>
          <p:nvPr/>
        </p:nvSpPr>
        <p:spPr>
          <a:xfrm>
            <a:off x="1274611" y="949509"/>
            <a:ext cx="2898079" cy="646331"/>
          </a:xfrm>
          <a:prstGeom prst="rect">
            <a:avLst/>
          </a:prstGeom>
          <a:noFill/>
        </p:spPr>
        <p:txBody>
          <a:bodyPr wrap="square">
            <a:spAutoFit/>
          </a:bodyPr>
          <a:lstStyle/>
          <a:p>
            <a:r>
              <a:rPr lang="en-AU" b="1" err="1">
                <a:solidFill>
                  <a:srgbClr val="27333D"/>
                </a:solidFill>
                <a:latin typeface="Century Gothic" panose="020B0502020202020204" pitchFamily="34" charset="0"/>
              </a:rPr>
              <a:t>SitnStand</a:t>
            </a:r>
            <a:r>
              <a:rPr lang="en-AU" b="1">
                <a:latin typeface="Century Gothic" panose="020B0502020202020204" pitchFamily="34" charset="0"/>
              </a:rPr>
              <a:t> Lift Assist </a:t>
            </a:r>
          </a:p>
          <a:p>
            <a:r>
              <a:rPr lang="en-AU" b="1">
                <a:latin typeface="Century Gothic" panose="020B0502020202020204" pitchFamily="34" charset="0"/>
              </a:rPr>
              <a:t>$1299 AUD </a:t>
            </a:r>
          </a:p>
        </p:txBody>
      </p:sp>
      <p:sp>
        <p:nvSpPr>
          <p:cNvPr id="56" name="TextBox 55">
            <a:extLst>
              <a:ext uri="{FF2B5EF4-FFF2-40B4-BE49-F238E27FC236}">
                <a16:creationId xmlns:a16="http://schemas.microsoft.com/office/drawing/2014/main" id="{5B81EF74-4EAB-3F09-A292-99EC952DA92E}"/>
              </a:ext>
            </a:extLst>
          </p:cNvPr>
          <p:cNvSpPr txBox="1"/>
          <p:nvPr/>
        </p:nvSpPr>
        <p:spPr>
          <a:xfrm>
            <a:off x="5079392" y="949509"/>
            <a:ext cx="2862748" cy="646331"/>
          </a:xfrm>
          <a:prstGeom prst="rect">
            <a:avLst/>
          </a:prstGeom>
          <a:noFill/>
        </p:spPr>
        <p:txBody>
          <a:bodyPr wrap="square">
            <a:spAutoFit/>
          </a:bodyPr>
          <a:lstStyle/>
          <a:p>
            <a:r>
              <a:rPr lang="en-US" b="1" dirty="0" err="1">
                <a:latin typeface="Century Gothic" panose="020B0502020202020204" pitchFamily="34" charset="0"/>
              </a:rPr>
              <a:t>Carex</a:t>
            </a:r>
            <a:r>
              <a:rPr lang="en-US" b="1" dirty="0">
                <a:latin typeface="Century Gothic" panose="020B0502020202020204" pitchFamily="34" charset="0"/>
              </a:rPr>
              <a:t> Uplift Seat Assist</a:t>
            </a:r>
          </a:p>
          <a:p>
            <a:r>
              <a:rPr lang="en-US" b="1" dirty="0">
                <a:latin typeface="Century Gothic" panose="020B0502020202020204" pitchFamily="34" charset="0"/>
              </a:rPr>
              <a:t>$247.52 AUD </a:t>
            </a:r>
            <a:endParaRPr lang="en-AU" b="1" dirty="0">
              <a:latin typeface="Century Gothic" panose="020B0502020202020204" pitchFamily="34" charset="0"/>
            </a:endParaRPr>
          </a:p>
        </p:txBody>
      </p:sp>
      <p:sp>
        <p:nvSpPr>
          <p:cNvPr id="60" name="TextBox 59">
            <a:extLst>
              <a:ext uri="{FF2B5EF4-FFF2-40B4-BE49-F238E27FC236}">
                <a16:creationId xmlns:a16="http://schemas.microsoft.com/office/drawing/2014/main" id="{D207AD46-209A-0225-7A32-7F0A20F8D91E}"/>
              </a:ext>
            </a:extLst>
          </p:cNvPr>
          <p:cNvSpPr txBox="1"/>
          <p:nvPr/>
        </p:nvSpPr>
        <p:spPr>
          <a:xfrm>
            <a:off x="248093" y="3901830"/>
            <a:ext cx="3943916" cy="2062103"/>
          </a:xfrm>
          <a:prstGeom prst="rect">
            <a:avLst/>
          </a:prstGeom>
          <a:noFill/>
        </p:spPr>
        <p:txBody>
          <a:bodyPr wrap="square">
            <a:spAutoFit/>
          </a:bodyPr>
          <a:lstStyle/>
          <a:p>
            <a:r>
              <a:rPr lang="en-US" sz="1600" dirty="0"/>
              <a:t>Battery‑powered vertical lift with a two‑button remot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Highly portable</a:t>
            </a:r>
            <a:br>
              <a:rPr lang="en-US" sz="1600" dirty="0"/>
            </a:br>
            <a:endParaRPr lang="en-US" sz="1600" dirty="0"/>
          </a:p>
          <a:p>
            <a:pPr marL="285750" indent="-285750">
              <a:buFont typeface="Wingdings" panose="05000000000000000000" pitchFamily="2" charset="2"/>
              <a:buChar char="Ø"/>
            </a:pPr>
            <a:r>
              <a:rPr lang="en-US" sz="1600" dirty="0"/>
              <a:t> High cost </a:t>
            </a:r>
          </a:p>
          <a:p>
            <a:pPr marL="285750" indent="-285750">
              <a:buFont typeface="Wingdings" panose="05000000000000000000" pitchFamily="2" charset="2"/>
              <a:buChar char="Ø"/>
            </a:pPr>
            <a:r>
              <a:rPr lang="en-US" sz="1600" dirty="0"/>
              <a:t>Needs regular recharging</a:t>
            </a:r>
          </a:p>
          <a:p>
            <a:pPr marL="285750" indent="-285750">
              <a:buFont typeface="Wingdings" panose="05000000000000000000" pitchFamily="2" charset="2"/>
              <a:buChar char="Ø"/>
            </a:pPr>
            <a:r>
              <a:rPr lang="en-US" sz="1600" dirty="0"/>
              <a:t>Heavy and complex</a:t>
            </a:r>
            <a:endParaRPr lang="en-AU" sz="1600" dirty="0"/>
          </a:p>
        </p:txBody>
      </p:sp>
      <p:sp>
        <p:nvSpPr>
          <p:cNvPr id="5" name="Oval 4">
            <a:extLst>
              <a:ext uri="{FF2B5EF4-FFF2-40B4-BE49-F238E27FC236}">
                <a16:creationId xmlns:a16="http://schemas.microsoft.com/office/drawing/2014/main" id="{57ACBAA3-45ED-9D84-373A-D684A6964ED9}"/>
              </a:ext>
            </a:extLst>
          </p:cNvPr>
          <p:cNvSpPr/>
          <p:nvPr/>
        </p:nvSpPr>
        <p:spPr>
          <a:xfrm>
            <a:off x="977249" y="1617307"/>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sp>
        <p:nvSpPr>
          <p:cNvPr id="62" name="TextBox 61">
            <a:extLst>
              <a:ext uri="{FF2B5EF4-FFF2-40B4-BE49-F238E27FC236}">
                <a16:creationId xmlns:a16="http://schemas.microsoft.com/office/drawing/2014/main" id="{8AD7BAB4-61B2-549F-5B6F-262503E62404}"/>
              </a:ext>
            </a:extLst>
          </p:cNvPr>
          <p:cNvSpPr txBox="1"/>
          <p:nvPr/>
        </p:nvSpPr>
        <p:spPr>
          <a:xfrm>
            <a:off x="4343445" y="3892826"/>
            <a:ext cx="3419475" cy="2062103"/>
          </a:xfrm>
          <a:prstGeom prst="rect">
            <a:avLst/>
          </a:prstGeom>
          <a:noFill/>
        </p:spPr>
        <p:txBody>
          <a:bodyPr wrap="square">
            <a:spAutoFit/>
          </a:bodyPr>
          <a:lstStyle/>
          <a:p>
            <a:r>
              <a:rPr lang="en-US" sz="1600" dirty="0"/>
              <a:t>Non‑electric pneumatic seat that lifts up-to 50 % of the user’s weight</a:t>
            </a:r>
            <a:br>
              <a:rPr lang="en-US" sz="1600" dirty="0"/>
            </a:br>
            <a:endParaRPr lang="en-US" sz="1600" dirty="0"/>
          </a:p>
          <a:p>
            <a:pPr marL="285750" indent="-285750">
              <a:buFont typeface="Arial" panose="020B0604020202020204" pitchFamily="34" charset="0"/>
              <a:buChar char="•"/>
            </a:pPr>
            <a:r>
              <a:rPr lang="en-US" sz="1600" dirty="0"/>
              <a:t>Adjustable height.</a:t>
            </a:r>
          </a:p>
          <a:p>
            <a:pPr marL="285750" indent="-285750">
              <a:buFont typeface="Arial" panose="020B0604020202020204" pitchFamily="34" charset="0"/>
              <a:buChar char="•"/>
            </a:pPr>
            <a:r>
              <a:rPr lang="en-US" sz="1600" dirty="0"/>
              <a:t>Budget friendly </a:t>
            </a:r>
            <a:br>
              <a:rPr lang="en-US" sz="1600" dirty="0"/>
            </a:br>
            <a:endParaRPr lang="en-US" sz="1600" dirty="0"/>
          </a:p>
          <a:p>
            <a:pPr marL="285750" indent="-285750">
              <a:buFont typeface="Wingdings" panose="05000000000000000000" pitchFamily="2" charset="2"/>
              <a:buChar char="Ø"/>
            </a:pPr>
            <a:r>
              <a:rPr lang="en-US" sz="1600" dirty="0"/>
              <a:t>Bulky and unsafe.</a:t>
            </a:r>
          </a:p>
          <a:p>
            <a:pPr marL="285750" indent="-285750">
              <a:buFont typeface="Wingdings" panose="05000000000000000000" pitchFamily="2" charset="2"/>
              <a:buChar char="Ø"/>
            </a:pPr>
            <a:r>
              <a:rPr lang="en-US" sz="1600" dirty="0"/>
              <a:t>Hard to close down.</a:t>
            </a:r>
            <a:endParaRPr lang="en-AU" sz="1600" dirty="0"/>
          </a:p>
        </p:txBody>
      </p:sp>
      <p:sp>
        <p:nvSpPr>
          <p:cNvPr id="2051" name="TextBox 2050">
            <a:extLst>
              <a:ext uri="{FF2B5EF4-FFF2-40B4-BE49-F238E27FC236}">
                <a16:creationId xmlns:a16="http://schemas.microsoft.com/office/drawing/2014/main" id="{74368101-2185-4F42-97AE-C4E9FF91C414}"/>
              </a:ext>
            </a:extLst>
          </p:cNvPr>
          <p:cNvSpPr txBox="1"/>
          <p:nvPr/>
        </p:nvSpPr>
        <p:spPr>
          <a:xfrm>
            <a:off x="8351608" y="3892826"/>
            <a:ext cx="3419475" cy="2554545"/>
          </a:xfrm>
          <a:prstGeom prst="rect">
            <a:avLst/>
          </a:prstGeom>
          <a:noFill/>
        </p:spPr>
        <p:txBody>
          <a:bodyPr wrap="square">
            <a:spAutoFit/>
          </a:bodyPr>
          <a:lstStyle/>
          <a:p>
            <a:r>
              <a:rPr lang="en-US" sz="1600" dirty="0"/>
              <a:t>Manually actuated seat providing up to 70 % lift assistance and supports users up to 130kg. </a:t>
            </a:r>
          </a:p>
          <a:p>
            <a:endParaRPr lang="en-US" sz="1600" dirty="0"/>
          </a:p>
          <a:p>
            <a:pPr marL="285750" indent="-285750">
              <a:buFont typeface="Arial" panose="020B0604020202020204" pitchFamily="34" charset="0"/>
              <a:buChar char="•"/>
            </a:pPr>
            <a:r>
              <a:rPr lang="en-US" sz="1600" dirty="0"/>
              <a:t> Adjustable weight range</a:t>
            </a:r>
          </a:p>
          <a:p>
            <a:pPr marL="285750" indent="-285750">
              <a:buFont typeface="Arial" panose="020B0604020202020204" pitchFamily="34" charset="0"/>
              <a:buChar char="•"/>
            </a:pPr>
            <a:r>
              <a:rPr lang="en-US" sz="1600" dirty="0"/>
              <a:t>Washable polyester cover.</a:t>
            </a:r>
          </a:p>
          <a:p>
            <a:endParaRPr lang="en-US" sz="1600" dirty="0"/>
          </a:p>
          <a:p>
            <a:pPr marL="285750" indent="-285750">
              <a:buFont typeface="Wingdings" panose="05000000000000000000" pitchFamily="2" charset="2"/>
              <a:buChar char="Ø"/>
            </a:pPr>
            <a:r>
              <a:rPr lang="en-US" sz="1600" dirty="0"/>
              <a:t>Mid‑range price </a:t>
            </a:r>
          </a:p>
          <a:p>
            <a:pPr marL="285750" indent="-285750">
              <a:buFont typeface="Wingdings" panose="05000000000000000000" pitchFamily="2" charset="2"/>
              <a:buChar char="Ø"/>
            </a:pPr>
            <a:r>
              <a:rPr lang="en-US" sz="1600" dirty="0"/>
              <a:t>Weight about 4.5 kg </a:t>
            </a:r>
          </a:p>
          <a:p>
            <a:pPr marL="285750" indent="-285750">
              <a:buFont typeface="Wingdings" panose="05000000000000000000" pitchFamily="2" charset="2"/>
              <a:buChar char="Ø"/>
            </a:pPr>
            <a:r>
              <a:rPr lang="en-US" sz="1600" dirty="0"/>
              <a:t>Manual activation requires effort.</a:t>
            </a:r>
          </a:p>
        </p:txBody>
      </p:sp>
      <p:pic>
        <p:nvPicPr>
          <p:cNvPr id="3" name="Picture 2" descr="A logo with text and a square with a arrow up&#10;&#10;AI-generated content may be incorrect.">
            <a:extLst>
              <a:ext uri="{FF2B5EF4-FFF2-40B4-BE49-F238E27FC236}">
                <a16:creationId xmlns:a16="http://schemas.microsoft.com/office/drawing/2014/main" id="{F90191BA-5765-7164-76A7-891ADF0DF0E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2299" y="174421"/>
            <a:ext cx="1135911" cy="1135911"/>
          </a:xfrm>
          <a:prstGeom prst="roundRect">
            <a:avLst/>
          </a:prstGeom>
        </p:spPr>
      </p:pic>
      <p:sp>
        <p:nvSpPr>
          <p:cNvPr id="58" name="TextBox 57">
            <a:extLst>
              <a:ext uri="{FF2B5EF4-FFF2-40B4-BE49-F238E27FC236}">
                <a16:creationId xmlns:a16="http://schemas.microsoft.com/office/drawing/2014/main" id="{E99994AB-C2FB-DAE8-6D50-49E6715EC976}"/>
              </a:ext>
            </a:extLst>
          </p:cNvPr>
          <p:cNvSpPr txBox="1"/>
          <p:nvPr/>
        </p:nvSpPr>
        <p:spPr>
          <a:xfrm>
            <a:off x="8941458" y="898586"/>
            <a:ext cx="2939391" cy="646331"/>
          </a:xfrm>
          <a:prstGeom prst="rect">
            <a:avLst/>
          </a:prstGeom>
          <a:noFill/>
        </p:spPr>
        <p:txBody>
          <a:bodyPr wrap="square">
            <a:spAutoFit/>
          </a:bodyPr>
          <a:lstStyle/>
          <a:p>
            <a:r>
              <a:rPr lang="en-US" b="1" dirty="0"/>
              <a:t>Manual Lift Cushion</a:t>
            </a:r>
            <a:br>
              <a:rPr lang="en-US" b="1" dirty="0"/>
            </a:br>
            <a:r>
              <a:rPr lang="en-US" b="1" dirty="0"/>
              <a:t>$469.99 US </a:t>
            </a:r>
            <a:endParaRPr lang="en-AU" b="1" dirty="0"/>
          </a:p>
        </p:txBody>
      </p:sp>
      <p:pic>
        <p:nvPicPr>
          <p:cNvPr id="40" name="Picture 39">
            <a:extLst>
              <a:ext uri="{FF2B5EF4-FFF2-40B4-BE49-F238E27FC236}">
                <a16:creationId xmlns:a16="http://schemas.microsoft.com/office/drawing/2014/main" id="{7B9FD1DA-3843-3F13-6932-8FF4DABD0D9D}"/>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964915" y="1588765"/>
            <a:ext cx="2000761" cy="2053326"/>
          </a:xfrm>
          <a:prstGeom prst="rect">
            <a:avLst/>
          </a:prstGeom>
        </p:spPr>
      </p:pic>
      <p:sp>
        <p:nvSpPr>
          <p:cNvPr id="9" name="Oval 8">
            <a:extLst>
              <a:ext uri="{FF2B5EF4-FFF2-40B4-BE49-F238E27FC236}">
                <a16:creationId xmlns:a16="http://schemas.microsoft.com/office/drawing/2014/main" id="{5AE8F45B-4333-C9B5-1F27-D8032EB1EE4C}"/>
              </a:ext>
            </a:extLst>
          </p:cNvPr>
          <p:cNvSpPr/>
          <p:nvPr/>
        </p:nvSpPr>
        <p:spPr>
          <a:xfrm>
            <a:off x="5221619" y="1617307"/>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sp>
        <p:nvSpPr>
          <p:cNvPr id="11" name="Oval 10">
            <a:extLst>
              <a:ext uri="{FF2B5EF4-FFF2-40B4-BE49-F238E27FC236}">
                <a16:creationId xmlns:a16="http://schemas.microsoft.com/office/drawing/2014/main" id="{44A494BF-C084-084D-8962-551B3FA69720}"/>
              </a:ext>
            </a:extLst>
          </p:cNvPr>
          <p:cNvSpPr/>
          <p:nvPr/>
        </p:nvSpPr>
        <p:spPr>
          <a:xfrm>
            <a:off x="8941458" y="1595840"/>
            <a:ext cx="2000761" cy="2002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001"/>
          </a:p>
        </p:txBody>
      </p:sp>
      <p:pic>
        <p:nvPicPr>
          <p:cNvPr id="44" name="Picture 43">
            <a:extLst>
              <a:ext uri="{FF2B5EF4-FFF2-40B4-BE49-F238E27FC236}">
                <a16:creationId xmlns:a16="http://schemas.microsoft.com/office/drawing/2014/main" id="{270F9675-DD74-127F-90B2-0EDD0E5BC3CD}"/>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9984" b="89854" l="5893" r="99307">
                        <a14:foregroundMark x1="91248" y1="62825" x2="94627" y2="68101"/>
                        <a14:foregroundMark x1="5893" y1="64367" x2="5893" y2="64367"/>
                        <a14:foregroundMark x1="91594" y1="65990" x2="99307" y2="67289"/>
                      </a14:backgroundRemoval>
                    </a14:imgEffect>
                  </a14:imgLayer>
                </a14:imgProps>
              </a:ext>
            </a:extLst>
          </a:blip>
          <a:stretch>
            <a:fillRect/>
          </a:stretch>
        </p:blipFill>
        <p:spPr>
          <a:xfrm>
            <a:off x="5392334" y="1675076"/>
            <a:ext cx="1580663" cy="1687502"/>
          </a:xfrm>
          <a:prstGeom prst="rect">
            <a:avLst/>
          </a:prstGeom>
        </p:spPr>
      </p:pic>
      <p:pic>
        <p:nvPicPr>
          <p:cNvPr id="48" name="Picture 47">
            <a:extLst>
              <a:ext uri="{FF2B5EF4-FFF2-40B4-BE49-F238E27FC236}">
                <a16:creationId xmlns:a16="http://schemas.microsoft.com/office/drawing/2014/main" id="{1375EC1D-526D-9A74-C8B9-24B74F71FB44}"/>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5222" b="89948" l="3160" r="89955">
                        <a14:foregroundMark x1="26749" y1="5222" x2="26749" y2="5222"/>
                        <a14:foregroundMark x1="29233" y1="5614" x2="29233" y2="5614"/>
                        <a14:foregroundMark x1="7336" y1="20627" x2="7336" y2="20627"/>
                        <a14:foregroundMark x1="73815" y1="73238" x2="73815" y2="73238"/>
                        <a14:foregroundMark x1="73476" y1="71802" x2="66027" y2="74151"/>
                        <a14:foregroundMark x1="77540" y1="74935" x2="78781" y2="83812"/>
                        <a14:foregroundMark x1="80135" y1="82768" x2="79458" y2="89034"/>
                        <a14:foregroundMark x1="66479" y1="86554" x2="66479" y2="86554"/>
                        <a14:foregroundMark x1="3160" y1="63577" x2="3499" y2="63055"/>
                      </a14:backgroundRemoval>
                    </a14:imgEffect>
                  </a14:imgLayer>
                </a14:imgProps>
              </a:ext>
            </a:extLst>
          </a:blip>
          <a:stretch>
            <a:fillRect/>
          </a:stretch>
        </p:blipFill>
        <p:spPr>
          <a:xfrm>
            <a:off x="9089270" y="1897966"/>
            <a:ext cx="1879328" cy="1624792"/>
          </a:xfrm>
          <a:prstGeom prst="rect">
            <a:avLst/>
          </a:prstGeom>
        </p:spPr>
      </p:pic>
    </p:spTree>
    <p:extLst>
      <p:ext uri="{BB962C8B-B14F-4D97-AF65-F5344CB8AC3E}">
        <p14:creationId xmlns:p14="http://schemas.microsoft.com/office/powerpoint/2010/main" val="42106334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7333D"/>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1211803"/>
            <a:ext cx="8873066" cy="415588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6300" kern="0">
                <a:solidFill>
                  <a:prstClr val="white"/>
                </a:solidFill>
                <a:latin typeface="Century Gothic" panose="020B0502020202020204" pitchFamily="34" charset="0"/>
              </a:rPr>
              <a:t>Our Mission</a:t>
            </a:r>
            <a:endParaRPr kumimoji="0" lang="en-US" sz="16300" i="0" u="none" strike="noStrike" kern="0" cap="none" spc="0" normalizeH="0" baseline="0" noProof="0">
              <a:ln>
                <a:noFill/>
              </a:ln>
              <a:solidFill>
                <a:prstClr val="white"/>
              </a:solidFill>
              <a:effectLst/>
              <a:uLnTx/>
              <a:uFillTx/>
              <a:latin typeface="Century Gothic" panose="020B0502020202020204" pitchFamily="34" charset="0"/>
            </a:endParaRPr>
          </a:p>
        </p:txBody>
      </p:sp>
      <p:pic>
        <p:nvPicPr>
          <p:cNvPr id="42" name="Picture 41" descr="A white and blue background&#10;&#10;AI-generated content may be incorrect.">
            <a:extLst>
              <a:ext uri="{FF2B5EF4-FFF2-40B4-BE49-F238E27FC236}">
                <a16:creationId xmlns:a16="http://schemas.microsoft.com/office/drawing/2014/main" id="{6FCC3166-F118-9507-43F6-DC5853851902}"/>
              </a:ext>
            </a:extLst>
          </p:cNvPr>
          <p:cNvPicPr/>
          <p:nvPr/>
        </p:nvPicPr>
        <p:blipFill>
          <a:blip r:embed="rId2">
            <a:extLst>
              <a:ext uri="{28A0092B-C50C-407E-A947-70E740481C1C}">
                <a14:useLocalDpi xmlns:a14="http://schemas.microsoft.com/office/drawing/2010/main" val="0"/>
              </a:ext>
            </a:extLst>
          </a:blip>
          <a:stretch>
            <a:fillRect/>
          </a:stretch>
        </p:blipFill>
        <p:spPr>
          <a:xfrm>
            <a:off x="0" y="7166708"/>
            <a:ext cx="12192000" cy="6858000"/>
          </a:xfrm>
          <a:prstGeom prst="rect">
            <a:avLst/>
          </a:prstGeom>
          <a:noFill/>
        </p:spPr>
      </p:pic>
      <p:sp>
        <p:nvSpPr>
          <p:cNvPr id="43" name="TextBox 42">
            <a:extLst>
              <a:ext uri="{FF2B5EF4-FFF2-40B4-BE49-F238E27FC236}">
                <a16:creationId xmlns:a16="http://schemas.microsoft.com/office/drawing/2014/main" id="{7C53EA13-467F-DB9A-4918-BF60B1F40BAF}"/>
              </a:ext>
            </a:extLst>
          </p:cNvPr>
          <p:cNvSpPr txBox="1"/>
          <p:nvPr/>
        </p:nvSpPr>
        <p:spPr>
          <a:xfrm>
            <a:off x="286784" y="7574259"/>
            <a:ext cx="113332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a:solidFill>
                  <a:srgbClr val="2F3D4A"/>
                </a:solidFill>
                <a:latin typeface="Darker Grotesque" pitchFamily="2" charset="0"/>
              </a:rPr>
              <a:t>Our Mission</a:t>
            </a:r>
            <a:endParaRPr kumimoji="0" lang="en-US" b="0" i="0" u="none" strike="noStrike" kern="0" cap="none" spc="0" normalizeH="0" baseline="0" noProof="0">
              <a:ln>
                <a:noFill/>
              </a:ln>
              <a:solidFill>
                <a:srgbClr val="2F3D4A"/>
              </a:solidFill>
              <a:effectLst/>
              <a:uLnTx/>
              <a:uFillTx/>
              <a:latin typeface="Darker Grotesque" pitchFamily="2" charset="0"/>
            </a:endParaRPr>
          </a:p>
        </p:txBody>
      </p:sp>
      <p:sp>
        <p:nvSpPr>
          <p:cNvPr id="44" name="TextBox 43">
            <a:extLst>
              <a:ext uri="{FF2B5EF4-FFF2-40B4-BE49-F238E27FC236}">
                <a16:creationId xmlns:a16="http://schemas.microsoft.com/office/drawing/2014/main" id="{16441519-9C2A-0A3D-AF01-57D99494B7C1}"/>
              </a:ext>
            </a:extLst>
          </p:cNvPr>
          <p:cNvSpPr txBox="1"/>
          <p:nvPr/>
        </p:nvSpPr>
        <p:spPr>
          <a:xfrm>
            <a:off x="478703" y="9524831"/>
            <a:ext cx="3090911" cy="1499449"/>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7200" dirty="0">
                <a:solidFill>
                  <a:srgbClr val="2F3D4A"/>
                </a:solidFill>
              </a:rPr>
              <a:t>Our </a:t>
            </a:r>
            <a:br>
              <a:rPr lang="en-US" sz="7200" dirty="0">
                <a:solidFill>
                  <a:srgbClr val="2F3D4A"/>
                </a:solidFill>
              </a:rPr>
            </a:br>
            <a:r>
              <a:rPr lang="en-US" sz="7200" dirty="0">
                <a:solidFill>
                  <a:srgbClr val="2F3D4A"/>
                </a:solidFill>
              </a:rPr>
              <a:t>Mission</a:t>
            </a:r>
          </a:p>
        </p:txBody>
      </p:sp>
      <p:grpSp>
        <p:nvGrpSpPr>
          <p:cNvPr id="45" name="Group 44">
            <a:extLst>
              <a:ext uri="{FF2B5EF4-FFF2-40B4-BE49-F238E27FC236}">
                <a16:creationId xmlns:a16="http://schemas.microsoft.com/office/drawing/2014/main" id="{4136B03A-0CB5-B2FB-47E4-5724C0DAB555}"/>
              </a:ext>
            </a:extLst>
          </p:cNvPr>
          <p:cNvGrpSpPr/>
          <p:nvPr/>
        </p:nvGrpSpPr>
        <p:grpSpPr>
          <a:xfrm>
            <a:off x="3952214" y="8398502"/>
            <a:ext cx="5584454" cy="1226969"/>
            <a:chOff x="5968717" y="2108200"/>
            <a:chExt cx="5584454" cy="1092200"/>
          </a:xfrm>
          <a:solidFill>
            <a:srgbClr val="27333D"/>
          </a:solidFill>
        </p:grpSpPr>
        <p:sp>
          <p:nvSpPr>
            <p:cNvPr id="46" name="Rounded Rectangle 95">
              <a:extLst>
                <a:ext uri="{FF2B5EF4-FFF2-40B4-BE49-F238E27FC236}">
                  <a16:creationId xmlns:a16="http://schemas.microsoft.com/office/drawing/2014/main" id="{28F09D9E-558D-FE2C-31B8-F8C8E8479552}"/>
                </a:ext>
              </a:extLst>
            </p:cNvPr>
            <p:cNvSpPr/>
            <p:nvPr/>
          </p:nvSpPr>
          <p:spPr>
            <a:xfrm>
              <a:off x="5968717" y="2108200"/>
              <a:ext cx="5584454" cy="1092200"/>
            </a:xfrm>
            <a:prstGeom prst="roundRect">
              <a:avLst>
                <a:gd name="adj" fmla="val 10323"/>
              </a:avLst>
            </a:prstGeom>
            <a:grp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47" name="TextBox 46">
              <a:extLst>
                <a:ext uri="{FF2B5EF4-FFF2-40B4-BE49-F238E27FC236}">
                  <a16:creationId xmlns:a16="http://schemas.microsoft.com/office/drawing/2014/main" id="{7F49E567-BE53-E4AA-BF37-563DB6B2DADD}"/>
                </a:ext>
              </a:extLst>
            </p:cNvPr>
            <p:cNvSpPr txBox="1"/>
            <p:nvPr/>
          </p:nvSpPr>
          <p:spPr>
            <a:xfrm>
              <a:off x="6127467" y="2571884"/>
              <a:ext cx="5318371" cy="438354"/>
            </a:xfrm>
            <a:prstGeom prst="rect">
              <a:avLst/>
            </a:prstGeom>
            <a:grp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A simple mechanism that reduces load on knees, hips and lower back</a:t>
              </a:r>
              <a:endParaRPr lang="en-US">
                <a:solidFill>
                  <a:prstClr val="white">
                    <a:alpha val="50000"/>
                  </a:prstClr>
                </a:solidFill>
              </a:endParaRPr>
            </a:p>
          </p:txBody>
        </p:sp>
        <p:sp>
          <p:nvSpPr>
            <p:cNvPr id="48" name="TextBox 47">
              <a:extLst>
                <a:ext uri="{FF2B5EF4-FFF2-40B4-BE49-F238E27FC236}">
                  <a16:creationId xmlns:a16="http://schemas.microsoft.com/office/drawing/2014/main" id="{A4D0CF5F-4AA1-7163-9A64-45A96C643FD6}"/>
                </a:ext>
              </a:extLst>
            </p:cNvPr>
            <p:cNvSpPr txBox="1"/>
            <p:nvPr/>
          </p:nvSpPr>
          <p:spPr>
            <a:xfrm>
              <a:off x="6222428" y="2281986"/>
              <a:ext cx="3581663" cy="224656"/>
            </a:xfrm>
            <a:prstGeom prst="rect">
              <a:avLst/>
            </a:prstGeom>
            <a:grpFill/>
          </p:spPr>
          <p:txBody>
            <a:bodyPr wrap="square" lIns="0" tIns="0" rIns="0" bIns="0" anchor="t">
              <a:spAutoFit/>
            </a:bodyPr>
            <a:lstStyle>
              <a:defPPr>
                <a:defRPr lang="en-US"/>
              </a:defPPr>
              <a:lvl1pPr marR="0" lvl="0" indent="0" fontAlgn="auto">
                <a:lnSpc>
                  <a:spcPct val="90000"/>
                </a:lnSpc>
                <a:spcBef>
                  <a:spcPts val="0"/>
                </a:spcBef>
                <a:spcAft>
                  <a:spcPts val="0"/>
                </a:spcAft>
                <a:buClrTx/>
                <a:buSzTx/>
                <a:buFontTx/>
                <a:buNone/>
                <a:tabLst/>
                <a:defRPr kumimoji="0" sz="3000" i="0" u="none" strike="noStrike" cap="none" normalizeH="0">
                  <a:ln>
                    <a:noFill/>
                  </a:ln>
                  <a:solidFill>
                    <a:prstClr val="white"/>
                  </a:solidFill>
                  <a:effectLst/>
                  <a:uLnTx/>
                  <a:uFillTx/>
                  <a:latin typeface="Poppins SemiBold" panose="00000700000000000000" pitchFamily="2" charset="0"/>
                  <a:cs typeface="Poppins SemiBold" panose="00000700000000000000" pitchFamily="2"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mj-lt"/>
                  <a:ea typeface="+mn-ea"/>
                  <a:cs typeface="Poppins SemiBold" panose="00000700000000000000" pitchFamily="2" charset="0"/>
                </a:rPr>
                <a:t>Design and Engineer</a:t>
              </a:r>
              <a:endParaRPr kumimoji="0" lang="en-US" sz="1600" b="0" i="0" u="none" strike="noStrike" kern="1200" cap="none" spc="0" normalizeH="0" baseline="0" noProof="0">
                <a:ln>
                  <a:noFill/>
                </a:ln>
                <a:effectLst/>
                <a:uLnTx/>
                <a:uFillTx/>
                <a:latin typeface="+mj-lt"/>
                <a:ea typeface="+mn-ea"/>
                <a:cs typeface="Poppins SemiBold" panose="00000700000000000000" pitchFamily="2" charset="0"/>
              </a:endParaRPr>
            </a:p>
          </p:txBody>
        </p:sp>
      </p:grpSp>
      <p:cxnSp>
        <p:nvCxnSpPr>
          <p:cNvPr id="49" name="Straight Connector 48">
            <a:extLst>
              <a:ext uri="{FF2B5EF4-FFF2-40B4-BE49-F238E27FC236}">
                <a16:creationId xmlns:a16="http://schemas.microsoft.com/office/drawing/2014/main" id="{B2E63047-2EB0-EE84-2F1F-92F73B62F601}"/>
              </a:ext>
            </a:extLst>
          </p:cNvPr>
          <p:cNvCxnSpPr/>
          <p:nvPr/>
        </p:nvCxnSpPr>
        <p:spPr>
          <a:xfrm>
            <a:off x="299484" y="7818980"/>
            <a:ext cx="11644423" cy="0"/>
          </a:xfrm>
          <a:prstGeom prst="line">
            <a:avLst/>
          </a:prstGeom>
          <a:ln/>
        </p:spPr>
        <p:style>
          <a:lnRef idx="1">
            <a:schemeClr val="dk1"/>
          </a:lnRef>
          <a:fillRef idx="0">
            <a:schemeClr val="dk1"/>
          </a:fillRef>
          <a:effectRef idx="0">
            <a:schemeClr val="dk1"/>
          </a:effectRef>
          <a:fontRef idx="minor">
            <a:schemeClr val="tx1"/>
          </a:fontRef>
        </p:style>
      </p:cxnSp>
      <p:grpSp>
        <p:nvGrpSpPr>
          <p:cNvPr id="50" name="Group 49">
            <a:extLst>
              <a:ext uri="{FF2B5EF4-FFF2-40B4-BE49-F238E27FC236}">
                <a16:creationId xmlns:a16="http://schemas.microsoft.com/office/drawing/2014/main" id="{466231C6-6908-360A-3E9B-C058CF57C6EE}"/>
              </a:ext>
            </a:extLst>
          </p:cNvPr>
          <p:cNvGrpSpPr/>
          <p:nvPr/>
        </p:nvGrpSpPr>
        <p:grpSpPr>
          <a:xfrm>
            <a:off x="5842207" y="7536695"/>
            <a:ext cx="507586" cy="512114"/>
            <a:chOff x="5867902" y="316579"/>
            <a:chExt cx="507586" cy="460422"/>
          </a:xfrm>
        </p:grpSpPr>
        <p:sp>
          <p:nvSpPr>
            <p:cNvPr id="51" name="Oval 50">
              <a:extLst>
                <a:ext uri="{FF2B5EF4-FFF2-40B4-BE49-F238E27FC236}">
                  <a16:creationId xmlns:a16="http://schemas.microsoft.com/office/drawing/2014/main" id="{66AF3545-AB47-5EAE-D930-57ABD957965D}"/>
                </a:ext>
              </a:extLst>
            </p:cNvPr>
            <p:cNvSpPr/>
            <p:nvPr/>
          </p:nvSpPr>
          <p:spPr>
            <a:xfrm>
              <a:off x="5867902" y="316579"/>
              <a:ext cx="507586" cy="460422"/>
            </a:xfrm>
            <a:prstGeom prst="ellipse">
              <a:avLst/>
            </a:prstGeom>
            <a:solidFill>
              <a:srgbClr val="44596C"/>
            </a:solidFill>
            <a:ln w="6350">
              <a:solidFill>
                <a:srgbClr val="44596C"/>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52" name="Graphic 51">
              <a:extLst>
                <a:ext uri="{FF2B5EF4-FFF2-40B4-BE49-F238E27FC236}">
                  <a16:creationId xmlns:a16="http://schemas.microsoft.com/office/drawing/2014/main" id="{B2DC67DA-A008-3546-6FB0-70FACD2AFC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95695" y="444371"/>
              <a:ext cx="252000" cy="252000"/>
            </a:xfrm>
            <a:prstGeom prst="rect">
              <a:avLst/>
            </a:prstGeom>
          </p:spPr>
        </p:pic>
      </p:grpSp>
      <p:grpSp>
        <p:nvGrpSpPr>
          <p:cNvPr id="53" name="Group 52">
            <a:extLst>
              <a:ext uri="{FF2B5EF4-FFF2-40B4-BE49-F238E27FC236}">
                <a16:creationId xmlns:a16="http://schemas.microsoft.com/office/drawing/2014/main" id="{C68E91AB-8817-E5A8-BBE4-6637C4C92A36}"/>
              </a:ext>
            </a:extLst>
          </p:cNvPr>
          <p:cNvGrpSpPr/>
          <p:nvPr/>
        </p:nvGrpSpPr>
        <p:grpSpPr>
          <a:xfrm>
            <a:off x="5080000" y="9822437"/>
            <a:ext cx="5525577" cy="1226969"/>
            <a:chOff x="5765800" y="3158950"/>
            <a:chExt cx="5525577" cy="1226969"/>
          </a:xfrm>
        </p:grpSpPr>
        <p:grpSp>
          <p:nvGrpSpPr>
            <p:cNvPr id="54" name="Group 53">
              <a:extLst>
                <a:ext uri="{FF2B5EF4-FFF2-40B4-BE49-F238E27FC236}">
                  <a16:creationId xmlns:a16="http://schemas.microsoft.com/office/drawing/2014/main" id="{3CB0D3B1-ED23-171E-998A-F4059F5D727D}"/>
                </a:ext>
              </a:extLst>
            </p:cNvPr>
            <p:cNvGrpSpPr/>
            <p:nvPr/>
          </p:nvGrpSpPr>
          <p:grpSpPr>
            <a:xfrm>
              <a:off x="5765800" y="3158950"/>
              <a:ext cx="5525577" cy="1226969"/>
              <a:chOff x="5968717" y="2108200"/>
              <a:chExt cx="5525577" cy="1092200"/>
            </a:xfrm>
          </p:grpSpPr>
          <p:sp>
            <p:nvSpPr>
              <p:cNvPr id="56" name="Rounded Rectangle 95">
                <a:extLst>
                  <a:ext uri="{FF2B5EF4-FFF2-40B4-BE49-F238E27FC236}">
                    <a16:creationId xmlns:a16="http://schemas.microsoft.com/office/drawing/2014/main" id="{356ECB48-88FA-F351-CE57-F5C20F8D33EC}"/>
                  </a:ext>
                </a:extLst>
              </p:cNvPr>
              <p:cNvSpPr/>
              <p:nvPr/>
            </p:nvSpPr>
            <p:spPr>
              <a:xfrm>
                <a:off x="5968717" y="2108200"/>
                <a:ext cx="5525577" cy="1092200"/>
              </a:xfrm>
              <a:prstGeom prst="roundRect">
                <a:avLst>
                  <a:gd name="adj" fmla="val 10323"/>
                </a:avLst>
              </a:prstGeom>
              <a:solidFill>
                <a:srgbClr val="2F3D4A"/>
              </a:solidFill>
              <a:ln>
                <a:solidFill>
                  <a:srgbClr val="27333D"/>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57" name="TextBox 56">
                <a:extLst>
                  <a:ext uri="{FF2B5EF4-FFF2-40B4-BE49-F238E27FC236}">
                    <a16:creationId xmlns:a16="http://schemas.microsoft.com/office/drawing/2014/main" id="{5022D32F-4387-CA38-229F-BCCBB443776A}"/>
                  </a:ext>
                </a:extLst>
              </p:cNvPr>
              <p:cNvSpPr txBox="1"/>
              <p:nvPr/>
            </p:nvSpPr>
            <p:spPr>
              <a:xfrm>
                <a:off x="6216079" y="2273569"/>
                <a:ext cx="4031232" cy="224656"/>
              </a:xfrm>
              <a:prstGeom prst="rect">
                <a:avLst/>
              </a:prstGeom>
              <a:noFill/>
              <a:ln>
                <a:solidFill>
                  <a:srgbClr val="27333D"/>
                </a:solidFill>
              </a:ln>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lang="en-AU" sz="2000"/>
                  <a:t>Restore Confidence and Independence</a:t>
                </a:r>
                <a:endParaRPr lang="en-US" sz="2000"/>
              </a:p>
            </p:txBody>
          </p:sp>
        </p:grpSp>
        <p:sp>
          <p:nvSpPr>
            <p:cNvPr id="55" name="TextBox 54">
              <a:extLst>
                <a:ext uri="{FF2B5EF4-FFF2-40B4-BE49-F238E27FC236}">
                  <a16:creationId xmlns:a16="http://schemas.microsoft.com/office/drawing/2014/main" id="{11D959ED-7C0B-824D-A575-503C60ECBFB2}"/>
                </a:ext>
              </a:extLst>
            </p:cNvPr>
            <p:cNvSpPr txBox="1"/>
            <p:nvPr/>
          </p:nvSpPr>
          <p:spPr>
            <a:xfrm>
              <a:off x="5924550" y="3643512"/>
              <a:ext cx="5262299" cy="492443"/>
            </a:xfrm>
            <a:prstGeom prst="rect">
              <a:avLst/>
            </a:prstGeom>
            <a:noFill/>
            <a:ln>
              <a:solidFill>
                <a:srgbClr val="27333D"/>
              </a:solidFill>
            </a:ln>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Enable older adults to stand up safely on their own, reduce reliance on carers and diminish the fear of falling.</a:t>
              </a:r>
              <a:endParaRPr lang="en-US">
                <a:solidFill>
                  <a:prstClr val="white">
                    <a:alpha val="50000"/>
                  </a:prstClr>
                </a:solidFill>
              </a:endParaRPr>
            </a:p>
          </p:txBody>
        </p:sp>
      </p:grpSp>
      <p:grpSp>
        <p:nvGrpSpPr>
          <p:cNvPr id="58" name="Group 57">
            <a:extLst>
              <a:ext uri="{FF2B5EF4-FFF2-40B4-BE49-F238E27FC236}">
                <a16:creationId xmlns:a16="http://schemas.microsoft.com/office/drawing/2014/main" id="{7579EC0D-78B7-03FB-475B-473FA174CE11}"/>
              </a:ext>
            </a:extLst>
          </p:cNvPr>
          <p:cNvGrpSpPr/>
          <p:nvPr/>
        </p:nvGrpSpPr>
        <p:grpSpPr>
          <a:xfrm>
            <a:off x="6349793" y="11284004"/>
            <a:ext cx="5526312" cy="1226969"/>
            <a:chOff x="5660537" y="4722298"/>
            <a:chExt cx="5526312" cy="1226969"/>
          </a:xfrm>
          <a:solidFill>
            <a:srgbClr val="27333D"/>
          </a:solidFill>
        </p:grpSpPr>
        <p:sp>
          <p:nvSpPr>
            <p:cNvPr id="59" name="Rounded Rectangle 95">
              <a:extLst>
                <a:ext uri="{FF2B5EF4-FFF2-40B4-BE49-F238E27FC236}">
                  <a16:creationId xmlns:a16="http://schemas.microsoft.com/office/drawing/2014/main" id="{3EB0031E-0C04-D17F-E3DE-43DF4C240B55}"/>
                </a:ext>
              </a:extLst>
            </p:cNvPr>
            <p:cNvSpPr/>
            <p:nvPr/>
          </p:nvSpPr>
          <p:spPr>
            <a:xfrm>
              <a:off x="5660537" y="4722298"/>
              <a:ext cx="5525577" cy="1226969"/>
            </a:xfrm>
            <a:prstGeom prst="roundRect">
              <a:avLst>
                <a:gd name="adj" fmla="val 10323"/>
              </a:avLst>
            </a:prstGeom>
            <a:grpFill/>
            <a:ln>
              <a:solidFill>
                <a:srgbClr val="27333D"/>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60" name="TextBox 59">
              <a:extLst>
                <a:ext uri="{FF2B5EF4-FFF2-40B4-BE49-F238E27FC236}">
                  <a16:creationId xmlns:a16="http://schemas.microsoft.com/office/drawing/2014/main" id="{7CFEA4DD-5624-8AEA-59A7-F9004A580C09}"/>
                </a:ext>
              </a:extLst>
            </p:cNvPr>
            <p:cNvSpPr txBox="1"/>
            <p:nvPr/>
          </p:nvSpPr>
          <p:spPr>
            <a:xfrm>
              <a:off x="5924550" y="5252778"/>
              <a:ext cx="5262299" cy="492443"/>
            </a:xfrm>
            <a:prstGeom prst="rect">
              <a:avLst/>
            </a:prstGeom>
            <a:grpFill/>
            <a:ln>
              <a:solidFill>
                <a:srgbClr val="27333D"/>
              </a:solidFill>
            </a:ln>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Use affordable materials, efficient manufacturing and modular parts to reduce cost and ensure ease of use</a:t>
              </a:r>
              <a:r>
                <a:rPr lang="en-AU"/>
                <a:t>.</a:t>
              </a:r>
              <a:endParaRPr lang="en-US">
                <a:solidFill>
                  <a:prstClr val="white">
                    <a:alpha val="50000"/>
                  </a:prstClr>
                </a:solidFill>
              </a:endParaRPr>
            </a:p>
          </p:txBody>
        </p:sp>
        <p:sp>
          <p:nvSpPr>
            <p:cNvPr id="61" name="TextBox 60">
              <a:extLst>
                <a:ext uri="{FF2B5EF4-FFF2-40B4-BE49-F238E27FC236}">
                  <a16:creationId xmlns:a16="http://schemas.microsoft.com/office/drawing/2014/main" id="{43F742C6-29E2-A8B8-E53E-7A7775D1019F}"/>
                </a:ext>
              </a:extLst>
            </p:cNvPr>
            <p:cNvSpPr txBox="1"/>
            <p:nvPr/>
          </p:nvSpPr>
          <p:spPr>
            <a:xfrm>
              <a:off x="6019512" y="4928950"/>
              <a:ext cx="1271182" cy="252377"/>
            </a:xfrm>
            <a:prstGeom prst="rect">
              <a:avLst/>
            </a:prstGeom>
            <a:grpFill/>
            <a:ln>
              <a:solidFill>
                <a:srgbClr val="27333D"/>
              </a:solidFill>
            </a:ln>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lang="en-US" sz="2000"/>
                <a:t>Accessibility</a:t>
              </a:r>
            </a:p>
          </p:txBody>
        </p:sp>
      </p:grpSp>
      <p:pic>
        <p:nvPicPr>
          <p:cNvPr id="62" name="Picture 61" descr="A logo with text and a square with a arrow up&#10;&#10;AI-generated content may be incorrect.">
            <a:extLst>
              <a:ext uri="{FF2B5EF4-FFF2-40B4-BE49-F238E27FC236}">
                <a16:creationId xmlns:a16="http://schemas.microsoft.com/office/drawing/2014/main" id="{10DBF5D6-97B3-9187-911D-9B99D963B3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2299" y="7341129"/>
            <a:ext cx="1135911" cy="1135911"/>
          </a:xfrm>
          <a:prstGeom prst="roundRect">
            <a:avLst/>
          </a:prstGeom>
        </p:spPr>
      </p:pic>
      <p:pic>
        <p:nvPicPr>
          <p:cNvPr id="63" name="Picture 62">
            <a:extLst>
              <a:ext uri="{FF2B5EF4-FFF2-40B4-BE49-F238E27FC236}">
                <a16:creationId xmlns:a16="http://schemas.microsoft.com/office/drawing/2014/main" id="{6BBA7BE5-5172-1B08-7BC2-C6D0F8B5FA90}"/>
              </a:ext>
            </a:extLst>
          </p:cNvPr>
          <p:cNvPicPr>
            <a:picLocks noChangeAspect="1"/>
          </p:cNvPicPr>
          <p:nvPr/>
        </p:nvPicPr>
        <p:blipFill>
          <a:blip r:embed="rId6"/>
          <a:stretch>
            <a:fillRect/>
          </a:stretch>
        </p:blipFill>
        <p:spPr>
          <a:xfrm>
            <a:off x="1255555" y="11829303"/>
            <a:ext cx="3257063" cy="1363339"/>
          </a:xfrm>
          <a:prstGeom prst="rect">
            <a:avLst/>
          </a:prstGeom>
        </p:spPr>
      </p:pic>
    </p:spTree>
    <p:extLst>
      <p:ext uri="{BB962C8B-B14F-4D97-AF65-F5344CB8AC3E}">
        <p14:creationId xmlns:p14="http://schemas.microsoft.com/office/powerpoint/2010/main" val="221201009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white and blue background&#10;&#10;AI-generated content may be incorrect.">
            <a:extLst>
              <a:ext uri="{FF2B5EF4-FFF2-40B4-BE49-F238E27FC236}">
                <a16:creationId xmlns:a16="http://schemas.microsoft.com/office/drawing/2014/main" id="{EE603038-83F9-8191-F2B0-28CFCA19BD7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
        <p:nvSpPr>
          <p:cNvPr id="55" name="TextBox 54">
            <a:extLst>
              <a:ext uri="{FF2B5EF4-FFF2-40B4-BE49-F238E27FC236}">
                <a16:creationId xmlns:a16="http://schemas.microsoft.com/office/drawing/2014/main" id="{DA3803AC-0944-EA18-EC12-157CE4976D26}"/>
              </a:ext>
            </a:extLst>
          </p:cNvPr>
          <p:cNvSpPr txBox="1"/>
          <p:nvPr/>
        </p:nvSpPr>
        <p:spPr>
          <a:xfrm>
            <a:off x="286784" y="407551"/>
            <a:ext cx="113332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a:solidFill>
                  <a:srgbClr val="2F3D4A"/>
                </a:solidFill>
                <a:latin typeface="Darker Grotesque" pitchFamily="2" charset="0"/>
              </a:rPr>
              <a:t>Our Mission</a:t>
            </a:r>
            <a:endParaRPr kumimoji="0" lang="en-US" b="0" i="0" u="none" strike="noStrike" kern="0" cap="none" spc="0" normalizeH="0" baseline="0" noProof="0">
              <a:ln>
                <a:noFill/>
              </a:ln>
              <a:solidFill>
                <a:srgbClr val="2F3D4A"/>
              </a:solidFill>
              <a:effectLst/>
              <a:uLnTx/>
              <a:uFillTx/>
              <a:latin typeface="Darker Grotesque" pitchFamily="2" charset="0"/>
            </a:endParaRPr>
          </a:p>
        </p:txBody>
      </p:sp>
      <p:sp>
        <p:nvSpPr>
          <p:cNvPr id="14" name="TextBox 13">
            <a:extLst>
              <a:ext uri="{FF2B5EF4-FFF2-40B4-BE49-F238E27FC236}">
                <a16:creationId xmlns:a16="http://schemas.microsoft.com/office/drawing/2014/main" id="{EF3E1E5B-C7C5-BCB8-C0D7-8B98BC2BB273}"/>
              </a:ext>
            </a:extLst>
          </p:cNvPr>
          <p:cNvSpPr txBox="1"/>
          <p:nvPr/>
        </p:nvSpPr>
        <p:spPr>
          <a:xfrm>
            <a:off x="478703" y="2358123"/>
            <a:ext cx="3090911" cy="1499449"/>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7200" dirty="0">
                <a:solidFill>
                  <a:srgbClr val="2F3D4A"/>
                </a:solidFill>
              </a:rPr>
              <a:t>Our </a:t>
            </a:r>
            <a:br>
              <a:rPr lang="en-US" sz="7200" dirty="0">
                <a:solidFill>
                  <a:srgbClr val="2F3D4A"/>
                </a:solidFill>
              </a:rPr>
            </a:br>
            <a:r>
              <a:rPr lang="en-US" sz="7200" dirty="0">
                <a:solidFill>
                  <a:srgbClr val="2F3D4A"/>
                </a:solidFill>
              </a:rPr>
              <a:t>Mission</a:t>
            </a:r>
          </a:p>
        </p:txBody>
      </p:sp>
      <p:grpSp>
        <p:nvGrpSpPr>
          <p:cNvPr id="25" name="Group 24">
            <a:extLst>
              <a:ext uri="{FF2B5EF4-FFF2-40B4-BE49-F238E27FC236}">
                <a16:creationId xmlns:a16="http://schemas.microsoft.com/office/drawing/2014/main" id="{71BEC935-94FE-13BD-9E99-6781416E571B}"/>
              </a:ext>
            </a:extLst>
          </p:cNvPr>
          <p:cNvGrpSpPr/>
          <p:nvPr/>
        </p:nvGrpSpPr>
        <p:grpSpPr>
          <a:xfrm>
            <a:off x="3952214" y="1231794"/>
            <a:ext cx="5584454" cy="1226969"/>
            <a:chOff x="5968717" y="2108200"/>
            <a:chExt cx="5584454" cy="1092200"/>
          </a:xfrm>
          <a:solidFill>
            <a:srgbClr val="27333D"/>
          </a:solidFill>
        </p:grpSpPr>
        <p:sp>
          <p:nvSpPr>
            <p:cNvPr id="26" name="Rounded Rectangle 95">
              <a:extLst>
                <a:ext uri="{FF2B5EF4-FFF2-40B4-BE49-F238E27FC236}">
                  <a16:creationId xmlns:a16="http://schemas.microsoft.com/office/drawing/2014/main" id="{3CEC5093-3F4F-DE76-3349-479687671F93}"/>
                </a:ext>
              </a:extLst>
            </p:cNvPr>
            <p:cNvSpPr/>
            <p:nvPr/>
          </p:nvSpPr>
          <p:spPr>
            <a:xfrm>
              <a:off x="5968717" y="2108200"/>
              <a:ext cx="5584454" cy="1092200"/>
            </a:xfrm>
            <a:prstGeom prst="roundRect">
              <a:avLst>
                <a:gd name="adj" fmla="val 10323"/>
              </a:avLst>
            </a:prstGeom>
            <a:grp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27" name="TextBox 26">
              <a:extLst>
                <a:ext uri="{FF2B5EF4-FFF2-40B4-BE49-F238E27FC236}">
                  <a16:creationId xmlns:a16="http://schemas.microsoft.com/office/drawing/2014/main" id="{FC073D77-4181-3032-EBF3-2C563B0FA3FE}"/>
                </a:ext>
              </a:extLst>
            </p:cNvPr>
            <p:cNvSpPr txBox="1"/>
            <p:nvPr/>
          </p:nvSpPr>
          <p:spPr>
            <a:xfrm>
              <a:off x="6127467" y="2571884"/>
              <a:ext cx="5318371" cy="438354"/>
            </a:xfrm>
            <a:prstGeom prst="rect">
              <a:avLst/>
            </a:prstGeom>
            <a:grp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A simple mechanism that reduces load on knees, hips and lower back</a:t>
              </a:r>
              <a:endParaRPr lang="en-US">
                <a:solidFill>
                  <a:prstClr val="white">
                    <a:alpha val="50000"/>
                  </a:prstClr>
                </a:solidFill>
              </a:endParaRPr>
            </a:p>
          </p:txBody>
        </p:sp>
        <p:sp>
          <p:nvSpPr>
            <p:cNvPr id="28" name="TextBox 27">
              <a:extLst>
                <a:ext uri="{FF2B5EF4-FFF2-40B4-BE49-F238E27FC236}">
                  <a16:creationId xmlns:a16="http://schemas.microsoft.com/office/drawing/2014/main" id="{B7C24092-AFAA-2047-9051-02ACBB135BC5}"/>
                </a:ext>
              </a:extLst>
            </p:cNvPr>
            <p:cNvSpPr txBox="1"/>
            <p:nvPr/>
          </p:nvSpPr>
          <p:spPr>
            <a:xfrm>
              <a:off x="6222428" y="2281986"/>
              <a:ext cx="3581663" cy="224656"/>
            </a:xfrm>
            <a:prstGeom prst="rect">
              <a:avLst/>
            </a:prstGeom>
            <a:grpFill/>
          </p:spPr>
          <p:txBody>
            <a:bodyPr wrap="square" lIns="0" tIns="0" rIns="0" bIns="0" anchor="t">
              <a:spAutoFit/>
            </a:bodyPr>
            <a:lstStyle>
              <a:defPPr>
                <a:defRPr lang="en-US"/>
              </a:defPPr>
              <a:lvl1pPr marR="0" lvl="0" indent="0" fontAlgn="auto">
                <a:lnSpc>
                  <a:spcPct val="90000"/>
                </a:lnSpc>
                <a:spcBef>
                  <a:spcPts val="0"/>
                </a:spcBef>
                <a:spcAft>
                  <a:spcPts val="0"/>
                </a:spcAft>
                <a:buClrTx/>
                <a:buSzTx/>
                <a:buFontTx/>
                <a:buNone/>
                <a:tabLst/>
                <a:defRPr kumimoji="0" sz="3000" i="0" u="none" strike="noStrike" cap="none" normalizeH="0">
                  <a:ln>
                    <a:noFill/>
                  </a:ln>
                  <a:solidFill>
                    <a:prstClr val="white"/>
                  </a:solidFill>
                  <a:effectLst/>
                  <a:uLnTx/>
                  <a:uFillTx/>
                  <a:latin typeface="Poppins SemiBold" panose="00000700000000000000" pitchFamily="2" charset="0"/>
                  <a:cs typeface="Poppins SemiBold" panose="00000700000000000000" pitchFamily="2"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mj-lt"/>
                  <a:ea typeface="+mn-ea"/>
                  <a:cs typeface="Poppins SemiBold" panose="00000700000000000000" pitchFamily="2" charset="0"/>
                </a:rPr>
                <a:t>Design and Engineer</a:t>
              </a:r>
              <a:endParaRPr kumimoji="0" lang="en-US" sz="1600" b="0" i="0" u="none" strike="noStrike" kern="1200" cap="none" spc="0" normalizeH="0" baseline="0" noProof="0">
                <a:ln>
                  <a:noFill/>
                </a:ln>
                <a:effectLst/>
                <a:uLnTx/>
                <a:uFillTx/>
                <a:latin typeface="+mj-lt"/>
                <a:ea typeface="+mn-ea"/>
                <a:cs typeface="Poppins SemiBold" panose="00000700000000000000" pitchFamily="2" charset="0"/>
              </a:endParaRPr>
            </a:p>
          </p:txBody>
        </p:sp>
      </p:grpSp>
      <p:cxnSp>
        <p:nvCxnSpPr>
          <p:cNvPr id="56" name="Straight Connector 55">
            <a:extLst>
              <a:ext uri="{FF2B5EF4-FFF2-40B4-BE49-F238E27FC236}">
                <a16:creationId xmlns:a16="http://schemas.microsoft.com/office/drawing/2014/main" id="{676EAB69-774F-288D-3DA4-B9654EAEC473}"/>
              </a:ext>
            </a:extLst>
          </p:cNvPr>
          <p:cNvCxnSpPr/>
          <p:nvPr/>
        </p:nvCxnSpPr>
        <p:spPr>
          <a:xfrm>
            <a:off x="299484" y="652272"/>
            <a:ext cx="11644423" cy="0"/>
          </a:xfrm>
          <a:prstGeom prst="line">
            <a:avLst/>
          </a:prstGeom>
          <a:ln/>
        </p:spPr>
        <p:style>
          <a:lnRef idx="1">
            <a:schemeClr val="dk1"/>
          </a:lnRef>
          <a:fillRef idx="0">
            <a:schemeClr val="dk1"/>
          </a:fillRef>
          <a:effectRef idx="0">
            <a:schemeClr val="dk1"/>
          </a:effectRef>
          <a:fontRef idx="minor">
            <a:schemeClr val="tx1"/>
          </a:fontRef>
        </p:style>
      </p:cxnSp>
      <p:grpSp>
        <p:nvGrpSpPr>
          <p:cNvPr id="58" name="Group 57">
            <a:extLst>
              <a:ext uri="{FF2B5EF4-FFF2-40B4-BE49-F238E27FC236}">
                <a16:creationId xmlns:a16="http://schemas.microsoft.com/office/drawing/2014/main" id="{D1F4E996-FC63-FEC6-9365-C08C6953C150}"/>
              </a:ext>
            </a:extLst>
          </p:cNvPr>
          <p:cNvGrpSpPr/>
          <p:nvPr/>
        </p:nvGrpSpPr>
        <p:grpSpPr>
          <a:xfrm>
            <a:off x="5842207" y="369987"/>
            <a:ext cx="507586" cy="512114"/>
            <a:chOff x="5867902" y="316579"/>
            <a:chExt cx="507586" cy="460422"/>
          </a:xfrm>
        </p:grpSpPr>
        <p:sp>
          <p:nvSpPr>
            <p:cNvPr id="73" name="Oval 72">
              <a:extLst>
                <a:ext uri="{FF2B5EF4-FFF2-40B4-BE49-F238E27FC236}">
                  <a16:creationId xmlns:a16="http://schemas.microsoft.com/office/drawing/2014/main" id="{65A24108-9A5C-9392-1351-D85EB9B561C2}"/>
                </a:ext>
              </a:extLst>
            </p:cNvPr>
            <p:cNvSpPr/>
            <p:nvPr/>
          </p:nvSpPr>
          <p:spPr>
            <a:xfrm>
              <a:off x="5867902" y="316579"/>
              <a:ext cx="507586" cy="460422"/>
            </a:xfrm>
            <a:prstGeom prst="ellipse">
              <a:avLst/>
            </a:prstGeom>
            <a:solidFill>
              <a:srgbClr val="44596C"/>
            </a:solidFill>
            <a:ln w="6350">
              <a:solidFill>
                <a:srgbClr val="44596C"/>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a:latin typeface="Darker Grotesque" pitchFamily="2" charset="0"/>
              </a:endParaRPr>
            </a:p>
          </p:txBody>
        </p:sp>
        <p:pic>
          <p:nvPicPr>
            <p:cNvPr id="74" name="Graphic 73">
              <a:extLst>
                <a:ext uri="{FF2B5EF4-FFF2-40B4-BE49-F238E27FC236}">
                  <a16:creationId xmlns:a16="http://schemas.microsoft.com/office/drawing/2014/main" id="{AB7F7CB2-F832-CA26-1AB2-261BF019EC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5695" y="444371"/>
              <a:ext cx="252000" cy="252000"/>
            </a:xfrm>
            <a:prstGeom prst="rect">
              <a:avLst/>
            </a:prstGeom>
          </p:spPr>
        </p:pic>
      </p:grpSp>
      <p:grpSp>
        <p:nvGrpSpPr>
          <p:cNvPr id="2" name="Group 1">
            <a:extLst>
              <a:ext uri="{FF2B5EF4-FFF2-40B4-BE49-F238E27FC236}">
                <a16:creationId xmlns:a16="http://schemas.microsoft.com/office/drawing/2014/main" id="{10AD1AF1-F128-C1B1-17C9-D5F486C9423B}"/>
              </a:ext>
            </a:extLst>
          </p:cNvPr>
          <p:cNvGrpSpPr/>
          <p:nvPr/>
        </p:nvGrpSpPr>
        <p:grpSpPr>
          <a:xfrm>
            <a:off x="5080000" y="2655729"/>
            <a:ext cx="5525577" cy="1226969"/>
            <a:chOff x="5765800" y="3158950"/>
            <a:chExt cx="5525577" cy="1226969"/>
          </a:xfrm>
        </p:grpSpPr>
        <p:grpSp>
          <p:nvGrpSpPr>
            <p:cNvPr id="17" name="Group 16">
              <a:extLst>
                <a:ext uri="{FF2B5EF4-FFF2-40B4-BE49-F238E27FC236}">
                  <a16:creationId xmlns:a16="http://schemas.microsoft.com/office/drawing/2014/main" id="{015DA842-D92A-735D-EFD0-9B50DFC157B3}"/>
                </a:ext>
              </a:extLst>
            </p:cNvPr>
            <p:cNvGrpSpPr/>
            <p:nvPr/>
          </p:nvGrpSpPr>
          <p:grpSpPr>
            <a:xfrm>
              <a:off x="5765800" y="3158950"/>
              <a:ext cx="5525577" cy="1226969"/>
              <a:chOff x="5968717" y="2108200"/>
              <a:chExt cx="5525577" cy="1092200"/>
            </a:xfrm>
          </p:grpSpPr>
          <p:sp>
            <p:nvSpPr>
              <p:cNvPr id="18" name="Rounded Rectangle 95">
                <a:extLst>
                  <a:ext uri="{FF2B5EF4-FFF2-40B4-BE49-F238E27FC236}">
                    <a16:creationId xmlns:a16="http://schemas.microsoft.com/office/drawing/2014/main" id="{0BC576CF-0DCB-2535-D44B-C1E8386966B6}"/>
                  </a:ext>
                </a:extLst>
              </p:cNvPr>
              <p:cNvSpPr/>
              <p:nvPr/>
            </p:nvSpPr>
            <p:spPr>
              <a:xfrm>
                <a:off x="5968717" y="2108200"/>
                <a:ext cx="5525577" cy="1092200"/>
              </a:xfrm>
              <a:prstGeom prst="roundRect">
                <a:avLst>
                  <a:gd name="adj" fmla="val 10323"/>
                </a:avLst>
              </a:prstGeom>
              <a:solidFill>
                <a:srgbClr val="2F3D4A"/>
              </a:solidFill>
              <a:ln>
                <a:solidFill>
                  <a:srgbClr val="27333D"/>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20" name="TextBox 19">
                <a:extLst>
                  <a:ext uri="{FF2B5EF4-FFF2-40B4-BE49-F238E27FC236}">
                    <a16:creationId xmlns:a16="http://schemas.microsoft.com/office/drawing/2014/main" id="{C42480D7-0525-DA7B-915A-61FD112392AB}"/>
                  </a:ext>
                </a:extLst>
              </p:cNvPr>
              <p:cNvSpPr txBox="1"/>
              <p:nvPr/>
            </p:nvSpPr>
            <p:spPr>
              <a:xfrm>
                <a:off x="6216079" y="2273569"/>
                <a:ext cx="4031232" cy="224656"/>
              </a:xfrm>
              <a:prstGeom prst="rect">
                <a:avLst/>
              </a:prstGeom>
              <a:noFill/>
              <a:ln>
                <a:solidFill>
                  <a:srgbClr val="27333D"/>
                </a:solidFill>
              </a:ln>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lang="en-AU" sz="2000"/>
                  <a:t>Restore Confidence and Independence</a:t>
                </a:r>
                <a:endParaRPr lang="en-US" sz="2000"/>
              </a:p>
            </p:txBody>
          </p:sp>
        </p:grpSp>
        <p:sp>
          <p:nvSpPr>
            <p:cNvPr id="31" name="TextBox 30">
              <a:extLst>
                <a:ext uri="{FF2B5EF4-FFF2-40B4-BE49-F238E27FC236}">
                  <a16:creationId xmlns:a16="http://schemas.microsoft.com/office/drawing/2014/main" id="{1DFE2DCB-D90C-48DF-DBB3-D03C9CF9C4C6}"/>
                </a:ext>
              </a:extLst>
            </p:cNvPr>
            <p:cNvSpPr txBox="1"/>
            <p:nvPr/>
          </p:nvSpPr>
          <p:spPr>
            <a:xfrm>
              <a:off x="5924550" y="3643512"/>
              <a:ext cx="5262299" cy="492443"/>
            </a:xfrm>
            <a:prstGeom prst="rect">
              <a:avLst/>
            </a:prstGeom>
            <a:noFill/>
            <a:ln>
              <a:solidFill>
                <a:srgbClr val="27333D"/>
              </a:solidFill>
            </a:ln>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Enable older adults to stand up safely on their own, reduce reliance on carers and diminish the fear of falling.</a:t>
              </a:r>
              <a:endParaRPr lang="en-US">
                <a:solidFill>
                  <a:prstClr val="white">
                    <a:alpha val="50000"/>
                  </a:prstClr>
                </a:solidFill>
              </a:endParaRPr>
            </a:p>
          </p:txBody>
        </p:sp>
      </p:grpSp>
      <p:grpSp>
        <p:nvGrpSpPr>
          <p:cNvPr id="3" name="Group 2">
            <a:extLst>
              <a:ext uri="{FF2B5EF4-FFF2-40B4-BE49-F238E27FC236}">
                <a16:creationId xmlns:a16="http://schemas.microsoft.com/office/drawing/2014/main" id="{005E9535-2BF8-2572-A4D0-FD3E90C0296A}"/>
              </a:ext>
            </a:extLst>
          </p:cNvPr>
          <p:cNvGrpSpPr/>
          <p:nvPr/>
        </p:nvGrpSpPr>
        <p:grpSpPr>
          <a:xfrm>
            <a:off x="6349793" y="4117296"/>
            <a:ext cx="5526312" cy="1226969"/>
            <a:chOff x="5660537" y="4722298"/>
            <a:chExt cx="5526312" cy="1226969"/>
          </a:xfrm>
          <a:solidFill>
            <a:srgbClr val="27333D"/>
          </a:solidFill>
        </p:grpSpPr>
        <p:sp>
          <p:nvSpPr>
            <p:cNvPr id="22" name="Rounded Rectangle 95">
              <a:extLst>
                <a:ext uri="{FF2B5EF4-FFF2-40B4-BE49-F238E27FC236}">
                  <a16:creationId xmlns:a16="http://schemas.microsoft.com/office/drawing/2014/main" id="{356C20B1-7681-FC8A-53CB-D0F25E6DA578}"/>
                </a:ext>
              </a:extLst>
            </p:cNvPr>
            <p:cNvSpPr/>
            <p:nvPr/>
          </p:nvSpPr>
          <p:spPr>
            <a:xfrm>
              <a:off x="5660537" y="4722298"/>
              <a:ext cx="5525577" cy="1226969"/>
            </a:xfrm>
            <a:prstGeom prst="roundRect">
              <a:avLst>
                <a:gd name="adj" fmla="val 10323"/>
              </a:avLst>
            </a:prstGeom>
            <a:grpFill/>
            <a:ln>
              <a:solidFill>
                <a:srgbClr val="27333D"/>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a:ln>
                  <a:noFill/>
                </a:ln>
                <a:solidFill>
                  <a:srgbClr val="FFFFFF"/>
                </a:solidFill>
                <a:effectLst/>
                <a:uLnTx/>
                <a:uFillTx/>
                <a:latin typeface="Poppins Light"/>
                <a:ea typeface="+mn-ea"/>
                <a:cs typeface="Poppins SemiBold" panose="00000700000000000000" pitchFamily="2" charset="0"/>
              </a:endParaRPr>
            </a:p>
          </p:txBody>
        </p:sp>
        <p:sp>
          <p:nvSpPr>
            <p:cNvPr id="32" name="TextBox 31">
              <a:extLst>
                <a:ext uri="{FF2B5EF4-FFF2-40B4-BE49-F238E27FC236}">
                  <a16:creationId xmlns:a16="http://schemas.microsoft.com/office/drawing/2014/main" id="{EA509CE0-56D6-12E1-F98C-E04D382F9F68}"/>
                </a:ext>
              </a:extLst>
            </p:cNvPr>
            <p:cNvSpPr txBox="1"/>
            <p:nvPr/>
          </p:nvSpPr>
          <p:spPr>
            <a:xfrm>
              <a:off x="5924550" y="5252778"/>
              <a:ext cx="5262299" cy="492443"/>
            </a:xfrm>
            <a:prstGeom prst="rect">
              <a:avLst/>
            </a:prstGeom>
            <a:grpFill/>
            <a:ln>
              <a:solidFill>
                <a:srgbClr val="27333D"/>
              </a:solidFill>
            </a:ln>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a:t>Use affordable materials, efficient manufacturing and modular parts to reduce cost and ensure ease of use</a:t>
              </a:r>
              <a:r>
                <a:rPr lang="en-AU"/>
                <a:t>.</a:t>
              </a:r>
              <a:endParaRPr lang="en-US">
                <a:solidFill>
                  <a:prstClr val="white">
                    <a:alpha val="50000"/>
                  </a:prstClr>
                </a:solidFill>
              </a:endParaRPr>
            </a:p>
          </p:txBody>
        </p:sp>
        <p:sp>
          <p:nvSpPr>
            <p:cNvPr id="33" name="TextBox 32">
              <a:extLst>
                <a:ext uri="{FF2B5EF4-FFF2-40B4-BE49-F238E27FC236}">
                  <a16:creationId xmlns:a16="http://schemas.microsoft.com/office/drawing/2014/main" id="{46215915-3978-3525-A579-1E8B1B928100}"/>
                </a:ext>
              </a:extLst>
            </p:cNvPr>
            <p:cNvSpPr txBox="1"/>
            <p:nvPr/>
          </p:nvSpPr>
          <p:spPr>
            <a:xfrm>
              <a:off x="6019512" y="4928950"/>
              <a:ext cx="1271182" cy="252377"/>
            </a:xfrm>
            <a:prstGeom prst="rect">
              <a:avLst/>
            </a:prstGeom>
            <a:grpFill/>
            <a:ln>
              <a:solidFill>
                <a:srgbClr val="27333D"/>
              </a:solidFill>
            </a:ln>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lang="en-US" sz="2000"/>
                <a:t>Accessibility</a:t>
              </a:r>
            </a:p>
          </p:txBody>
        </p:sp>
      </p:grpSp>
      <p:pic>
        <p:nvPicPr>
          <p:cNvPr id="37" name="Picture 36" descr="A logo with text and a square with a arrow up&#10;&#10;AI-generated content may be incorrect.">
            <a:extLst>
              <a:ext uri="{FF2B5EF4-FFF2-40B4-BE49-F238E27FC236}">
                <a16:creationId xmlns:a16="http://schemas.microsoft.com/office/drawing/2014/main" id="{CB0C4C44-1219-8D90-AB71-702BBE50D4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82299" y="174421"/>
            <a:ext cx="1135911" cy="1135911"/>
          </a:xfrm>
          <a:prstGeom prst="roundRect">
            <a:avLst/>
          </a:prstGeom>
        </p:spPr>
      </p:pic>
      <p:pic>
        <p:nvPicPr>
          <p:cNvPr id="6" name="Picture 5">
            <a:extLst>
              <a:ext uri="{FF2B5EF4-FFF2-40B4-BE49-F238E27FC236}">
                <a16:creationId xmlns:a16="http://schemas.microsoft.com/office/drawing/2014/main" id="{93005DB8-59CD-22AC-CAA2-7C04A2045681}"/>
              </a:ext>
            </a:extLst>
          </p:cNvPr>
          <p:cNvPicPr>
            <a:picLocks noChangeAspect="1"/>
          </p:cNvPicPr>
          <p:nvPr/>
        </p:nvPicPr>
        <p:blipFill>
          <a:blip r:embed="rId7"/>
          <a:stretch>
            <a:fillRect/>
          </a:stretch>
        </p:blipFill>
        <p:spPr>
          <a:xfrm>
            <a:off x="1255555" y="4662595"/>
            <a:ext cx="3257063" cy="1363339"/>
          </a:xfrm>
          <a:prstGeom prst="rect">
            <a:avLst/>
          </a:prstGeom>
        </p:spPr>
      </p:pic>
    </p:spTree>
    <p:extLst>
      <p:ext uri="{BB962C8B-B14F-4D97-AF65-F5344CB8AC3E}">
        <p14:creationId xmlns:p14="http://schemas.microsoft.com/office/powerpoint/2010/main" val="38466046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0.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2B7F6D73640EF4684244A84D642EFDD" ma:contentTypeVersion="11" ma:contentTypeDescription="Create a new document." ma:contentTypeScope="" ma:versionID="14d2aac2699a7b417f8ec1e4a2ed634b">
  <xsd:schema xmlns:xsd="http://www.w3.org/2001/XMLSchema" xmlns:xs="http://www.w3.org/2001/XMLSchema" xmlns:p="http://schemas.microsoft.com/office/2006/metadata/properties" xmlns:ns3="53256f0d-73b2-4892-b891-f4ad21e97fd9" targetNamespace="http://schemas.microsoft.com/office/2006/metadata/properties" ma:root="true" ma:fieldsID="f7a3e59ca2df85ee67991765b27718c0" ns3:_="">
    <xsd:import namespace="53256f0d-73b2-4892-b891-f4ad21e97fd9"/>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ObjectDetectorVersions" minOccurs="0"/>
                <xsd:element ref="ns3:MediaServiceSearchPropertie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256f0d-73b2-4892-b891-f4ad21e97f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_activity" ma:index="18"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53256f0d-73b2-4892-b891-f4ad21e97fd9" xsi:nil="true"/>
  </documentManagement>
</p:properties>
</file>

<file path=customXml/itemProps1.xml><?xml version="1.0" encoding="utf-8"?>
<ds:datastoreItem xmlns:ds="http://schemas.openxmlformats.org/officeDocument/2006/customXml" ds:itemID="{8BD6FECF-F86A-42DC-979A-9AEEEA5BEA39}">
  <ds:schemaRefs>
    <ds:schemaRef ds:uri="http://schemas.microsoft.com/sharepoint/v3/contenttype/forms"/>
  </ds:schemaRefs>
</ds:datastoreItem>
</file>

<file path=customXml/itemProps2.xml><?xml version="1.0" encoding="utf-8"?>
<ds:datastoreItem xmlns:ds="http://schemas.openxmlformats.org/officeDocument/2006/customXml" ds:itemID="{349A6145-D56C-4F90-95C9-E7212D2F8DF5}">
  <ds:schemaRefs>
    <ds:schemaRef ds:uri="53256f0d-73b2-4892-b891-f4ad21e97f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38743C4-0843-40A4-8936-800349D36E41}">
  <ds:schemaRefs>
    <ds:schemaRef ds:uri="http://www.w3.org/XML/1998/namespace"/>
    <ds:schemaRef ds:uri="http://purl.org/dc/dcmitype/"/>
    <ds:schemaRef ds:uri="http://purl.org/dc/elements/1.1/"/>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53256f0d-73b2-4892-b891-f4ad21e97fd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29</TotalTime>
  <Words>2486</Words>
  <Application>Microsoft Office PowerPoint</Application>
  <PresentationFormat>Widescreen</PresentationFormat>
  <Paragraphs>440</Paragraphs>
  <Slides>29</Slides>
  <Notes>9</Notes>
  <HiddenSlides>0</HiddenSlides>
  <MMClips>2</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29</vt:i4>
      </vt:variant>
    </vt:vector>
  </HeadingPairs>
  <TitlesOfParts>
    <vt:vector size="45" baseType="lpstr">
      <vt:lpstr>ADLaM Display</vt:lpstr>
      <vt:lpstr>Aptos</vt:lpstr>
      <vt:lpstr>Aptos Display</vt:lpstr>
      <vt:lpstr>Arial</vt:lpstr>
      <vt:lpstr>Calibri</vt:lpstr>
      <vt:lpstr>Cambria Math</vt:lpstr>
      <vt:lpstr>Century Gothic</vt:lpstr>
      <vt:lpstr>Darker Grotesque</vt:lpstr>
      <vt:lpstr>Darker Grotesque Medium</vt:lpstr>
      <vt:lpstr>Darker Grotesque SemiBold</vt:lpstr>
      <vt:lpstr>Playfair Display</vt:lpstr>
      <vt:lpstr>Poppins Light</vt:lpstr>
      <vt:lpstr>Poppins SemiBold</vt:lpstr>
      <vt:lpstr>Wingdings</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One Skill</dc:creator>
  <cp:lastModifiedBy>Le Nguyen</cp:lastModifiedBy>
  <cp:revision>4</cp:revision>
  <dcterms:created xsi:type="dcterms:W3CDTF">2024-07-26T12:33:19Z</dcterms:created>
  <dcterms:modified xsi:type="dcterms:W3CDTF">2025-11-18T02: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B7F6D73640EF4684244A84D642EFDD</vt:lpwstr>
  </property>
</Properties>
</file>